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2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3.xml" ContentType="application/vnd.openxmlformats-officedocument.theme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theme/theme4.xml" ContentType="application/vnd.openxmlformats-officedocument.theme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theme/theme6.xml" ContentType="application/vnd.openxmlformats-officedocument.theme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theme/theme7.xml" ContentType="application/vnd.openxmlformats-officedocument.theme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theme/theme8.xml" ContentType="application/vnd.openxmlformats-officedocument.theme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theme/theme9.xml" ContentType="application/vnd.openxmlformats-officedocument.theme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theme/theme10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11.xml" ContentType="application/vnd.openxmlformats-officedocument.theme+xml"/>
  <Override PartName="/ppt/theme/theme1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notesSlides/notesSlide5.xml" ContentType="application/vnd.openxmlformats-officedocument.presentationml.notesSlide+xml"/>
  <Override PartName="/ppt/charts/chart4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2.xml" ContentType="application/vnd.openxmlformats-officedocument.themeOverride+xml"/>
  <Override PartName="/ppt/charts/chart5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3.xml" ContentType="application/vnd.openxmlformats-officedocument.themeOverride+xml"/>
  <Override PartName="/ppt/theme/themeOverride4.xml" ContentType="application/vnd.openxmlformats-officedocument.themeOverride+xml"/>
  <Override PartName="/ppt/notesSlides/notesSlide6.xml" ContentType="application/vnd.openxmlformats-officedocument.presentationml.notesSlide+xml"/>
  <Override PartName="/ppt/tags/tag9.xml" ContentType="application/vnd.openxmlformats-officedocument.presentationml.tags+xml"/>
  <Override PartName="/ppt/notesSlides/notesSlide7.xml" ContentType="application/vnd.openxmlformats-officedocument.presentationml.notesSlide+xml"/>
  <Override PartName="/ppt/theme/themeOverride5.xml" ContentType="application/vnd.openxmlformats-officedocument.themeOverride+xml"/>
  <Override PartName="/ppt/notesSlides/notesSlide8.xml" ContentType="application/vnd.openxmlformats-officedocument.presentationml.notesSlide+xml"/>
  <Override PartName="/ppt/theme/themeOverride6.xml" ContentType="application/vnd.openxmlformats-officedocument.themeOverride+xml"/>
  <Override PartName="/ppt/notesSlides/notesSlide9.xml" ContentType="application/vnd.openxmlformats-officedocument.presentationml.notesSlide+xml"/>
  <Override PartName="/ppt/theme/themeOverride7.xml" ContentType="application/vnd.openxmlformats-officedocument.themeOverride+xml"/>
  <Override PartName="/ppt/notesSlides/notesSlide10.xml" ContentType="application/vnd.openxmlformats-officedocument.presentationml.notesSlide+xml"/>
  <Override PartName="/ppt/theme/themeOverride8.xml" ContentType="application/vnd.openxmlformats-officedocument.themeOverr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theme/themeOverride9.xml" ContentType="application/vnd.openxmlformats-officedocument.themeOverride+xml"/>
  <Override PartName="/ppt/notesSlides/notesSlide15.xml" ContentType="application/vnd.openxmlformats-officedocument.presentationml.notesSlide+xml"/>
  <Override PartName="/ppt/theme/themeOverride10.xml" ContentType="application/vnd.openxmlformats-officedocument.themeOverr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53" r:id="rId4"/>
    <p:sldMasterId id="2147483748" r:id="rId5"/>
    <p:sldMasterId id="2147483770" r:id="rId6"/>
    <p:sldMasterId id="2147483801" r:id="rId7"/>
    <p:sldMasterId id="2147483824" r:id="rId8"/>
    <p:sldMasterId id="2147483858" r:id="rId9"/>
    <p:sldMasterId id="2147483871" r:id="rId10"/>
    <p:sldMasterId id="2147483904" r:id="rId11"/>
    <p:sldMasterId id="2147483927" r:id="rId12"/>
    <p:sldMasterId id="2147483950" r:id="rId13"/>
  </p:sldMasterIdLst>
  <p:notesMasterIdLst>
    <p:notesMasterId r:id="rId39"/>
  </p:notesMasterIdLst>
  <p:handoutMasterIdLst>
    <p:handoutMasterId r:id="rId40"/>
  </p:handoutMasterIdLst>
  <p:sldIdLst>
    <p:sldId id="7120" r:id="rId14"/>
    <p:sldId id="2147472908" r:id="rId15"/>
    <p:sldId id="2147480678" r:id="rId16"/>
    <p:sldId id="2147472817" r:id="rId17"/>
    <p:sldId id="732" r:id="rId18"/>
    <p:sldId id="2147472936" r:id="rId19"/>
    <p:sldId id="2147473123" r:id="rId20"/>
    <p:sldId id="2147472933" r:id="rId21"/>
    <p:sldId id="2147473115" r:id="rId22"/>
    <p:sldId id="2147477114" r:id="rId23"/>
    <p:sldId id="2147480679" r:id="rId24"/>
    <p:sldId id="2147480680" r:id="rId25"/>
    <p:sldId id="2147480681" r:id="rId26"/>
    <p:sldId id="632" r:id="rId27"/>
    <p:sldId id="1134" r:id="rId28"/>
    <p:sldId id="798" r:id="rId29"/>
    <p:sldId id="711" r:id="rId30"/>
    <p:sldId id="2147473121" r:id="rId31"/>
    <p:sldId id="2147480682" r:id="rId32"/>
    <p:sldId id="2147480683" r:id="rId33"/>
    <p:sldId id="2147473122" r:id="rId34"/>
    <p:sldId id="2147480684" r:id="rId35"/>
    <p:sldId id="2147481130" r:id="rId36"/>
    <p:sldId id="2147472940" r:id="rId37"/>
    <p:sldId id="2147472941" r:id="rId38"/>
  </p:sldIdLst>
  <p:sldSz cx="9144000" cy="5143500" type="screen16x9"/>
  <p:notesSz cx="9928225" cy="6797675"/>
  <p:custShowLst>
    <p:custShow name="dT optimization" id="0">
      <p:sldLst/>
    </p:custShow>
    <p:custShow name="Optimal network design" id="1">
      <p:sldLst/>
    </p:custShow>
    <p:custShow name="Decentralization" id="2">
      <p:sldLst/>
    </p:custShow>
    <p:custShow name="energy savings" id="3">
      <p:sldLst/>
    </p:custShow>
    <p:custShow name="peak energy demand" id="4">
      <p:sldLst/>
    </p:custShow>
    <p:custShow name="legacy scada" id="5">
      <p:sldLst/>
    </p:custShow>
    <p:custShow name="new business areas" id="6">
      <p:sldLst/>
    </p:custShow>
    <p:custShow name="focus on customer" id="7">
      <p:sldLst/>
    </p:custShow>
    <p:custShow name="ECL" id="8">
      <p:sldLst/>
    </p:custShow>
    <p:custShow name="Enspire" id="9">
      <p:sldLst/>
    </p:custShow>
    <p:custShow name="eTRV" id="10">
      <p:sldLst/>
    </p:custShow>
    <p:custShow name="MCV" id="11">
      <p:sldLst/>
    </p:custShow>
    <p:custShow name="Heat Selector" id="12">
      <p:sldLst/>
    </p:custShow>
    <p:custShow name="DSA 1 mini" id="13">
      <p:sldLst/>
    </p:custShow>
    <p:custShow name="Lean heat" id="14">
      <p:sldLst/>
    </p:custShow>
    <p:custShow name="PICV" id="15">
      <p:sldLst/>
    </p:custShow>
    <p:custShow name="DPC" id="16">
      <p:sldLst/>
    </p:custShow>
    <p:custShow name="iSET" id="17">
      <p:sldLst/>
    </p:custShow>
    <p:custShow name="iNET" id="18">
      <p:sldLst/>
    </p:custShow>
    <p:custShow name="ASV" id="19">
      <p:sldLst/>
    </p:custShow>
    <p:custShow name="AB-QM" id="20">
      <p:sldLst/>
    </p:custShow>
    <p:custShow name="Heat meters" id="21">
      <p:sldLst/>
    </p:custShow>
    <p:custShow name="OE3i" id="22">
      <p:sldLst/>
    </p:custShow>
  </p:custShowLst>
  <p:custDataLst>
    <p:tags r:id="rId4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3" orient="horz" pos="132" userDrawn="1">
          <p15:clr>
            <a:srgbClr val="A4A3A4"/>
          </p15:clr>
        </p15:guide>
        <p15:guide id="16" orient="horz" pos="372" userDrawn="1">
          <p15:clr>
            <a:srgbClr val="A4A3A4"/>
          </p15:clr>
        </p15:guide>
        <p15:guide id="19" pos="272" userDrawn="1">
          <p15:clr>
            <a:srgbClr val="A4A3A4"/>
          </p15:clr>
        </p15:guide>
        <p15:guide id="20" pos="5488" userDrawn="1">
          <p15:clr>
            <a:srgbClr val="A4A3A4"/>
          </p15:clr>
        </p15:guide>
        <p15:guide id="21" orient="horz" pos="2890" userDrawn="1">
          <p15:clr>
            <a:srgbClr val="A4A3A4"/>
          </p15:clr>
        </p15:guide>
        <p15:guide id="22" orient="horz" pos="849" userDrawn="1">
          <p15:clr>
            <a:srgbClr val="A4A3A4"/>
          </p15:clr>
        </p15:guide>
        <p15:guide id="24" orient="horz" pos="713" userDrawn="1">
          <p15:clr>
            <a:srgbClr val="A4A3A4"/>
          </p15:clr>
        </p15:guide>
        <p15:guide id="25" orient="horz" pos="2799" userDrawn="1">
          <p15:clr>
            <a:srgbClr val="A4A3A4"/>
          </p15:clr>
        </p15:guide>
        <p15:guide id="28" pos="1587" userDrawn="1">
          <p15:clr>
            <a:srgbClr val="A4A3A4"/>
          </p15:clr>
        </p15:guide>
        <p15:guide id="29" pos="4037" userDrawn="1">
          <p15:clr>
            <a:srgbClr val="A4A3A4"/>
          </p15:clr>
        </p15:guide>
        <p15:guide id="30" orient="horz" pos="9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2" name="Author" initials="A" lastIdx="0" clrIdx="1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F5B64"/>
    <a:srgbClr val="535E68"/>
    <a:srgbClr val="F1F2F3"/>
    <a:srgbClr val="D3DCE0"/>
    <a:srgbClr val="8B9FAA"/>
    <a:srgbClr val="BFCCD3"/>
    <a:srgbClr val="A3B5BE"/>
    <a:srgbClr val="FF5B00"/>
    <a:srgbClr val="ED7D2F"/>
    <a:srgbClr val="EDF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85B6BDB-3EA9-4230-BADC-2F806F6C2DD2}" v="508" dt="2025-05-27T12:40:27.097"/>
  </p1510:revLst>
</p1510:revInfo>
</file>

<file path=ppt/tableStyles.xml><?xml version="1.0" encoding="utf-8"?>
<a:tblStyleLst xmlns:a="http://schemas.openxmlformats.org/drawingml/2006/main" def="{F5AB1C69-6EDB-4FF4-983F-18BD219EF322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193" autoAdjust="0"/>
    <p:restoredTop sz="93987" autoAdjust="0"/>
  </p:normalViewPr>
  <p:slideViewPr>
    <p:cSldViewPr snapToGrid="0">
      <p:cViewPr varScale="1">
        <p:scale>
          <a:sx n="134" d="100"/>
          <a:sy n="134" d="100"/>
        </p:scale>
        <p:origin x="480" y="120"/>
      </p:cViewPr>
      <p:guideLst>
        <p:guide orient="horz" pos="132"/>
        <p:guide orient="horz" pos="372"/>
        <p:guide pos="272"/>
        <p:guide pos="5488"/>
        <p:guide orient="horz" pos="2890"/>
        <p:guide orient="horz" pos="849"/>
        <p:guide orient="horz" pos="713"/>
        <p:guide orient="horz" pos="2799"/>
        <p:guide pos="1587"/>
        <p:guide pos="4037"/>
        <p:guide orient="horz" pos="9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1757"/>
    </p:cViewPr>
  </p:sorterViewPr>
  <p:notesViewPr>
    <p:cSldViewPr snapToGrid="0">
      <p:cViewPr varScale="1">
        <p:scale>
          <a:sx n="113" d="100"/>
          <a:sy n="113" d="100"/>
        </p:scale>
        <p:origin x="5142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5.xml"/><Relationship Id="rId26" Type="http://schemas.openxmlformats.org/officeDocument/2006/relationships/slide" Target="slides/slide13.xml"/><Relationship Id="rId39" Type="http://schemas.openxmlformats.org/officeDocument/2006/relationships/notesMaster" Target="notesMasters/notesMaster1.xml"/><Relationship Id="rId21" Type="http://schemas.openxmlformats.org/officeDocument/2006/relationships/slide" Target="slides/slide8.xml"/><Relationship Id="rId34" Type="http://schemas.openxmlformats.org/officeDocument/2006/relationships/slide" Target="slides/slide21.xml"/><Relationship Id="rId42" Type="http://schemas.openxmlformats.org/officeDocument/2006/relationships/commentAuthors" Target="commentAuthors.xml"/><Relationship Id="rId47" Type="http://schemas.microsoft.com/office/2016/11/relationships/changesInfo" Target="changesInfos/changesInfo1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3.xml"/><Relationship Id="rId29" Type="http://schemas.openxmlformats.org/officeDocument/2006/relationships/slide" Target="slides/slide16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1.xml"/><Relationship Id="rId32" Type="http://schemas.openxmlformats.org/officeDocument/2006/relationships/slide" Target="slides/slide19.xml"/><Relationship Id="rId37" Type="http://schemas.openxmlformats.org/officeDocument/2006/relationships/slide" Target="slides/slide24.xml"/><Relationship Id="rId40" Type="http://schemas.openxmlformats.org/officeDocument/2006/relationships/handoutMaster" Target="handoutMasters/handoutMaster1.xml"/><Relationship Id="rId45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2.xml"/><Relationship Id="rId23" Type="http://schemas.openxmlformats.org/officeDocument/2006/relationships/slide" Target="slides/slide10.xml"/><Relationship Id="rId28" Type="http://schemas.openxmlformats.org/officeDocument/2006/relationships/slide" Target="slides/slide15.xml"/><Relationship Id="rId36" Type="http://schemas.openxmlformats.org/officeDocument/2006/relationships/slide" Target="slides/slide23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6.xml"/><Relationship Id="rId31" Type="http://schemas.openxmlformats.org/officeDocument/2006/relationships/slide" Target="slides/slide18.xml"/><Relationship Id="rId44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1.xml"/><Relationship Id="rId22" Type="http://schemas.openxmlformats.org/officeDocument/2006/relationships/slide" Target="slides/slide9.xml"/><Relationship Id="rId27" Type="http://schemas.openxmlformats.org/officeDocument/2006/relationships/slide" Target="slides/slide14.xml"/><Relationship Id="rId30" Type="http://schemas.openxmlformats.org/officeDocument/2006/relationships/slide" Target="slides/slide17.xml"/><Relationship Id="rId35" Type="http://schemas.openxmlformats.org/officeDocument/2006/relationships/slide" Target="slides/slide22.xml"/><Relationship Id="rId43" Type="http://schemas.openxmlformats.org/officeDocument/2006/relationships/presProps" Target="presProps.xml"/><Relationship Id="rId48" Type="http://schemas.microsoft.com/office/2015/10/relationships/revisionInfo" Target="revisionInfo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4.xml"/><Relationship Id="rId25" Type="http://schemas.openxmlformats.org/officeDocument/2006/relationships/slide" Target="slides/slide12.xml"/><Relationship Id="rId33" Type="http://schemas.openxmlformats.org/officeDocument/2006/relationships/slide" Target="slides/slide20.xml"/><Relationship Id="rId38" Type="http://schemas.openxmlformats.org/officeDocument/2006/relationships/slide" Target="slides/slide25.xml"/><Relationship Id="rId46" Type="http://schemas.openxmlformats.org/officeDocument/2006/relationships/tableStyles" Target="tableStyles.xml"/><Relationship Id="rId20" Type="http://schemas.openxmlformats.org/officeDocument/2006/relationships/slide" Target="slides/slide7.xml"/><Relationship Id="rId41" Type="http://schemas.openxmlformats.org/officeDocument/2006/relationships/tags" Target="tags/tag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Filip Zardin" userId="a799d58f-c8b9-4ae9-9b8a-83ef7e620080" providerId="ADAL" clId="{385B6BDB-3EA9-4230-BADC-2F806F6C2DD2}"/>
    <pc:docChg chg="undo custSel addSld delSld modSld sldOrd">
      <pc:chgData name="Filip Zardin" userId="a799d58f-c8b9-4ae9-9b8a-83ef7e620080" providerId="ADAL" clId="{385B6BDB-3EA9-4230-BADC-2F806F6C2DD2}" dt="2025-05-27T13:03:36.421" v="2744" actId="403"/>
      <pc:docMkLst>
        <pc:docMk/>
      </pc:docMkLst>
      <pc:sldChg chg="add del">
        <pc:chgData name="Filip Zardin" userId="a799d58f-c8b9-4ae9-9b8a-83ef7e620080" providerId="ADAL" clId="{385B6BDB-3EA9-4230-BADC-2F806F6C2DD2}" dt="2025-05-27T09:14:19.126" v="768" actId="47"/>
        <pc:sldMkLst>
          <pc:docMk/>
          <pc:sldMk cId="456472440" sldId="349"/>
        </pc:sldMkLst>
      </pc:sldChg>
      <pc:sldChg chg="del">
        <pc:chgData name="Filip Zardin" userId="a799d58f-c8b9-4ae9-9b8a-83ef7e620080" providerId="ADAL" clId="{385B6BDB-3EA9-4230-BADC-2F806F6C2DD2}" dt="2025-05-27T09:16:34.801" v="775" actId="47"/>
        <pc:sldMkLst>
          <pc:docMk/>
          <pc:sldMk cId="561924941" sldId="491"/>
        </pc:sldMkLst>
      </pc:sldChg>
      <pc:sldChg chg="modAnim">
        <pc:chgData name="Filip Zardin" userId="a799d58f-c8b9-4ae9-9b8a-83ef7e620080" providerId="ADAL" clId="{385B6BDB-3EA9-4230-BADC-2F806F6C2DD2}" dt="2025-05-27T11:18:26.094" v="958"/>
        <pc:sldMkLst>
          <pc:docMk/>
          <pc:sldMk cId="3729114860" sldId="711"/>
        </pc:sldMkLst>
      </pc:sldChg>
      <pc:sldChg chg="modSp mod modAnim">
        <pc:chgData name="Filip Zardin" userId="a799d58f-c8b9-4ae9-9b8a-83ef7e620080" providerId="ADAL" clId="{385B6BDB-3EA9-4230-BADC-2F806F6C2DD2}" dt="2025-05-27T11:18:07.582" v="957"/>
        <pc:sldMkLst>
          <pc:docMk/>
          <pc:sldMk cId="2564122746" sldId="798"/>
        </pc:sldMkLst>
        <pc:spChg chg="mod">
          <ac:chgData name="Filip Zardin" userId="a799d58f-c8b9-4ae9-9b8a-83ef7e620080" providerId="ADAL" clId="{385B6BDB-3EA9-4230-BADC-2F806F6C2DD2}" dt="2025-05-27T11:17:30.381" v="956" actId="14100"/>
          <ac:spMkLst>
            <pc:docMk/>
            <pc:sldMk cId="2564122746" sldId="798"/>
            <ac:spMk id="45" creationId="{80F6D10C-B227-44BD-91D6-BFEF3C7CFBF4}"/>
          </ac:spMkLst>
        </pc:spChg>
        <pc:spChg chg="mod">
          <ac:chgData name="Filip Zardin" userId="a799d58f-c8b9-4ae9-9b8a-83ef7e620080" providerId="ADAL" clId="{385B6BDB-3EA9-4230-BADC-2F806F6C2DD2}" dt="2025-05-27T11:15:15.601" v="883" actId="20577"/>
          <ac:spMkLst>
            <pc:docMk/>
            <pc:sldMk cId="2564122746" sldId="798"/>
            <ac:spMk id="60" creationId="{F3047603-A162-480F-AF84-338F476BB957}"/>
          </ac:spMkLst>
        </pc:spChg>
      </pc:sldChg>
      <pc:sldChg chg="modSp mod">
        <pc:chgData name="Filip Zardin" userId="a799d58f-c8b9-4ae9-9b8a-83ef7e620080" providerId="ADAL" clId="{385B6BDB-3EA9-4230-BADC-2F806F6C2DD2}" dt="2025-05-27T11:16:08.978" v="925" actId="14100"/>
        <pc:sldMkLst>
          <pc:docMk/>
          <pc:sldMk cId="3702006838" sldId="1134"/>
        </pc:sldMkLst>
        <pc:spChg chg="mod">
          <ac:chgData name="Filip Zardin" userId="a799d58f-c8b9-4ae9-9b8a-83ef7e620080" providerId="ADAL" clId="{385B6BDB-3EA9-4230-BADC-2F806F6C2DD2}" dt="2025-05-27T11:15:51" v="924" actId="20577"/>
          <ac:spMkLst>
            <pc:docMk/>
            <pc:sldMk cId="3702006838" sldId="1134"/>
            <ac:spMk id="51" creationId="{00000000-0000-0000-0000-000000000000}"/>
          </ac:spMkLst>
        </pc:spChg>
        <pc:picChg chg="mod">
          <ac:chgData name="Filip Zardin" userId="a799d58f-c8b9-4ae9-9b8a-83ef7e620080" providerId="ADAL" clId="{385B6BDB-3EA9-4230-BADC-2F806F6C2DD2}" dt="2025-05-27T11:16:08.978" v="925" actId="14100"/>
          <ac:picMkLst>
            <pc:docMk/>
            <pc:sldMk cId="3702006838" sldId="1134"/>
            <ac:picMk id="3" creationId="{4F52D722-9775-47F6-B9C8-0846381EEED4}"/>
          </ac:picMkLst>
        </pc:picChg>
      </pc:sldChg>
      <pc:sldChg chg="modTransition">
        <pc:chgData name="Filip Zardin" userId="a799d58f-c8b9-4ae9-9b8a-83ef7e620080" providerId="ADAL" clId="{385B6BDB-3EA9-4230-BADC-2F806F6C2DD2}" dt="2025-05-27T09:21:44.608" v="776"/>
        <pc:sldMkLst>
          <pc:docMk/>
          <pc:sldMk cId="806111057" sldId="7120"/>
        </pc:sldMkLst>
      </pc:sldChg>
      <pc:sldChg chg="del">
        <pc:chgData name="Filip Zardin" userId="a799d58f-c8b9-4ae9-9b8a-83ef7e620080" providerId="ADAL" clId="{385B6BDB-3EA9-4230-BADC-2F806F6C2DD2}" dt="2025-05-27T09:15:00.085" v="773" actId="2696"/>
        <pc:sldMkLst>
          <pc:docMk/>
          <pc:sldMk cId="2833535392" sldId="2147472864"/>
        </pc:sldMkLst>
      </pc:sldChg>
      <pc:sldChg chg="modTransition">
        <pc:chgData name="Filip Zardin" userId="a799d58f-c8b9-4ae9-9b8a-83ef7e620080" providerId="ADAL" clId="{385B6BDB-3EA9-4230-BADC-2F806F6C2DD2}" dt="2025-05-27T09:21:44.608" v="776"/>
        <pc:sldMkLst>
          <pc:docMk/>
          <pc:sldMk cId="3860825432" sldId="2147472908"/>
        </pc:sldMkLst>
      </pc:sldChg>
      <pc:sldChg chg="addSp delSp modSp mod modAnim">
        <pc:chgData name="Filip Zardin" userId="a799d58f-c8b9-4ae9-9b8a-83ef7e620080" providerId="ADAL" clId="{385B6BDB-3EA9-4230-BADC-2F806F6C2DD2}" dt="2025-05-27T11:08:04.636" v="872"/>
        <pc:sldMkLst>
          <pc:docMk/>
          <pc:sldMk cId="586620056" sldId="2147472933"/>
        </pc:sldMkLst>
        <pc:spChg chg="del">
          <ac:chgData name="Filip Zardin" userId="a799d58f-c8b9-4ae9-9b8a-83ef7e620080" providerId="ADAL" clId="{385B6BDB-3EA9-4230-BADC-2F806F6C2DD2}" dt="2025-05-27T10:58:18.596" v="791" actId="478"/>
          <ac:spMkLst>
            <pc:docMk/>
            <pc:sldMk cId="586620056" sldId="2147472933"/>
            <ac:spMk id="5" creationId="{B7B54D3B-C799-D29E-6292-20ED65F06F85}"/>
          </ac:spMkLst>
        </pc:spChg>
        <pc:spChg chg="mod">
          <ac:chgData name="Filip Zardin" userId="a799d58f-c8b9-4ae9-9b8a-83ef7e620080" providerId="ADAL" clId="{385B6BDB-3EA9-4230-BADC-2F806F6C2DD2}" dt="2025-05-27T11:06:19.501" v="867" actId="20577"/>
          <ac:spMkLst>
            <pc:docMk/>
            <pc:sldMk cId="586620056" sldId="2147472933"/>
            <ac:spMk id="31" creationId="{F6C681C0-5BB6-D18D-B4BA-03823DD2A723}"/>
          </ac:spMkLst>
        </pc:spChg>
        <pc:spChg chg="mod">
          <ac:chgData name="Filip Zardin" userId="a799d58f-c8b9-4ae9-9b8a-83ef7e620080" providerId="ADAL" clId="{385B6BDB-3EA9-4230-BADC-2F806F6C2DD2}" dt="2025-05-27T11:05:07.540" v="834" actId="1076"/>
          <ac:spMkLst>
            <pc:docMk/>
            <pc:sldMk cId="586620056" sldId="2147472933"/>
            <ac:spMk id="186" creationId="{631256AC-0392-3A9F-AEF5-8ACD3E5C176B}"/>
          </ac:spMkLst>
        </pc:spChg>
        <pc:spChg chg="mod">
          <ac:chgData name="Filip Zardin" userId="a799d58f-c8b9-4ae9-9b8a-83ef7e620080" providerId="ADAL" clId="{385B6BDB-3EA9-4230-BADC-2F806F6C2DD2}" dt="2025-05-27T11:02:12.405" v="807" actId="1076"/>
          <ac:spMkLst>
            <pc:docMk/>
            <pc:sldMk cId="586620056" sldId="2147472933"/>
            <ac:spMk id="296" creationId="{84131B94-E7A9-958F-69D7-E8A07146D110}"/>
          </ac:spMkLst>
        </pc:spChg>
        <pc:spChg chg="mod">
          <ac:chgData name="Filip Zardin" userId="a799d58f-c8b9-4ae9-9b8a-83ef7e620080" providerId="ADAL" clId="{385B6BDB-3EA9-4230-BADC-2F806F6C2DD2}" dt="2025-05-27T11:02:12.405" v="807" actId="1076"/>
          <ac:spMkLst>
            <pc:docMk/>
            <pc:sldMk cId="586620056" sldId="2147472933"/>
            <ac:spMk id="297" creationId="{B69E103D-2325-FD92-4612-903D57E5F719}"/>
          </ac:spMkLst>
        </pc:spChg>
        <pc:spChg chg="mod">
          <ac:chgData name="Filip Zardin" userId="a799d58f-c8b9-4ae9-9b8a-83ef7e620080" providerId="ADAL" clId="{385B6BDB-3EA9-4230-BADC-2F806F6C2DD2}" dt="2025-05-27T11:03:37.997" v="817" actId="14100"/>
          <ac:spMkLst>
            <pc:docMk/>
            <pc:sldMk cId="586620056" sldId="2147472933"/>
            <ac:spMk id="312" creationId="{96D458EF-ABA9-9BCC-EF96-D5B83BB35CB9}"/>
          </ac:spMkLst>
        </pc:spChg>
        <pc:grpChg chg="mod">
          <ac:chgData name="Filip Zardin" userId="a799d58f-c8b9-4ae9-9b8a-83ef7e620080" providerId="ADAL" clId="{385B6BDB-3EA9-4230-BADC-2F806F6C2DD2}" dt="2025-05-27T11:01:07.388" v="798" actId="1076"/>
          <ac:grpSpMkLst>
            <pc:docMk/>
            <pc:sldMk cId="586620056" sldId="2147472933"/>
            <ac:grpSpMk id="3" creationId="{074EA675-86D7-63E3-7675-475BCA04B1F2}"/>
          </ac:grpSpMkLst>
        </pc:grpChg>
        <pc:grpChg chg="add mod">
          <ac:chgData name="Filip Zardin" userId="a799d58f-c8b9-4ae9-9b8a-83ef7e620080" providerId="ADAL" clId="{385B6BDB-3EA9-4230-BADC-2F806F6C2DD2}" dt="2025-05-27T09:26:03.024" v="783" actId="164"/>
          <ac:grpSpMkLst>
            <pc:docMk/>
            <pc:sldMk cId="586620056" sldId="2147472933"/>
            <ac:grpSpMk id="7" creationId="{1FF4D95D-B701-D45C-8692-EFACD562759C}"/>
          </ac:grpSpMkLst>
        </pc:grpChg>
        <pc:grpChg chg="add mod">
          <ac:chgData name="Filip Zardin" userId="a799d58f-c8b9-4ae9-9b8a-83ef7e620080" providerId="ADAL" clId="{385B6BDB-3EA9-4230-BADC-2F806F6C2DD2}" dt="2025-05-27T09:26:03.024" v="783" actId="164"/>
          <ac:grpSpMkLst>
            <pc:docMk/>
            <pc:sldMk cId="586620056" sldId="2147472933"/>
            <ac:grpSpMk id="8" creationId="{49DEB13F-39D9-2064-C4B0-5EC9405F400A}"/>
          </ac:grpSpMkLst>
        </pc:grpChg>
        <pc:grpChg chg="add mod">
          <ac:chgData name="Filip Zardin" userId="a799d58f-c8b9-4ae9-9b8a-83ef7e620080" providerId="ADAL" clId="{385B6BDB-3EA9-4230-BADC-2F806F6C2DD2}" dt="2025-05-27T09:28:55.486" v="788" actId="164"/>
          <ac:grpSpMkLst>
            <pc:docMk/>
            <pc:sldMk cId="586620056" sldId="2147472933"/>
            <ac:grpSpMk id="9" creationId="{514F777D-3005-7B80-437B-3E23FBA13009}"/>
          </ac:grpSpMkLst>
        </pc:grpChg>
        <pc:grpChg chg="add mod">
          <ac:chgData name="Filip Zardin" userId="a799d58f-c8b9-4ae9-9b8a-83ef7e620080" providerId="ADAL" clId="{385B6BDB-3EA9-4230-BADC-2F806F6C2DD2}" dt="2025-05-27T09:28:55.486" v="788" actId="164"/>
          <ac:grpSpMkLst>
            <pc:docMk/>
            <pc:sldMk cId="586620056" sldId="2147472933"/>
            <ac:grpSpMk id="10" creationId="{0A004C30-CB4C-43A4-9DF5-B87C57932F53}"/>
          </ac:grpSpMkLst>
        </pc:grpChg>
        <pc:grpChg chg="add mod">
          <ac:chgData name="Filip Zardin" userId="a799d58f-c8b9-4ae9-9b8a-83ef7e620080" providerId="ADAL" clId="{385B6BDB-3EA9-4230-BADC-2F806F6C2DD2}" dt="2025-05-27T10:58:49.008" v="793" actId="164"/>
          <ac:grpSpMkLst>
            <pc:docMk/>
            <pc:sldMk cId="586620056" sldId="2147472933"/>
            <ac:grpSpMk id="17" creationId="{BD936408-2CAB-8B45-183B-5D099A72F6D6}"/>
          </ac:grpSpMkLst>
        </pc:grpChg>
        <pc:grpChg chg="add mod">
          <ac:chgData name="Filip Zardin" userId="a799d58f-c8b9-4ae9-9b8a-83ef7e620080" providerId="ADAL" clId="{385B6BDB-3EA9-4230-BADC-2F806F6C2DD2}" dt="2025-05-27T10:58:49.008" v="793" actId="164"/>
          <ac:grpSpMkLst>
            <pc:docMk/>
            <pc:sldMk cId="586620056" sldId="2147472933"/>
            <ac:grpSpMk id="18" creationId="{7FE45E15-20D8-DCC0-2B43-D63F67C5428E}"/>
          </ac:grpSpMkLst>
        </pc:grpChg>
        <pc:grpChg chg="mod">
          <ac:chgData name="Filip Zardin" userId="a799d58f-c8b9-4ae9-9b8a-83ef7e620080" providerId="ADAL" clId="{385B6BDB-3EA9-4230-BADC-2F806F6C2DD2}" dt="2025-05-27T09:27:55.271" v="786" actId="164"/>
          <ac:grpSpMkLst>
            <pc:docMk/>
            <pc:sldMk cId="586620056" sldId="2147472933"/>
            <ac:grpSpMk id="36" creationId="{025D32AA-9467-4429-414A-C555447F88A4}"/>
          </ac:grpSpMkLst>
        </pc:grpChg>
        <pc:grpChg chg="add mod">
          <ac:chgData name="Filip Zardin" userId="a799d58f-c8b9-4ae9-9b8a-83ef7e620080" providerId="ADAL" clId="{385B6BDB-3EA9-4230-BADC-2F806F6C2DD2}" dt="2025-05-27T11:07:15.987" v="869" actId="164"/>
          <ac:grpSpMkLst>
            <pc:docMk/>
            <pc:sldMk cId="586620056" sldId="2147472933"/>
            <ac:grpSpMk id="48" creationId="{55407A7B-F43D-34EA-3379-347ADA5374D1}"/>
          </ac:grpSpMkLst>
        </pc:grpChg>
        <pc:grpChg chg="mod">
          <ac:chgData name="Filip Zardin" userId="a799d58f-c8b9-4ae9-9b8a-83ef7e620080" providerId="ADAL" clId="{385B6BDB-3EA9-4230-BADC-2F806F6C2DD2}" dt="2025-05-27T09:24:41.178" v="779" actId="164"/>
          <ac:grpSpMkLst>
            <pc:docMk/>
            <pc:sldMk cId="586620056" sldId="2147472933"/>
            <ac:grpSpMk id="298" creationId="{A7033326-B670-441C-4B21-C4A83071D9C8}"/>
          </ac:grpSpMkLst>
        </pc:grpChg>
        <pc:grpChg chg="mod">
          <ac:chgData name="Filip Zardin" userId="a799d58f-c8b9-4ae9-9b8a-83ef7e620080" providerId="ADAL" clId="{385B6BDB-3EA9-4230-BADC-2F806F6C2DD2}" dt="2025-05-27T10:58:34.931" v="792" actId="164"/>
          <ac:grpSpMkLst>
            <pc:docMk/>
            <pc:sldMk cId="586620056" sldId="2147472933"/>
            <ac:grpSpMk id="299" creationId="{2AF2ECE5-A51F-E3E1-7650-43EA5017AA05}"/>
          </ac:grpSpMkLst>
        </pc:grpChg>
        <pc:grpChg chg="mod">
          <ac:chgData name="Filip Zardin" userId="a799d58f-c8b9-4ae9-9b8a-83ef7e620080" providerId="ADAL" clId="{385B6BDB-3EA9-4230-BADC-2F806F6C2DD2}" dt="2025-05-27T11:07:15.987" v="869" actId="164"/>
          <ac:grpSpMkLst>
            <pc:docMk/>
            <pc:sldMk cId="586620056" sldId="2147472933"/>
            <ac:grpSpMk id="311" creationId="{88429849-BACD-D428-51AF-2B898F4E42DF}"/>
          </ac:grpSpMkLst>
        </pc:grpChg>
        <pc:picChg chg="mod">
          <ac:chgData name="Filip Zardin" userId="a799d58f-c8b9-4ae9-9b8a-83ef7e620080" providerId="ADAL" clId="{385B6BDB-3EA9-4230-BADC-2F806F6C2DD2}" dt="2025-05-27T09:24:41.178" v="779" actId="164"/>
          <ac:picMkLst>
            <pc:docMk/>
            <pc:sldMk cId="586620056" sldId="2147472933"/>
            <ac:picMk id="12" creationId="{48EF7DF5-B362-3DF9-7EF7-2C0B509986E1}"/>
          </ac:picMkLst>
        </pc:picChg>
        <pc:picChg chg="mod">
          <ac:chgData name="Filip Zardin" userId="a799d58f-c8b9-4ae9-9b8a-83ef7e620080" providerId="ADAL" clId="{385B6BDB-3EA9-4230-BADC-2F806F6C2DD2}" dt="2025-05-27T10:58:49.008" v="793" actId="164"/>
          <ac:picMkLst>
            <pc:docMk/>
            <pc:sldMk cId="586620056" sldId="2147472933"/>
            <ac:picMk id="13" creationId="{FA857B55-8A68-5196-DD81-670A571057D0}"/>
          </ac:picMkLst>
        </pc:picChg>
        <pc:picChg chg="mod">
          <ac:chgData name="Filip Zardin" userId="a799d58f-c8b9-4ae9-9b8a-83ef7e620080" providerId="ADAL" clId="{385B6BDB-3EA9-4230-BADC-2F806F6C2DD2}" dt="2025-05-27T10:58:49.008" v="793" actId="164"/>
          <ac:picMkLst>
            <pc:docMk/>
            <pc:sldMk cId="586620056" sldId="2147472933"/>
            <ac:picMk id="14" creationId="{E2F2853C-A965-2F7C-E308-CF8D7A56B63C}"/>
          </ac:picMkLst>
        </pc:picChg>
        <pc:picChg chg="mod">
          <ac:chgData name="Filip Zardin" userId="a799d58f-c8b9-4ae9-9b8a-83ef7e620080" providerId="ADAL" clId="{385B6BDB-3EA9-4230-BADC-2F806F6C2DD2}" dt="2025-05-27T10:58:49.008" v="793" actId="164"/>
          <ac:picMkLst>
            <pc:docMk/>
            <pc:sldMk cId="586620056" sldId="2147472933"/>
            <ac:picMk id="27" creationId="{7685D670-C77C-2001-3D5B-222DD937829F}"/>
          </ac:picMkLst>
        </pc:picChg>
        <pc:picChg chg="mod">
          <ac:chgData name="Filip Zardin" userId="a799d58f-c8b9-4ae9-9b8a-83ef7e620080" providerId="ADAL" clId="{385B6BDB-3EA9-4230-BADC-2F806F6C2DD2}" dt="2025-05-27T10:58:49.008" v="793" actId="164"/>
          <ac:picMkLst>
            <pc:docMk/>
            <pc:sldMk cId="586620056" sldId="2147472933"/>
            <ac:picMk id="33" creationId="{3F641A69-85D1-315A-6484-9E4CB5CB5F77}"/>
          </ac:picMkLst>
        </pc:picChg>
        <pc:picChg chg="mod">
          <ac:chgData name="Filip Zardin" userId="a799d58f-c8b9-4ae9-9b8a-83ef7e620080" providerId="ADAL" clId="{385B6BDB-3EA9-4230-BADC-2F806F6C2DD2}" dt="2025-05-27T09:26:20.882" v="784" actId="1076"/>
          <ac:picMkLst>
            <pc:docMk/>
            <pc:sldMk cId="586620056" sldId="2147472933"/>
            <ac:picMk id="35" creationId="{E68A410D-EB4C-3634-C43D-B610EE6EB29E}"/>
          </ac:picMkLst>
        </pc:picChg>
        <pc:picChg chg="mod">
          <ac:chgData name="Filip Zardin" userId="a799d58f-c8b9-4ae9-9b8a-83ef7e620080" providerId="ADAL" clId="{385B6BDB-3EA9-4230-BADC-2F806F6C2DD2}" dt="2025-05-27T11:05:08.299" v="835" actId="1076"/>
          <ac:picMkLst>
            <pc:docMk/>
            <pc:sldMk cId="586620056" sldId="2147472933"/>
            <ac:picMk id="182" creationId="{757007DB-89B2-56FD-C117-58A6E260793B}"/>
          </ac:picMkLst>
        </pc:picChg>
        <pc:picChg chg="mod">
          <ac:chgData name="Filip Zardin" userId="a799d58f-c8b9-4ae9-9b8a-83ef7e620080" providerId="ADAL" clId="{385B6BDB-3EA9-4230-BADC-2F806F6C2DD2}" dt="2025-05-27T09:28:55.486" v="788" actId="164"/>
          <ac:picMkLst>
            <pc:docMk/>
            <pc:sldMk cId="586620056" sldId="2147472933"/>
            <ac:picMk id="279" creationId="{9891D7CF-56AC-8B22-0F5C-D547ECDCF0DA}"/>
          </ac:picMkLst>
        </pc:picChg>
        <pc:picChg chg="mod">
          <ac:chgData name="Filip Zardin" userId="a799d58f-c8b9-4ae9-9b8a-83ef7e620080" providerId="ADAL" clId="{385B6BDB-3EA9-4230-BADC-2F806F6C2DD2}" dt="2025-05-27T10:58:49.008" v="793" actId="164"/>
          <ac:picMkLst>
            <pc:docMk/>
            <pc:sldMk cId="586620056" sldId="2147472933"/>
            <ac:picMk id="280" creationId="{892D0B6D-D8C5-EB78-A262-A9CA83CD523C}"/>
          </ac:picMkLst>
        </pc:picChg>
        <pc:picChg chg="mod">
          <ac:chgData name="Filip Zardin" userId="a799d58f-c8b9-4ae9-9b8a-83ef7e620080" providerId="ADAL" clId="{385B6BDB-3EA9-4230-BADC-2F806F6C2DD2}" dt="2025-05-27T10:58:49.008" v="793" actId="164"/>
          <ac:picMkLst>
            <pc:docMk/>
            <pc:sldMk cId="586620056" sldId="2147472933"/>
            <ac:picMk id="281" creationId="{29EA1A72-6B21-CABA-400D-D6B78409208E}"/>
          </ac:picMkLst>
        </pc:picChg>
        <pc:picChg chg="mod">
          <ac:chgData name="Filip Zardin" userId="a799d58f-c8b9-4ae9-9b8a-83ef7e620080" providerId="ADAL" clId="{385B6BDB-3EA9-4230-BADC-2F806F6C2DD2}" dt="2025-05-27T09:24:41.178" v="779" actId="164"/>
          <ac:picMkLst>
            <pc:docMk/>
            <pc:sldMk cId="586620056" sldId="2147472933"/>
            <ac:picMk id="283" creationId="{5A76FB1B-CC91-8F37-06C8-1A5F3CA3D426}"/>
          </ac:picMkLst>
        </pc:picChg>
        <pc:picChg chg="mod">
          <ac:chgData name="Filip Zardin" userId="a799d58f-c8b9-4ae9-9b8a-83ef7e620080" providerId="ADAL" clId="{385B6BDB-3EA9-4230-BADC-2F806F6C2DD2}" dt="2025-05-27T09:24:41.178" v="779" actId="164"/>
          <ac:picMkLst>
            <pc:docMk/>
            <pc:sldMk cId="586620056" sldId="2147472933"/>
            <ac:picMk id="288" creationId="{E99EFA4C-A9E4-DB5D-0BF4-00107AB45454}"/>
          </ac:picMkLst>
        </pc:picChg>
        <pc:picChg chg="mod">
          <ac:chgData name="Filip Zardin" userId="a799d58f-c8b9-4ae9-9b8a-83ef7e620080" providerId="ADAL" clId="{385B6BDB-3EA9-4230-BADC-2F806F6C2DD2}" dt="2025-05-27T09:24:41.178" v="779" actId="164"/>
          <ac:picMkLst>
            <pc:docMk/>
            <pc:sldMk cId="586620056" sldId="2147472933"/>
            <ac:picMk id="289" creationId="{65B3F1FD-6B4F-6CE5-5C12-E70B2E17A874}"/>
          </ac:picMkLst>
        </pc:picChg>
        <pc:cxnChg chg="mod">
          <ac:chgData name="Filip Zardin" userId="a799d58f-c8b9-4ae9-9b8a-83ef7e620080" providerId="ADAL" clId="{385B6BDB-3EA9-4230-BADC-2F806F6C2DD2}" dt="2025-05-27T11:01:07.388" v="798" actId="1076"/>
          <ac:cxnSpMkLst>
            <pc:docMk/>
            <pc:sldMk cId="586620056" sldId="2147472933"/>
            <ac:cxnSpMk id="34" creationId="{6383D2C7-30D9-4DF1-3CA8-87C14F54149C}"/>
          </ac:cxnSpMkLst>
        </pc:cxnChg>
        <pc:cxnChg chg="mod">
          <ac:chgData name="Filip Zardin" userId="a799d58f-c8b9-4ae9-9b8a-83ef7e620080" providerId="ADAL" clId="{385B6BDB-3EA9-4230-BADC-2F806F6C2DD2}" dt="2025-05-27T11:01:07.388" v="798" actId="1076"/>
          <ac:cxnSpMkLst>
            <pc:docMk/>
            <pc:sldMk cId="586620056" sldId="2147472933"/>
            <ac:cxnSpMk id="42" creationId="{6485ADF0-4020-B471-F294-6D6E09DB64FB}"/>
          </ac:cxnSpMkLst>
        </pc:cxnChg>
        <pc:cxnChg chg="mod">
          <ac:chgData name="Filip Zardin" userId="a799d58f-c8b9-4ae9-9b8a-83ef7e620080" providerId="ADAL" clId="{385B6BDB-3EA9-4230-BADC-2F806F6C2DD2}" dt="2025-05-27T11:05:07.540" v="834" actId="1076"/>
          <ac:cxnSpMkLst>
            <pc:docMk/>
            <pc:sldMk cId="586620056" sldId="2147472933"/>
            <ac:cxnSpMk id="219" creationId="{788EEC65-4816-F878-BCC6-6E5F34A0B30D}"/>
          </ac:cxnSpMkLst>
        </pc:cxnChg>
        <pc:cxnChg chg="mod">
          <ac:chgData name="Filip Zardin" userId="a799d58f-c8b9-4ae9-9b8a-83ef7e620080" providerId="ADAL" clId="{385B6BDB-3EA9-4230-BADC-2F806F6C2DD2}" dt="2025-05-27T09:27:55.271" v="786" actId="164"/>
          <ac:cxnSpMkLst>
            <pc:docMk/>
            <pc:sldMk cId="586620056" sldId="2147472933"/>
            <ac:cxnSpMk id="278" creationId="{B16359DC-DD98-08B8-E531-FA5C39E16AEC}"/>
          </ac:cxnSpMkLst>
        </pc:cxnChg>
        <pc:cxnChg chg="mod">
          <ac:chgData name="Filip Zardin" userId="a799d58f-c8b9-4ae9-9b8a-83ef7e620080" providerId="ADAL" clId="{385B6BDB-3EA9-4230-BADC-2F806F6C2DD2}" dt="2025-05-27T10:58:34.931" v="792" actId="164"/>
          <ac:cxnSpMkLst>
            <pc:docMk/>
            <pc:sldMk cId="586620056" sldId="2147472933"/>
            <ac:cxnSpMk id="287" creationId="{5A925759-4C94-11B2-CDFF-B47E3C699BDE}"/>
          </ac:cxnSpMkLst>
        </pc:cxnChg>
        <pc:cxnChg chg="mod">
          <ac:chgData name="Filip Zardin" userId="a799d58f-c8b9-4ae9-9b8a-83ef7e620080" providerId="ADAL" clId="{385B6BDB-3EA9-4230-BADC-2F806F6C2DD2}" dt="2025-05-27T11:02:34.214" v="810" actId="14100"/>
          <ac:cxnSpMkLst>
            <pc:docMk/>
            <pc:sldMk cId="586620056" sldId="2147472933"/>
            <ac:cxnSpMk id="307" creationId="{FF13DF79-C49A-BDFA-C761-5CB7CC8B49BA}"/>
          </ac:cxnSpMkLst>
        </pc:cxnChg>
        <pc:cxnChg chg="mod">
          <ac:chgData name="Filip Zardin" userId="a799d58f-c8b9-4ae9-9b8a-83ef7e620080" providerId="ADAL" clId="{385B6BDB-3EA9-4230-BADC-2F806F6C2DD2}" dt="2025-05-27T09:26:03.024" v="783" actId="164"/>
          <ac:cxnSpMkLst>
            <pc:docMk/>
            <pc:sldMk cId="586620056" sldId="2147472933"/>
            <ac:cxnSpMk id="357" creationId="{A8C99819-8BB4-1BD4-D19D-3F117356532A}"/>
          </ac:cxnSpMkLst>
        </pc:cxnChg>
        <pc:cxnChg chg="mod">
          <ac:chgData name="Filip Zardin" userId="a799d58f-c8b9-4ae9-9b8a-83ef7e620080" providerId="ADAL" clId="{385B6BDB-3EA9-4230-BADC-2F806F6C2DD2}" dt="2025-05-27T11:07:15.987" v="869" actId="164"/>
          <ac:cxnSpMkLst>
            <pc:docMk/>
            <pc:sldMk cId="586620056" sldId="2147472933"/>
            <ac:cxnSpMk id="370" creationId="{F92FB21B-2DFE-EB19-6C16-39C9EEFF3C58}"/>
          </ac:cxnSpMkLst>
        </pc:cxnChg>
      </pc:sldChg>
      <pc:sldChg chg="modSp add del mod ord">
        <pc:chgData name="Filip Zardin" userId="a799d58f-c8b9-4ae9-9b8a-83ef7e620080" providerId="ADAL" clId="{385B6BDB-3EA9-4230-BADC-2F806F6C2DD2}" dt="2025-05-27T12:56:27.947" v="2742" actId="20577"/>
        <pc:sldMkLst>
          <pc:docMk/>
          <pc:sldMk cId="1045223440" sldId="2147472940"/>
        </pc:sldMkLst>
        <pc:spChg chg="mod">
          <ac:chgData name="Filip Zardin" userId="a799d58f-c8b9-4ae9-9b8a-83ef7e620080" providerId="ADAL" clId="{385B6BDB-3EA9-4230-BADC-2F806F6C2DD2}" dt="2025-05-27T12:55:59.357" v="2726" actId="122"/>
          <ac:spMkLst>
            <pc:docMk/>
            <pc:sldMk cId="1045223440" sldId="2147472940"/>
            <ac:spMk id="60" creationId="{FEF7F9CF-36A6-42A7-8AAD-DDCEA5B3B8E4}"/>
          </ac:spMkLst>
        </pc:spChg>
        <pc:spChg chg="mod">
          <ac:chgData name="Filip Zardin" userId="a799d58f-c8b9-4ae9-9b8a-83ef7e620080" providerId="ADAL" clId="{385B6BDB-3EA9-4230-BADC-2F806F6C2DD2}" dt="2025-05-27T12:56:27.947" v="2742" actId="20577"/>
          <ac:spMkLst>
            <pc:docMk/>
            <pc:sldMk cId="1045223440" sldId="2147472940"/>
            <ac:spMk id="132" creationId="{4712280A-1FED-4DAC-BAA1-2A05EC231E31}"/>
          </ac:spMkLst>
        </pc:spChg>
      </pc:sldChg>
      <pc:sldChg chg="modAnim">
        <pc:chgData name="Filip Zardin" userId="a799d58f-c8b9-4ae9-9b8a-83ef7e620080" providerId="ADAL" clId="{385B6BDB-3EA9-4230-BADC-2F806F6C2DD2}" dt="2025-05-27T11:09:11.522" v="876"/>
        <pc:sldMkLst>
          <pc:docMk/>
          <pc:sldMk cId="1483600106" sldId="2147473115"/>
        </pc:sldMkLst>
      </pc:sldChg>
      <pc:sldChg chg="del">
        <pc:chgData name="Filip Zardin" userId="a799d58f-c8b9-4ae9-9b8a-83ef7e620080" providerId="ADAL" clId="{385B6BDB-3EA9-4230-BADC-2F806F6C2DD2}" dt="2025-05-27T09:15:31.457" v="774" actId="2696"/>
        <pc:sldMkLst>
          <pc:docMk/>
          <pc:sldMk cId="2482953829" sldId="2147473124"/>
        </pc:sldMkLst>
      </pc:sldChg>
      <pc:sldChg chg="modSp mod">
        <pc:chgData name="Filip Zardin" userId="a799d58f-c8b9-4ae9-9b8a-83ef7e620080" providerId="ADAL" clId="{385B6BDB-3EA9-4230-BADC-2F806F6C2DD2}" dt="2025-05-27T11:13:41.687" v="880" actId="20577"/>
        <pc:sldMkLst>
          <pc:docMk/>
          <pc:sldMk cId="144055443" sldId="2147477114"/>
        </pc:sldMkLst>
        <pc:spChg chg="mod">
          <ac:chgData name="Filip Zardin" userId="a799d58f-c8b9-4ae9-9b8a-83ef7e620080" providerId="ADAL" clId="{385B6BDB-3EA9-4230-BADC-2F806F6C2DD2}" dt="2025-05-27T11:13:41.687" v="880" actId="20577"/>
          <ac:spMkLst>
            <pc:docMk/>
            <pc:sldMk cId="144055443" sldId="2147477114"/>
            <ac:spMk id="15" creationId="{5EAAB74B-9DF2-E4F1-CF38-E174F2815A12}"/>
          </ac:spMkLst>
        </pc:spChg>
      </pc:sldChg>
      <pc:sldChg chg="modTransition">
        <pc:chgData name="Filip Zardin" userId="a799d58f-c8b9-4ae9-9b8a-83ef7e620080" providerId="ADAL" clId="{385B6BDB-3EA9-4230-BADC-2F806F6C2DD2}" dt="2025-05-27T09:21:44.608" v="776"/>
        <pc:sldMkLst>
          <pc:docMk/>
          <pc:sldMk cId="465994980" sldId="2147480678"/>
        </pc:sldMkLst>
      </pc:sldChg>
      <pc:sldChg chg="modSp mod">
        <pc:chgData name="Filip Zardin" userId="a799d58f-c8b9-4ae9-9b8a-83ef7e620080" providerId="ADAL" clId="{385B6BDB-3EA9-4230-BADC-2F806F6C2DD2}" dt="2025-05-27T13:03:36.421" v="2744" actId="403"/>
        <pc:sldMkLst>
          <pc:docMk/>
          <pc:sldMk cId="109552119" sldId="2147480679"/>
        </pc:sldMkLst>
        <pc:spChg chg="mod">
          <ac:chgData name="Filip Zardin" userId="a799d58f-c8b9-4ae9-9b8a-83ef7e620080" providerId="ADAL" clId="{385B6BDB-3EA9-4230-BADC-2F806F6C2DD2}" dt="2025-05-27T13:03:36.421" v="2744" actId="403"/>
          <ac:spMkLst>
            <pc:docMk/>
            <pc:sldMk cId="109552119" sldId="2147480679"/>
            <ac:spMk id="805" creationId="{07F23310-7613-FE88-BBAE-6BDC9272EE7D}"/>
          </ac:spMkLst>
        </pc:spChg>
      </pc:sldChg>
      <pc:sldChg chg="addSp delSp modSp add mod ord">
        <pc:chgData name="Filip Zardin" userId="a799d58f-c8b9-4ae9-9b8a-83ef7e620080" providerId="ADAL" clId="{385B6BDB-3EA9-4230-BADC-2F806F6C2DD2}" dt="2025-05-27T08:48:48.225" v="392" actId="1076"/>
        <pc:sldMkLst>
          <pc:docMk/>
          <pc:sldMk cId="747916699" sldId="2147480681"/>
        </pc:sldMkLst>
        <pc:spChg chg="del">
          <ac:chgData name="Filip Zardin" userId="a799d58f-c8b9-4ae9-9b8a-83ef7e620080" providerId="ADAL" clId="{385B6BDB-3EA9-4230-BADC-2F806F6C2DD2}" dt="2025-05-27T06:37:03.971" v="11" actId="478"/>
          <ac:spMkLst>
            <pc:docMk/>
            <pc:sldMk cId="747916699" sldId="2147480681"/>
            <ac:spMk id="2" creationId="{D9C30C76-D8BF-DBB9-C58B-6FFCA538D776}"/>
          </ac:spMkLst>
        </pc:spChg>
        <pc:spChg chg="add mod">
          <ac:chgData name="Filip Zardin" userId="a799d58f-c8b9-4ae9-9b8a-83ef7e620080" providerId="ADAL" clId="{385B6BDB-3EA9-4230-BADC-2F806F6C2DD2}" dt="2025-05-27T08:42:28.954" v="65" actId="1076"/>
          <ac:spMkLst>
            <pc:docMk/>
            <pc:sldMk cId="747916699" sldId="2147480681"/>
            <ac:spMk id="4" creationId="{1B135A9E-3CA0-112C-A36E-AF50EFA83CEA}"/>
          </ac:spMkLst>
        </pc:spChg>
        <pc:spChg chg="add mod">
          <ac:chgData name="Filip Zardin" userId="a799d58f-c8b9-4ae9-9b8a-83ef7e620080" providerId="ADAL" clId="{385B6BDB-3EA9-4230-BADC-2F806F6C2DD2}" dt="2025-05-27T08:42:28.954" v="65" actId="1076"/>
          <ac:spMkLst>
            <pc:docMk/>
            <pc:sldMk cId="747916699" sldId="2147480681"/>
            <ac:spMk id="5" creationId="{1591FE8D-59D8-BC90-0722-35268CD41040}"/>
          </ac:spMkLst>
        </pc:spChg>
        <pc:spChg chg="del">
          <ac:chgData name="Filip Zardin" userId="a799d58f-c8b9-4ae9-9b8a-83ef7e620080" providerId="ADAL" clId="{385B6BDB-3EA9-4230-BADC-2F806F6C2DD2}" dt="2025-05-27T08:42:22.760" v="64" actId="478"/>
          <ac:spMkLst>
            <pc:docMk/>
            <pc:sldMk cId="747916699" sldId="2147480681"/>
            <ac:spMk id="8" creationId="{36D614B1-3428-4829-1E11-99998C1537CE}"/>
          </ac:spMkLst>
        </pc:spChg>
        <pc:spChg chg="del">
          <ac:chgData name="Filip Zardin" userId="a799d58f-c8b9-4ae9-9b8a-83ef7e620080" providerId="ADAL" clId="{385B6BDB-3EA9-4230-BADC-2F806F6C2DD2}" dt="2025-05-27T06:37:08.592" v="12" actId="478"/>
          <ac:spMkLst>
            <pc:docMk/>
            <pc:sldMk cId="747916699" sldId="2147480681"/>
            <ac:spMk id="39" creationId="{00BFBA8D-F6A6-73A3-BB0D-56329EEAE37C}"/>
          </ac:spMkLst>
        </pc:spChg>
        <pc:spChg chg="del">
          <ac:chgData name="Filip Zardin" userId="a799d58f-c8b9-4ae9-9b8a-83ef7e620080" providerId="ADAL" clId="{385B6BDB-3EA9-4230-BADC-2F806F6C2DD2}" dt="2025-05-27T06:37:03.971" v="11" actId="478"/>
          <ac:spMkLst>
            <pc:docMk/>
            <pc:sldMk cId="747916699" sldId="2147480681"/>
            <ac:spMk id="43" creationId="{661805A0-FD3C-E856-B404-4FF71DE4E950}"/>
          </ac:spMkLst>
        </pc:spChg>
        <pc:spChg chg="del">
          <ac:chgData name="Filip Zardin" userId="a799d58f-c8b9-4ae9-9b8a-83ef7e620080" providerId="ADAL" clId="{385B6BDB-3EA9-4230-BADC-2F806F6C2DD2}" dt="2025-05-27T08:42:22.760" v="64" actId="478"/>
          <ac:spMkLst>
            <pc:docMk/>
            <pc:sldMk cId="747916699" sldId="2147480681"/>
            <ac:spMk id="45" creationId="{75354332-6EB1-A4D9-0859-79581815ECB8}"/>
          </ac:spMkLst>
        </pc:spChg>
        <pc:spChg chg="del">
          <ac:chgData name="Filip Zardin" userId="a799d58f-c8b9-4ae9-9b8a-83ef7e620080" providerId="ADAL" clId="{385B6BDB-3EA9-4230-BADC-2F806F6C2DD2}" dt="2025-05-27T06:37:08.592" v="12" actId="478"/>
          <ac:spMkLst>
            <pc:docMk/>
            <pc:sldMk cId="747916699" sldId="2147480681"/>
            <ac:spMk id="54" creationId="{769428F8-0A48-95A5-2E74-AD57BB7E850E}"/>
          </ac:spMkLst>
        </pc:spChg>
        <pc:spChg chg="del">
          <ac:chgData name="Filip Zardin" userId="a799d58f-c8b9-4ae9-9b8a-83ef7e620080" providerId="ADAL" clId="{385B6BDB-3EA9-4230-BADC-2F806F6C2DD2}" dt="2025-05-27T06:37:03.971" v="11" actId="478"/>
          <ac:spMkLst>
            <pc:docMk/>
            <pc:sldMk cId="747916699" sldId="2147480681"/>
            <ac:spMk id="788" creationId="{38D03E4A-895B-D54C-841C-F72A8F77DC98}"/>
          </ac:spMkLst>
        </pc:spChg>
        <pc:spChg chg="mod">
          <ac:chgData name="Filip Zardin" userId="a799d58f-c8b9-4ae9-9b8a-83ef7e620080" providerId="ADAL" clId="{385B6BDB-3EA9-4230-BADC-2F806F6C2DD2}" dt="2025-05-27T06:37:48.468" v="60" actId="1076"/>
          <ac:spMkLst>
            <pc:docMk/>
            <pc:sldMk cId="747916699" sldId="2147480681"/>
            <ac:spMk id="790" creationId="{7261BCD1-0B19-057D-0125-3F3B5FE61A33}"/>
          </ac:spMkLst>
        </pc:spChg>
        <pc:spChg chg="del">
          <ac:chgData name="Filip Zardin" userId="a799d58f-c8b9-4ae9-9b8a-83ef7e620080" providerId="ADAL" clId="{385B6BDB-3EA9-4230-BADC-2F806F6C2DD2}" dt="2025-05-27T06:37:08.592" v="12" actId="478"/>
          <ac:spMkLst>
            <pc:docMk/>
            <pc:sldMk cId="747916699" sldId="2147480681"/>
            <ac:spMk id="791" creationId="{68DBE842-E42D-1302-4BAD-11E3447CF864}"/>
          </ac:spMkLst>
        </pc:spChg>
        <pc:spChg chg="mod">
          <ac:chgData name="Filip Zardin" userId="a799d58f-c8b9-4ae9-9b8a-83ef7e620080" providerId="ADAL" clId="{385B6BDB-3EA9-4230-BADC-2F806F6C2DD2}" dt="2025-05-27T08:45:45.230" v="256" actId="404"/>
          <ac:spMkLst>
            <pc:docMk/>
            <pc:sldMk cId="747916699" sldId="2147480681"/>
            <ac:spMk id="802" creationId="{36BB6D41-6F5D-7DD3-C5CE-570A2B8CDC65}"/>
          </ac:spMkLst>
        </pc:spChg>
        <pc:spChg chg="del">
          <ac:chgData name="Filip Zardin" userId="a799d58f-c8b9-4ae9-9b8a-83ef7e620080" providerId="ADAL" clId="{385B6BDB-3EA9-4230-BADC-2F806F6C2DD2}" dt="2025-05-27T08:42:43.543" v="67" actId="478"/>
          <ac:spMkLst>
            <pc:docMk/>
            <pc:sldMk cId="747916699" sldId="2147480681"/>
            <ac:spMk id="805" creationId="{32C54F8B-D7D0-3F81-86AB-351FB0BE5040}"/>
          </ac:spMkLst>
        </pc:spChg>
        <pc:spChg chg="mod">
          <ac:chgData name="Filip Zardin" userId="a799d58f-c8b9-4ae9-9b8a-83ef7e620080" providerId="ADAL" clId="{385B6BDB-3EA9-4230-BADC-2F806F6C2DD2}" dt="2025-05-27T08:48:48.225" v="392" actId="1076"/>
          <ac:spMkLst>
            <pc:docMk/>
            <pc:sldMk cId="747916699" sldId="2147480681"/>
            <ac:spMk id="808" creationId="{193A9D22-BFF9-5591-9F36-BBF6CA5BE97C}"/>
          </ac:spMkLst>
        </pc:spChg>
        <pc:spChg chg="mod">
          <ac:chgData name="Filip Zardin" userId="a799d58f-c8b9-4ae9-9b8a-83ef7e620080" providerId="ADAL" clId="{385B6BDB-3EA9-4230-BADC-2F806F6C2DD2}" dt="2025-05-27T06:36:45.952" v="8" actId="20577"/>
          <ac:spMkLst>
            <pc:docMk/>
            <pc:sldMk cId="747916699" sldId="2147480681"/>
            <ac:spMk id="2258" creationId="{A34139DA-D200-0AAA-DD0A-4B8FADF95D42}"/>
          </ac:spMkLst>
        </pc:spChg>
        <pc:spChg chg="del">
          <ac:chgData name="Filip Zardin" userId="a799d58f-c8b9-4ae9-9b8a-83ef7e620080" providerId="ADAL" clId="{385B6BDB-3EA9-4230-BADC-2F806F6C2DD2}" dt="2025-05-27T06:36:53.328" v="10" actId="478"/>
          <ac:spMkLst>
            <pc:docMk/>
            <pc:sldMk cId="747916699" sldId="2147480681"/>
            <ac:spMk id="2259" creationId="{9268A8C1-6904-A827-AFAD-7A5F08AFBF14}"/>
          </ac:spMkLst>
        </pc:spChg>
        <pc:spChg chg="del">
          <ac:chgData name="Filip Zardin" userId="a799d58f-c8b9-4ae9-9b8a-83ef7e620080" providerId="ADAL" clId="{385B6BDB-3EA9-4230-BADC-2F806F6C2DD2}" dt="2025-05-27T06:36:50.815" v="9" actId="478"/>
          <ac:spMkLst>
            <pc:docMk/>
            <pc:sldMk cId="747916699" sldId="2147480681"/>
            <ac:spMk id="2260" creationId="{A7DE0AE1-F406-A78A-6FFF-48680931ECCC}"/>
          </ac:spMkLst>
        </pc:spChg>
        <pc:grpChg chg="mod">
          <ac:chgData name="Filip Zardin" userId="a799d58f-c8b9-4ae9-9b8a-83ef7e620080" providerId="ADAL" clId="{385B6BDB-3EA9-4230-BADC-2F806F6C2DD2}" dt="2025-05-27T08:42:49.548" v="69" actId="1076"/>
          <ac:grpSpMkLst>
            <pc:docMk/>
            <pc:sldMk cId="747916699" sldId="2147480681"/>
            <ac:grpSpMk id="800" creationId="{5AA25CFC-0B6A-0372-8981-C318018A9EA3}"/>
          </ac:grpSpMkLst>
        </pc:grpChg>
        <pc:grpChg chg="del">
          <ac:chgData name="Filip Zardin" userId="a799d58f-c8b9-4ae9-9b8a-83ef7e620080" providerId="ADAL" clId="{385B6BDB-3EA9-4230-BADC-2F806F6C2DD2}" dt="2025-05-27T06:37:03.971" v="11" actId="478"/>
          <ac:grpSpMkLst>
            <pc:docMk/>
            <pc:sldMk cId="747916699" sldId="2147480681"/>
            <ac:grpSpMk id="818" creationId="{53B2ED38-3638-BAA5-6A6A-BC00EE771CA7}"/>
          </ac:grpSpMkLst>
        </pc:grpChg>
        <pc:grpChg chg="del">
          <ac:chgData name="Filip Zardin" userId="a799d58f-c8b9-4ae9-9b8a-83ef7e620080" providerId="ADAL" clId="{385B6BDB-3EA9-4230-BADC-2F806F6C2DD2}" dt="2025-05-27T06:37:08.592" v="12" actId="478"/>
          <ac:grpSpMkLst>
            <pc:docMk/>
            <pc:sldMk cId="747916699" sldId="2147480681"/>
            <ac:grpSpMk id="982" creationId="{B0A13498-AF49-BB2B-7849-2E47C959AB8B}"/>
          </ac:grpSpMkLst>
        </pc:grpChg>
        <pc:graphicFrameChg chg="add mod">
          <ac:chgData name="Filip Zardin" userId="a799d58f-c8b9-4ae9-9b8a-83ef7e620080" providerId="ADAL" clId="{385B6BDB-3EA9-4230-BADC-2F806F6C2DD2}" dt="2025-05-27T08:41:17.643" v="61"/>
          <ac:graphicFrameMkLst>
            <pc:docMk/>
            <pc:sldMk cId="747916699" sldId="2147480681"/>
            <ac:graphicFrameMk id="3" creationId="{093E2E5A-9CEE-7576-D1F4-5211670355C3}"/>
          </ac:graphicFrameMkLst>
        </pc:graphicFrameChg>
        <pc:picChg chg="add mod">
          <ac:chgData name="Filip Zardin" userId="a799d58f-c8b9-4ae9-9b8a-83ef7e620080" providerId="ADAL" clId="{385B6BDB-3EA9-4230-BADC-2F806F6C2DD2}" dt="2025-05-27T08:42:28.954" v="65" actId="1076"/>
          <ac:picMkLst>
            <pc:docMk/>
            <pc:sldMk cId="747916699" sldId="2147480681"/>
            <ac:picMk id="6" creationId="{6C372F5B-EEF9-8338-344B-D09128B525DC}"/>
          </ac:picMkLst>
        </pc:picChg>
        <pc:picChg chg="mod">
          <ac:chgData name="Filip Zardin" userId="a799d58f-c8b9-4ae9-9b8a-83ef7e620080" providerId="ADAL" clId="{385B6BDB-3EA9-4230-BADC-2F806F6C2DD2}" dt="2025-05-27T08:47:35.302" v="314" actId="1076"/>
          <ac:picMkLst>
            <pc:docMk/>
            <pc:sldMk cId="747916699" sldId="2147480681"/>
            <ac:picMk id="28" creationId="{0CC2DD6D-EB77-347C-AE87-3E3BAD010F49}"/>
          </ac:picMkLst>
        </pc:picChg>
        <pc:picChg chg="del">
          <ac:chgData name="Filip Zardin" userId="a799d58f-c8b9-4ae9-9b8a-83ef7e620080" providerId="ADAL" clId="{385B6BDB-3EA9-4230-BADC-2F806F6C2DD2}" dt="2025-05-27T06:37:03.971" v="11" actId="478"/>
          <ac:picMkLst>
            <pc:docMk/>
            <pc:sldMk cId="747916699" sldId="2147480681"/>
            <ac:picMk id="61" creationId="{05E55C2E-738C-7023-9CE8-13DE24146D4B}"/>
          </ac:picMkLst>
        </pc:picChg>
        <pc:picChg chg="del">
          <ac:chgData name="Filip Zardin" userId="a799d58f-c8b9-4ae9-9b8a-83ef7e620080" providerId="ADAL" clId="{385B6BDB-3EA9-4230-BADC-2F806F6C2DD2}" dt="2025-05-27T08:42:22.760" v="64" actId="478"/>
          <ac:picMkLst>
            <pc:docMk/>
            <pc:sldMk cId="747916699" sldId="2147480681"/>
            <ac:picMk id="63" creationId="{CC35CACF-15D6-19F2-065B-B684A1B2BC63}"/>
          </ac:picMkLst>
        </pc:picChg>
        <pc:picChg chg="del">
          <ac:chgData name="Filip Zardin" userId="a799d58f-c8b9-4ae9-9b8a-83ef7e620080" providerId="ADAL" clId="{385B6BDB-3EA9-4230-BADC-2F806F6C2DD2}" dt="2025-05-27T06:37:08.592" v="12" actId="478"/>
          <ac:picMkLst>
            <pc:docMk/>
            <pc:sldMk cId="747916699" sldId="2147480681"/>
            <ac:picMk id="73" creationId="{F3EFCF42-666C-A39A-339F-3D6ED7710BD9}"/>
          </ac:picMkLst>
        </pc:picChg>
        <pc:picChg chg="del">
          <ac:chgData name="Filip Zardin" userId="a799d58f-c8b9-4ae9-9b8a-83ef7e620080" providerId="ADAL" clId="{385B6BDB-3EA9-4230-BADC-2F806F6C2DD2}" dt="2025-05-27T06:37:09.649" v="13" actId="478"/>
          <ac:picMkLst>
            <pc:docMk/>
            <pc:sldMk cId="747916699" sldId="2147480681"/>
            <ac:picMk id="981" creationId="{45B46DBB-555D-F87C-F1C7-76B50A7C9059}"/>
          </ac:picMkLst>
        </pc:picChg>
      </pc:sldChg>
      <pc:sldChg chg="add ord">
        <pc:chgData name="Filip Zardin" userId="a799d58f-c8b9-4ae9-9b8a-83ef7e620080" providerId="ADAL" clId="{385B6BDB-3EA9-4230-BADC-2F806F6C2DD2}" dt="2025-05-27T08:51:27.157" v="395"/>
        <pc:sldMkLst>
          <pc:docMk/>
          <pc:sldMk cId="3447567679" sldId="2147480682"/>
        </pc:sldMkLst>
      </pc:sldChg>
      <pc:sldChg chg="addSp delSp modSp add mod ord">
        <pc:chgData name="Filip Zardin" userId="a799d58f-c8b9-4ae9-9b8a-83ef7e620080" providerId="ADAL" clId="{385B6BDB-3EA9-4230-BADC-2F806F6C2DD2}" dt="2025-05-27T09:08:40.174" v="713" actId="20577"/>
        <pc:sldMkLst>
          <pc:docMk/>
          <pc:sldMk cId="3337728847" sldId="2147480683"/>
        </pc:sldMkLst>
        <pc:spChg chg="add mod">
          <ac:chgData name="Filip Zardin" userId="a799d58f-c8b9-4ae9-9b8a-83ef7e620080" providerId="ADAL" clId="{385B6BDB-3EA9-4230-BADC-2F806F6C2DD2}" dt="2025-05-27T08:53:11.258" v="434" actId="1076"/>
          <ac:spMkLst>
            <pc:docMk/>
            <pc:sldMk cId="3337728847" sldId="2147480683"/>
            <ac:spMk id="2" creationId="{D3440867-854C-69E4-9681-629CDD140232}"/>
          </ac:spMkLst>
        </pc:spChg>
        <pc:spChg chg="add mod">
          <ac:chgData name="Filip Zardin" userId="a799d58f-c8b9-4ae9-9b8a-83ef7e620080" providerId="ADAL" clId="{385B6BDB-3EA9-4230-BADC-2F806F6C2DD2}" dt="2025-05-27T08:53:11.258" v="434" actId="1076"/>
          <ac:spMkLst>
            <pc:docMk/>
            <pc:sldMk cId="3337728847" sldId="2147480683"/>
            <ac:spMk id="3" creationId="{4552DC02-3F2D-6781-F96D-AF79AEBF56B1}"/>
          </ac:spMkLst>
        </pc:spChg>
        <pc:spChg chg="del">
          <ac:chgData name="Filip Zardin" userId="a799d58f-c8b9-4ae9-9b8a-83ef7e620080" providerId="ADAL" clId="{385B6BDB-3EA9-4230-BADC-2F806F6C2DD2}" dt="2025-05-27T08:53:04.657" v="432" actId="478"/>
          <ac:spMkLst>
            <pc:docMk/>
            <pc:sldMk cId="3337728847" sldId="2147480683"/>
            <ac:spMk id="4" creationId="{4993920D-DF3A-E1EA-9CB2-08FE2AC9F6D7}"/>
          </ac:spMkLst>
        </pc:spChg>
        <pc:spChg chg="del">
          <ac:chgData name="Filip Zardin" userId="a799d58f-c8b9-4ae9-9b8a-83ef7e620080" providerId="ADAL" clId="{385B6BDB-3EA9-4230-BADC-2F806F6C2DD2}" dt="2025-05-27T08:53:04.657" v="432" actId="478"/>
          <ac:spMkLst>
            <pc:docMk/>
            <pc:sldMk cId="3337728847" sldId="2147480683"/>
            <ac:spMk id="5" creationId="{29D99DF7-77A9-689A-C3F2-3EA91C004C33}"/>
          </ac:spMkLst>
        </pc:spChg>
        <pc:spChg chg="add del mod">
          <ac:chgData name="Filip Zardin" userId="a799d58f-c8b9-4ae9-9b8a-83ef7e620080" providerId="ADAL" clId="{385B6BDB-3EA9-4230-BADC-2F806F6C2DD2}" dt="2025-05-27T08:53:18.232" v="437" actId="478"/>
          <ac:spMkLst>
            <pc:docMk/>
            <pc:sldMk cId="3337728847" sldId="2147480683"/>
            <ac:spMk id="7" creationId="{F88FF5B8-E8BF-0C2A-261C-38756A32ACEE}"/>
          </ac:spMkLst>
        </pc:spChg>
        <pc:spChg chg="mod">
          <ac:chgData name="Filip Zardin" userId="a799d58f-c8b9-4ae9-9b8a-83ef7e620080" providerId="ADAL" clId="{385B6BDB-3EA9-4230-BADC-2F806F6C2DD2}" dt="2025-05-27T09:06:28.174" v="495" actId="20577"/>
          <ac:spMkLst>
            <pc:docMk/>
            <pc:sldMk cId="3337728847" sldId="2147480683"/>
            <ac:spMk id="790" creationId="{A7AF659D-0861-8F50-10DF-395D790D29B8}"/>
          </ac:spMkLst>
        </pc:spChg>
        <pc:spChg chg="mod">
          <ac:chgData name="Filip Zardin" userId="a799d58f-c8b9-4ae9-9b8a-83ef7e620080" providerId="ADAL" clId="{385B6BDB-3EA9-4230-BADC-2F806F6C2DD2}" dt="2025-05-27T09:08:40.174" v="713" actId="20577"/>
          <ac:spMkLst>
            <pc:docMk/>
            <pc:sldMk cId="3337728847" sldId="2147480683"/>
            <ac:spMk id="802" creationId="{AD3AA2FC-2D9A-A6B7-6B76-D9A68966BFB5}"/>
          </ac:spMkLst>
        </pc:spChg>
        <pc:spChg chg="del">
          <ac:chgData name="Filip Zardin" userId="a799d58f-c8b9-4ae9-9b8a-83ef7e620080" providerId="ADAL" clId="{385B6BDB-3EA9-4230-BADC-2F806F6C2DD2}" dt="2025-05-27T09:06:31.589" v="496" actId="478"/>
          <ac:spMkLst>
            <pc:docMk/>
            <pc:sldMk cId="3337728847" sldId="2147480683"/>
            <ac:spMk id="808" creationId="{731F3131-646A-2238-BDE9-836EBEAF8C97}"/>
          </ac:spMkLst>
        </pc:spChg>
        <pc:spChg chg="mod">
          <ac:chgData name="Filip Zardin" userId="a799d58f-c8b9-4ae9-9b8a-83ef7e620080" providerId="ADAL" clId="{385B6BDB-3EA9-4230-BADC-2F806F6C2DD2}" dt="2025-05-27T08:53:28.301" v="438" actId="1076"/>
          <ac:spMkLst>
            <pc:docMk/>
            <pc:sldMk cId="3337728847" sldId="2147480683"/>
            <ac:spMk id="2258" creationId="{60171DEC-968C-0EEE-EF3C-AEDD26C94E38}"/>
          </ac:spMkLst>
        </pc:spChg>
        <pc:grpChg chg="mod">
          <ac:chgData name="Filip Zardin" userId="a799d58f-c8b9-4ae9-9b8a-83ef7e620080" providerId="ADAL" clId="{385B6BDB-3EA9-4230-BADC-2F806F6C2DD2}" dt="2025-05-27T09:06:43.287" v="499" actId="1076"/>
          <ac:grpSpMkLst>
            <pc:docMk/>
            <pc:sldMk cId="3337728847" sldId="2147480683"/>
            <ac:grpSpMk id="800" creationId="{9F17B760-9075-FB58-9354-4B6D9741D96C}"/>
          </ac:grpSpMkLst>
        </pc:grpChg>
        <pc:picChg chg="del">
          <ac:chgData name="Filip Zardin" userId="a799d58f-c8b9-4ae9-9b8a-83ef7e620080" providerId="ADAL" clId="{385B6BDB-3EA9-4230-BADC-2F806F6C2DD2}" dt="2025-05-27T08:53:04.657" v="432" actId="478"/>
          <ac:picMkLst>
            <pc:docMk/>
            <pc:sldMk cId="3337728847" sldId="2147480683"/>
            <ac:picMk id="6" creationId="{5A8AD10E-DA26-A985-DD2C-08597973B222}"/>
          </ac:picMkLst>
        </pc:picChg>
        <pc:picChg chg="add mod">
          <ac:chgData name="Filip Zardin" userId="a799d58f-c8b9-4ae9-9b8a-83ef7e620080" providerId="ADAL" clId="{385B6BDB-3EA9-4230-BADC-2F806F6C2DD2}" dt="2025-05-27T08:53:11.258" v="434" actId="1076"/>
          <ac:picMkLst>
            <pc:docMk/>
            <pc:sldMk cId="3337728847" sldId="2147480683"/>
            <ac:picMk id="9" creationId="{11A7A85F-4F4B-7800-A09E-E857C9F21D10}"/>
          </ac:picMkLst>
        </pc:picChg>
        <pc:picChg chg="mod">
          <ac:chgData name="Filip Zardin" userId="a799d58f-c8b9-4ae9-9b8a-83ef7e620080" providerId="ADAL" clId="{385B6BDB-3EA9-4230-BADC-2F806F6C2DD2}" dt="2025-05-27T09:06:36.237" v="498" actId="1076"/>
          <ac:picMkLst>
            <pc:docMk/>
            <pc:sldMk cId="3337728847" sldId="2147480683"/>
            <ac:picMk id="28" creationId="{57A83C89-310E-531E-CD4A-68877CF0AB84}"/>
          </ac:picMkLst>
        </pc:picChg>
        <pc:cxnChg chg="add del mod">
          <ac:chgData name="Filip Zardin" userId="a799d58f-c8b9-4ae9-9b8a-83ef7e620080" providerId="ADAL" clId="{385B6BDB-3EA9-4230-BADC-2F806F6C2DD2}" dt="2025-05-27T08:53:15.783" v="435" actId="478"/>
          <ac:cxnSpMkLst>
            <pc:docMk/>
            <pc:sldMk cId="3337728847" sldId="2147480683"/>
            <ac:cxnSpMk id="8" creationId="{1C57FAF3-E697-B9B2-78CD-02469C0A4C64}"/>
          </ac:cxnSpMkLst>
        </pc:cxnChg>
      </pc:sldChg>
      <pc:sldChg chg="modSp add mod">
        <pc:chgData name="Filip Zardin" userId="a799d58f-c8b9-4ae9-9b8a-83ef7e620080" providerId="ADAL" clId="{385B6BDB-3EA9-4230-BADC-2F806F6C2DD2}" dt="2025-05-27T12:34:00.925" v="2304" actId="20577"/>
        <pc:sldMkLst>
          <pc:docMk/>
          <pc:sldMk cId="4286463034" sldId="2147480684"/>
        </pc:sldMkLst>
        <pc:spChg chg="mod">
          <ac:chgData name="Filip Zardin" userId="a799d58f-c8b9-4ae9-9b8a-83ef7e620080" providerId="ADAL" clId="{385B6BDB-3EA9-4230-BADC-2F806F6C2DD2}" dt="2025-05-27T12:23:19.701" v="1049" actId="20577"/>
          <ac:spMkLst>
            <pc:docMk/>
            <pc:sldMk cId="4286463034" sldId="2147480684"/>
            <ac:spMk id="52" creationId="{333582D1-9CF4-6B09-8CE5-63488F95EB0C}"/>
          </ac:spMkLst>
        </pc:spChg>
        <pc:spChg chg="mod">
          <ac:chgData name="Filip Zardin" userId="a799d58f-c8b9-4ae9-9b8a-83ef7e620080" providerId="ADAL" clId="{385B6BDB-3EA9-4230-BADC-2F806F6C2DD2}" dt="2025-05-27T12:24:04.926" v="1108" actId="20577"/>
          <ac:spMkLst>
            <pc:docMk/>
            <pc:sldMk cId="4286463034" sldId="2147480684"/>
            <ac:spMk id="58" creationId="{916514AF-B6DF-6449-05E6-D08BE5B7632B}"/>
          </ac:spMkLst>
        </pc:spChg>
        <pc:spChg chg="mod">
          <ac:chgData name="Filip Zardin" userId="a799d58f-c8b9-4ae9-9b8a-83ef7e620080" providerId="ADAL" clId="{385B6BDB-3EA9-4230-BADC-2F806F6C2DD2}" dt="2025-05-27T12:24:39.203" v="1181" actId="14100"/>
          <ac:spMkLst>
            <pc:docMk/>
            <pc:sldMk cId="4286463034" sldId="2147480684"/>
            <ac:spMk id="63" creationId="{7EE1E984-0900-468E-07D0-55B39DE9347E}"/>
          </ac:spMkLst>
        </pc:spChg>
        <pc:spChg chg="mod">
          <ac:chgData name="Filip Zardin" userId="a799d58f-c8b9-4ae9-9b8a-83ef7e620080" providerId="ADAL" clId="{385B6BDB-3EA9-4230-BADC-2F806F6C2DD2}" dt="2025-05-27T12:24:54.717" v="1227" actId="20577"/>
          <ac:spMkLst>
            <pc:docMk/>
            <pc:sldMk cId="4286463034" sldId="2147480684"/>
            <ac:spMk id="66" creationId="{3EFBD68A-F051-3B06-C88C-9C2051284B5D}"/>
          </ac:spMkLst>
        </pc:spChg>
        <pc:spChg chg="mod">
          <ac:chgData name="Filip Zardin" userId="a799d58f-c8b9-4ae9-9b8a-83ef7e620080" providerId="ADAL" clId="{385B6BDB-3EA9-4230-BADC-2F806F6C2DD2}" dt="2025-05-27T12:24:14.635" v="1137" actId="20577"/>
          <ac:spMkLst>
            <pc:docMk/>
            <pc:sldMk cId="4286463034" sldId="2147480684"/>
            <ac:spMk id="70" creationId="{11604CD6-BD88-8062-EAA8-DB90A35B0F20}"/>
          </ac:spMkLst>
        </pc:spChg>
        <pc:spChg chg="mod">
          <ac:chgData name="Filip Zardin" userId="a799d58f-c8b9-4ae9-9b8a-83ef7e620080" providerId="ADAL" clId="{385B6BDB-3EA9-4230-BADC-2F806F6C2DD2}" dt="2025-05-27T12:24:24.779" v="1155" actId="20577"/>
          <ac:spMkLst>
            <pc:docMk/>
            <pc:sldMk cId="4286463034" sldId="2147480684"/>
            <ac:spMk id="71" creationId="{7F5A7D1F-6F12-2A33-619E-0B6761FAB447}"/>
          </ac:spMkLst>
        </pc:spChg>
        <pc:spChg chg="mod">
          <ac:chgData name="Filip Zardin" userId="a799d58f-c8b9-4ae9-9b8a-83ef7e620080" providerId="ADAL" clId="{385B6BDB-3EA9-4230-BADC-2F806F6C2DD2}" dt="2025-05-27T12:27:47.127" v="1487" actId="1076"/>
          <ac:spMkLst>
            <pc:docMk/>
            <pc:sldMk cId="4286463034" sldId="2147480684"/>
            <ac:spMk id="72" creationId="{1E605148-863F-B608-F3B8-1456343CEDA7}"/>
          </ac:spMkLst>
        </pc:spChg>
        <pc:spChg chg="mod">
          <ac:chgData name="Filip Zardin" userId="a799d58f-c8b9-4ae9-9b8a-83ef7e620080" providerId="ADAL" clId="{385B6BDB-3EA9-4230-BADC-2F806F6C2DD2}" dt="2025-05-27T12:31:25.551" v="1960" actId="20577"/>
          <ac:spMkLst>
            <pc:docMk/>
            <pc:sldMk cId="4286463034" sldId="2147480684"/>
            <ac:spMk id="75" creationId="{62B30354-FF88-9C98-871C-0A1034FF2494}"/>
          </ac:spMkLst>
        </pc:spChg>
        <pc:spChg chg="mod">
          <ac:chgData name="Filip Zardin" userId="a799d58f-c8b9-4ae9-9b8a-83ef7e620080" providerId="ADAL" clId="{385B6BDB-3EA9-4230-BADC-2F806F6C2DD2}" dt="2025-05-27T12:34:00.925" v="2304" actId="20577"/>
          <ac:spMkLst>
            <pc:docMk/>
            <pc:sldMk cId="4286463034" sldId="2147480684"/>
            <ac:spMk id="77" creationId="{BC813808-8FF1-5A4C-0BBD-0A2B5790178C}"/>
          </ac:spMkLst>
        </pc:spChg>
      </pc:sldChg>
      <pc:sldChg chg="modSp add del mod">
        <pc:chgData name="Filip Zardin" userId="a799d58f-c8b9-4ae9-9b8a-83ef7e620080" providerId="ADAL" clId="{385B6BDB-3EA9-4230-BADC-2F806F6C2DD2}" dt="2025-05-27T12:34:45.911" v="2312" actId="2696"/>
        <pc:sldMkLst>
          <pc:docMk/>
          <pc:sldMk cId="2098846013" sldId="2147480685"/>
        </pc:sldMkLst>
        <pc:spChg chg="mod">
          <ac:chgData name="Filip Zardin" userId="a799d58f-c8b9-4ae9-9b8a-83ef7e620080" providerId="ADAL" clId="{385B6BDB-3EA9-4230-BADC-2F806F6C2DD2}" dt="2025-05-27T12:34:15.767" v="2311" actId="20577"/>
          <ac:spMkLst>
            <pc:docMk/>
            <pc:sldMk cId="2098846013" sldId="2147480685"/>
            <ac:spMk id="3" creationId="{B6C4C016-635E-585E-9D36-A3A30C94BF0D}"/>
          </ac:spMkLst>
        </pc:spChg>
      </pc:sldChg>
      <pc:sldChg chg="addSp delSp modSp add mod delAnim modAnim">
        <pc:chgData name="Filip Zardin" userId="a799d58f-c8b9-4ae9-9b8a-83ef7e620080" providerId="ADAL" clId="{385B6BDB-3EA9-4230-BADC-2F806F6C2DD2}" dt="2025-05-27T12:40:27.097" v="2723"/>
        <pc:sldMkLst>
          <pc:docMk/>
          <pc:sldMk cId="2727095711" sldId="2147481130"/>
        </pc:sldMkLst>
        <pc:spChg chg="mod">
          <ac:chgData name="Filip Zardin" userId="a799d58f-c8b9-4ae9-9b8a-83ef7e620080" providerId="ADAL" clId="{385B6BDB-3EA9-4230-BADC-2F806F6C2DD2}" dt="2025-05-27T12:34:57.280" v="2323" actId="20577"/>
          <ac:spMkLst>
            <pc:docMk/>
            <pc:sldMk cId="2727095711" sldId="2147481130"/>
            <ac:spMk id="4" creationId="{633C87B0-BCDA-9EEA-373D-E734E41F055C}"/>
          </ac:spMkLst>
        </pc:spChg>
        <pc:spChg chg="mod">
          <ac:chgData name="Filip Zardin" userId="a799d58f-c8b9-4ae9-9b8a-83ef7e620080" providerId="ADAL" clId="{385B6BDB-3EA9-4230-BADC-2F806F6C2DD2}" dt="2025-05-27T12:36:30.124" v="2536" actId="20577"/>
          <ac:spMkLst>
            <pc:docMk/>
            <pc:sldMk cId="2727095711" sldId="2147481130"/>
            <ac:spMk id="59" creationId="{9DB8F757-305D-A57D-F348-8A2353778180}"/>
          </ac:spMkLst>
        </pc:spChg>
        <pc:spChg chg="mod">
          <ac:chgData name="Filip Zardin" userId="a799d58f-c8b9-4ae9-9b8a-83ef7e620080" providerId="ADAL" clId="{385B6BDB-3EA9-4230-BADC-2F806F6C2DD2}" dt="2025-05-27T12:37:46.147" v="2686" actId="20577"/>
          <ac:spMkLst>
            <pc:docMk/>
            <pc:sldMk cId="2727095711" sldId="2147481130"/>
            <ac:spMk id="64" creationId="{462EDCE8-22A6-037F-4F38-7A78EB4B9281}"/>
          </ac:spMkLst>
        </pc:spChg>
        <pc:spChg chg="mod">
          <ac:chgData name="Filip Zardin" userId="a799d58f-c8b9-4ae9-9b8a-83ef7e620080" providerId="ADAL" clId="{385B6BDB-3EA9-4230-BADC-2F806F6C2DD2}" dt="2025-05-27T12:38:04.137" v="2713" actId="20577"/>
          <ac:spMkLst>
            <pc:docMk/>
            <pc:sldMk cId="2727095711" sldId="2147481130"/>
            <ac:spMk id="65" creationId="{99A8C155-3E33-A33B-E397-74E6C1B4B220}"/>
          </ac:spMkLst>
        </pc:spChg>
        <pc:picChg chg="add mod">
          <ac:chgData name="Filip Zardin" userId="a799d58f-c8b9-4ae9-9b8a-83ef7e620080" providerId="ADAL" clId="{385B6BDB-3EA9-4230-BADC-2F806F6C2DD2}" dt="2025-05-27T12:38:34.901" v="2719" actId="1076"/>
          <ac:picMkLst>
            <pc:docMk/>
            <pc:sldMk cId="2727095711" sldId="2147481130"/>
            <ac:picMk id="7" creationId="{E2E30FD7-7CE1-88E1-13E9-B64297FF7F79}"/>
          </ac:picMkLst>
        </pc:picChg>
        <pc:picChg chg="mod">
          <ac:chgData name="Filip Zardin" userId="a799d58f-c8b9-4ae9-9b8a-83ef7e620080" providerId="ADAL" clId="{385B6BDB-3EA9-4230-BADC-2F806F6C2DD2}" dt="2025-05-27T12:38:37.999" v="2720" actId="14100"/>
          <ac:picMkLst>
            <pc:docMk/>
            <pc:sldMk cId="2727095711" sldId="2147481130"/>
            <ac:picMk id="56" creationId="{5E79535D-F8FB-7206-AE48-BD6372DFF011}"/>
          </ac:picMkLst>
        </pc:picChg>
        <pc:picChg chg="del">
          <ac:chgData name="Filip Zardin" userId="a799d58f-c8b9-4ae9-9b8a-83ef7e620080" providerId="ADAL" clId="{385B6BDB-3EA9-4230-BADC-2F806F6C2DD2}" dt="2025-05-27T12:38:11.613" v="2714" actId="478"/>
          <ac:picMkLst>
            <pc:docMk/>
            <pc:sldMk cId="2727095711" sldId="2147481130"/>
            <ac:picMk id="57" creationId="{E02E43B2-A7A6-4589-F9CD-4E77CB37D9E8}"/>
          </ac:picMkLst>
        </pc:picChg>
      </pc:sldChg>
      <pc:sldChg chg="add del ord">
        <pc:chgData name="Filip Zardin" userId="a799d58f-c8b9-4ae9-9b8a-83ef7e620080" providerId="ADAL" clId="{385B6BDB-3EA9-4230-BADC-2F806F6C2DD2}" dt="2025-05-27T09:14:28.147" v="772" actId="47"/>
        <pc:sldMkLst>
          <pc:docMk/>
          <pc:sldMk cId="2320560215" sldId="2147481131"/>
        </pc:sldMkLst>
      </pc:sldChg>
      <pc:sldChg chg="add del ord">
        <pc:chgData name="Filip Zardin" userId="a799d58f-c8b9-4ae9-9b8a-83ef7e620080" providerId="ADAL" clId="{385B6BDB-3EA9-4230-BADC-2F806F6C2DD2}" dt="2025-05-27T09:14:08.258" v="765" actId="2890"/>
        <pc:sldMkLst>
          <pc:docMk/>
          <pc:sldMk cId="2589329439" sldId="2147481131"/>
        </pc:sldMkLst>
      </pc:sldChg>
      <pc:sldChg chg="modSp add del mod ord">
        <pc:chgData name="Filip Zardin" userId="a799d58f-c8b9-4ae9-9b8a-83ef7e620080" providerId="ADAL" clId="{385B6BDB-3EA9-4230-BADC-2F806F6C2DD2}" dt="2025-05-27T09:14:26.588" v="771" actId="47"/>
        <pc:sldMkLst>
          <pc:docMk/>
          <pc:sldMk cId="2803963170" sldId="2147481132"/>
        </pc:sldMkLst>
        <pc:spChg chg="mod">
          <ac:chgData name="Filip Zardin" userId="a799d58f-c8b9-4ae9-9b8a-83ef7e620080" providerId="ADAL" clId="{385B6BDB-3EA9-4230-BADC-2F806F6C2DD2}" dt="2025-05-27T09:14:10.323" v="767" actId="20577"/>
          <ac:spMkLst>
            <pc:docMk/>
            <pc:sldMk cId="2803963170" sldId="2147481132"/>
            <ac:spMk id="790" creationId="{388669A2-6F94-2877-49E8-F24306746AF8}"/>
          </ac:spMkLst>
        </pc:spChg>
        <pc:spChg chg="mod">
          <ac:chgData name="Filip Zardin" userId="a799d58f-c8b9-4ae9-9b8a-83ef7e620080" providerId="ADAL" clId="{385B6BDB-3EA9-4230-BADC-2F806F6C2DD2}" dt="2025-05-27T09:13:16.762" v="735" actId="20577"/>
          <ac:spMkLst>
            <pc:docMk/>
            <pc:sldMk cId="2803963170" sldId="2147481132"/>
            <ac:spMk id="2258" creationId="{C229BE6F-90F6-3A6E-F652-EB1D0E2C2215}"/>
          </ac:spMkLst>
        </pc:spChg>
        <pc:picChg chg="mod">
          <ac:chgData name="Filip Zardin" userId="a799d58f-c8b9-4ae9-9b8a-83ef7e620080" providerId="ADAL" clId="{385B6BDB-3EA9-4230-BADC-2F806F6C2DD2}" dt="2025-05-27T09:13:19.895" v="736" actId="1076"/>
          <ac:picMkLst>
            <pc:docMk/>
            <pc:sldMk cId="2803963170" sldId="2147481132"/>
            <ac:picMk id="28" creationId="{9EEDDBB7-83E3-FBC3-21F7-D4734F960BD7}"/>
          </ac:picMkLst>
        </pc:picChg>
      </pc:sldChg>
      <pc:sldMasterChg chg="addSldLayout delSldLayout">
        <pc:chgData name="Filip Zardin" userId="a799d58f-c8b9-4ae9-9b8a-83ef7e620080" providerId="ADAL" clId="{385B6BDB-3EA9-4230-BADC-2F806F6C2DD2}" dt="2025-05-27T09:14:09.133" v="766" actId="47"/>
        <pc:sldMasterMkLst>
          <pc:docMk/>
          <pc:sldMasterMk cId="1716963410" sldId="2147483653"/>
        </pc:sldMasterMkLst>
        <pc:sldLayoutChg chg="add del">
          <pc:chgData name="Filip Zardin" userId="a799d58f-c8b9-4ae9-9b8a-83ef7e620080" providerId="ADAL" clId="{385B6BDB-3EA9-4230-BADC-2F806F6C2DD2}" dt="2025-05-27T09:14:09.133" v="766" actId="47"/>
          <pc:sldLayoutMkLst>
            <pc:docMk/>
            <pc:sldMasterMk cId="1716963410" sldId="2147483653"/>
            <pc:sldLayoutMk cId="41367324" sldId="2147483823"/>
          </pc:sldLayoutMkLst>
        </pc:sldLayoutChg>
      </pc:sldMasterChg>
      <pc:sldMasterChg chg="addSldLayout delSldLayout">
        <pc:chgData name="Filip Zardin" userId="a799d58f-c8b9-4ae9-9b8a-83ef7e620080" providerId="ADAL" clId="{385B6BDB-3EA9-4230-BADC-2F806F6C2DD2}" dt="2025-05-27T09:14:19.126" v="768" actId="47"/>
        <pc:sldMasterMkLst>
          <pc:docMk/>
          <pc:sldMasterMk cId="2033106355" sldId="2147483871"/>
        </pc:sldMasterMkLst>
        <pc:sldLayoutChg chg="add del">
          <pc:chgData name="Filip Zardin" userId="a799d58f-c8b9-4ae9-9b8a-83ef7e620080" providerId="ADAL" clId="{385B6BDB-3EA9-4230-BADC-2F806F6C2DD2}" dt="2025-05-27T09:14:19.126" v="768" actId="47"/>
          <pc:sldLayoutMkLst>
            <pc:docMk/>
            <pc:sldMasterMk cId="2033106355" sldId="2147483871"/>
            <pc:sldLayoutMk cId="3187427233" sldId="2147483884"/>
          </pc:sldLayoutMkLst>
        </pc:sldLayoutChg>
      </pc:sldMasterChg>
      <pc:sldMasterChg chg="delSldLayout">
        <pc:chgData name="Filip Zardin" userId="a799d58f-c8b9-4ae9-9b8a-83ef7e620080" providerId="ADAL" clId="{385B6BDB-3EA9-4230-BADC-2F806F6C2DD2}" dt="2025-05-27T09:15:00.085" v="773" actId="2696"/>
        <pc:sldMasterMkLst>
          <pc:docMk/>
          <pc:sldMasterMk cId="2504979318" sldId="2147483950"/>
        </pc:sldMasterMkLst>
        <pc:sldLayoutChg chg="del">
          <pc:chgData name="Filip Zardin" userId="a799d58f-c8b9-4ae9-9b8a-83ef7e620080" providerId="ADAL" clId="{385B6BDB-3EA9-4230-BADC-2F806F6C2DD2}" dt="2025-05-27T09:15:00.085" v="773" actId="2696"/>
          <pc:sldLayoutMkLst>
            <pc:docMk/>
            <pc:sldMasterMk cId="2504979318" sldId="2147483950"/>
            <pc:sldLayoutMk cId="2819080975" sldId="2147483969"/>
          </pc:sldLayoutMkLst>
        </pc:sldLayoutChg>
      </pc:sldMaster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.xlsx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package" Target="../embeddings/Microsoft_Excel_Worksheet4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2</c:v>
                </c:pt>
              </c:strCache>
            </c:strRef>
          </c:tx>
          <c:spPr>
            <a:ln>
              <a:noFill/>
            </a:ln>
            <a:effectLst/>
          </c:spPr>
          <c:dPt>
            <c:idx val="0"/>
            <c:bubble3D val="0"/>
            <c:spPr>
              <a:solidFill>
                <a:srgbClr val="B4BCC3">
                  <a:lumMod val="40000"/>
                  <a:lumOff val="60000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3A1B-9042-86F4-844E26A8A280}"/>
              </c:ext>
            </c:extLst>
          </c:dPt>
          <c:dPt>
            <c:idx val="1"/>
            <c:bubble3D val="0"/>
            <c:spPr>
              <a:solidFill>
                <a:srgbClr val="B4BCC3">
                  <a:lumMod val="40000"/>
                  <a:lumOff val="60000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3A1B-9042-86F4-844E26A8A280}"/>
              </c:ext>
            </c:extLst>
          </c:dPt>
          <c:dPt>
            <c:idx val="2"/>
            <c:bubble3D val="0"/>
            <c:spPr>
              <a:solidFill>
                <a:srgbClr val="E60A1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1776-7F41-A1A1-6AA9C0D294A1}"/>
              </c:ext>
            </c:extLst>
          </c:dPt>
          <c:dPt>
            <c:idx val="3"/>
            <c:bubble3D val="0"/>
            <c:spPr>
              <a:solidFill>
                <a:srgbClr val="B4BCC3">
                  <a:lumMod val="40000"/>
                  <a:lumOff val="60000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1776-7F41-A1A1-6AA9C0D294A1}"/>
              </c:ext>
            </c:extLst>
          </c:dPt>
          <c:cat>
            <c:strRef>
              <c:f>Sheet1!$A$2:$A$5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3</c:v>
                </c:pt>
                <c:pt idx="1">
                  <c:v>38</c:v>
                </c:pt>
                <c:pt idx="2">
                  <c:v>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A1B-9042-86F4-844E26A8A28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sr-Latn-RS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2</c:v>
                </c:pt>
              </c:strCache>
            </c:strRef>
          </c:tx>
          <c:spPr>
            <a:ln>
              <a:noFill/>
            </a:ln>
            <a:effectLst/>
          </c:spPr>
          <c:dPt>
            <c:idx val="0"/>
            <c:bubble3D val="0"/>
            <c:explosion val="1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E622-F64A-873E-7C0CE6858CB6}"/>
              </c:ext>
            </c:extLst>
          </c:dPt>
          <c:dPt>
            <c:idx val="1"/>
            <c:bubble3D val="0"/>
            <c:spPr>
              <a:solidFill>
                <a:schemeClr val="bg2">
                  <a:lumMod val="40000"/>
                  <a:lumOff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E622-F64A-873E-7C0CE6858CB6}"/>
              </c:ext>
            </c:extLst>
          </c:dPt>
          <c:cat>
            <c:strRef>
              <c:f>Sheet1!$A$2:$A$5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3</c:v>
                </c:pt>
                <c:pt idx="1">
                  <c:v>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622-F64A-873E-7C0CE6858CB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sr-Latn-R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2926030083335484"/>
          <c:y val="0.15608258411085998"/>
          <c:w val="0.45382196945962783"/>
          <c:h val="0.68783483177828009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2</c:v>
                </c:pt>
              </c:strCache>
            </c:strRef>
          </c:tx>
          <c:spPr>
            <a:solidFill>
              <a:schemeClr val="bg2">
                <a:lumMod val="20000"/>
                <a:lumOff val="80000"/>
              </a:schemeClr>
            </a:solidFill>
            <a:ln>
              <a:noFill/>
            </a:ln>
            <a:effectLst/>
          </c:spPr>
          <c:dPt>
            <c:idx val="0"/>
            <c:bubble3D val="0"/>
            <c:spPr>
              <a:solidFill>
                <a:schemeClr val="bg2">
                  <a:lumMod val="40000"/>
                  <a:lumOff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E713-F44D-835F-BEB6B7DC2B5A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E713-F44D-835F-BEB6B7DC2B5A}"/>
              </c:ext>
            </c:extLst>
          </c:dPt>
          <c:dPt>
            <c:idx val="2"/>
            <c:bubble3D val="0"/>
            <c:spPr>
              <a:solidFill>
                <a:schemeClr val="bg2">
                  <a:lumMod val="40000"/>
                  <a:lumOff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6479-F946-BD32-39AF011BC32A}"/>
              </c:ext>
            </c:extLst>
          </c:dPt>
          <c:cat>
            <c:strRef>
              <c:f>Sheet1!$A$2:$A$5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3</c:v>
                </c:pt>
                <c:pt idx="1">
                  <c:v>38</c:v>
                </c:pt>
                <c:pt idx="2">
                  <c:v>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713-F44D-835F-BEB6B7DC2B5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1"/>
    <c:dispBlanksAs val="gap"/>
    <c:showDLblsOverMax val="0"/>
  </c:chart>
  <c:spPr>
    <a:effectLst/>
  </c:spPr>
  <c:txPr>
    <a:bodyPr/>
    <a:lstStyle/>
    <a:p>
      <a:pPr>
        <a:defRPr sz="1800"/>
      </a:pPr>
      <a:endParaRPr lang="sr-Latn-RS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4228651507684806"/>
          <c:y val="6.1218358237570075E-2"/>
          <c:w val="0.7817366100105515"/>
          <c:h val="0.72057973923572105"/>
        </c:manualLayout>
      </c:layout>
      <c:lineChart>
        <c:grouping val="standard"/>
        <c:varyColors val="0"/>
        <c:ser>
          <c:idx val="1"/>
          <c:order val="1"/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cat>
            <c:strRef>
              <c:f>Sheet1!$D$2:$G$3</c:f>
              <c:strCache>
                <c:ptCount val="4"/>
                <c:pt idx="0">
                  <c:v>2020</c:v>
                </c:pt>
                <c:pt idx="1">
                  <c:v>2030</c:v>
                </c:pt>
                <c:pt idx="2">
                  <c:v>2040</c:v>
                </c:pt>
                <c:pt idx="3">
                  <c:v>2050</c:v>
                </c:pt>
              </c:strCache>
            </c:strRef>
          </c:cat>
          <c:val>
            <c:numRef>
              <c:f>Sheet1!$D$5:$G$5</c:f>
              <c:numCache>
                <c:formatCode>0%</c:formatCode>
                <c:ptCount val="4"/>
                <c:pt idx="0">
                  <c:v>0.02</c:v>
                </c:pt>
                <c:pt idx="1">
                  <c:v>0.25</c:v>
                </c:pt>
                <c:pt idx="2">
                  <c:v>0.45</c:v>
                </c:pt>
                <c:pt idx="3">
                  <c:v>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61F5-47B6-99D9-57F4A918D7C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88072832"/>
        <c:axId val="688074272"/>
        <c:extLst>
          <c:ext xmlns:c15="http://schemas.microsoft.com/office/drawing/2012/chart" uri="{02D57815-91ED-43cb-92C2-25804820EDAC}">
            <c15:filteredLineSeries>
              <c15:ser>
                <c:idx val="0"/>
                <c:order val="0"/>
                <c:spPr>
                  <a:ln w="28575" cap="rnd">
                    <a:solidFill>
                      <a:schemeClr val="accent1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strRef>
                    <c:extLst>
                      <c:ext uri="{02D57815-91ED-43cb-92C2-25804820EDAC}">
                        <c15:formulaRef>
                          <c15:sqref>Sheet1!$D$2:$G$3</c15:sqref>
                        </c15:formulaRef>
                      </c:ext>
                    </c:extLst>
                    <c:strCache>
                      <c:ptCount val="4"/>
                      <c:pt idx="0">
                        <c:v>2020</c:v>
                      </c:pt>
                      <c:pt idx="1">
                        <c:v>2030</c:v>
                      </c:pt>
                      <c:pt idx="2">
                        <c:v>2040</c:v>
                      </c:pt>
                      <c:pt idx="3">
                        <c:v>2050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Sheet1!$D$4:$G$4</c15:sqref>
                        </c15:formulaRef>
                      </c:ext>
                    </c:extLst>
                    <c:numCache>
                      <c:formatCode>General</c:formatCode>
                      <c:ptCount val="4"/>
                    </c:numCache>
                  </c:numRef>
                </c:val>
                <c:smooth val="0"/>
                <c:extLst>
                  <c:ext xmlns:c16="http://schemas.microsoft.com/office/drawing/2014/chart" uri="{C3380CC4-5D6E-409C-BE32-E72D297353CC}">
                    <c16:uniqueId val="{00000001-61F5-47B6-99D9-57F4A918D7C4}"/>
                  </c:ext>
                </c:extLst>
              </c15:ser>
            </c15:filteredLineSeries>
          </c:ext>
        </c:extLst>
      </c:lineChart>
      <c:catAx>
        <c:axId val="6880728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r-Latn-RS"/>
          </a:p>
        </c:txPr>
        <c:crossAx val="688074272"/>
        <c:crosses val="autoZero"/>
        <c:auto val="1"/>
        <c:lblAlgn val="ctr"/>
        <c:lblOffset val="100"/>
        <c:noMultiLvlLbl val="0"/>
      </c:catAx>
      <c:valAx>
        <c:axId val="68807427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r-Latn-RS"/>
          </a:p>
        </c:txPr>
        <c:crossAx val="688072832"/>
        <c:crosses val="autoZero"/>
        <c:crossBetween val="between"/>
      </c:valAx>
      <c:spPr>
        <a:solidFill>
          <a:sysClr val="window" lastClr="FFFFFF">
            <a:lumMod val="95000"/>
          </a:sysClr>
        </a:solidFill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sr-Latn-RS"/>
    </a:p>
  </c:txPr>
  <c:externalData r:id="rId4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spPr>
            <a:solidFill>
              <a:srgbClr val="878786"/>
            </a:solidFill>
            <a:ln>
              <a:noFill/>
            </a:ln>
            <a:effectLst/>
          </c:spPr>
          <c:invertIfNegative val="0"/>
          <c:cat>
            <c:strRef>
              <c:f>Sheet1!$D$6:$H$7</c:f>
              <c:strCache>
                <c:ptCount val="5"/>
                <c:pt idx="0">
                  <c:v>Biomasa 63%</c:v>
                </c:pt>
                <c:pt idx="1">
                  <c:v>Hidropotencijal 14%</c:v>
                </c:pt>
                <c:pt idx="2">
                  <c:v>Sunčeva energia 14%</c:v>
                </c:pt>
                <c:pt idx="3">
                  <c:v>Energija vetra 5%</c:v>
                </c:pt>
                <c:pt idx="4">
                  <c:v>Geotermalna energija 4%</c:v>
                </c:pt>
              </c:strCache>
            </c:strRef>
          </c:cat>
          <c:val>
            <c:numRef>
              <c:f>Sheet1!$D$8:$H$8</c:f>
              <c:numCache>
                <c:formatCode>0%</c:formatCode>
                <c:ptCount val="5"/>
                <c:pt idx="0">
                  <c:v>0.63</c:v>
                </c:pt>
                <c:pt idx="1">
                  <c:v>0.14000000000000001</c:v>
                </c:pt>
                <c:pt idx="2">
                  <c:v>0.14000000000000001</c:v>
                </c:pt>
                <c:pt idx="3">
                  <c:v>0.05</c:v>
                </c:pt>
                <c:pt idx="4">
                  <c:v>0.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A39-448D-BDE0-1B9094370CB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839394856"/>
        <c:axId val="839395576"/>
      </c:barChart>
      <c:catAx>
        <c:axId val="83939485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r-Latn-RS"/>
          </a:p>
        </c:txPr>
        <c:crossAx val="839395576"/>
        <c:crosses val="autoZero"/>
        <c:auto val="1"/>
        <c:lblAlgn val="ctr"/>
        <c:lblOffset val="100"/>
        <c:noMultiLvlLbl val="0"/>
      </c:catAx>
      <c:valAx>
        <c:axId val="839395576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r-Latn-RS"/>
          </a:p>
        </c:txPr>
        <c:crossAx val="8393948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sr-Latn-RS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4302231" cy="339884"/>
          </a:xfrm>
          <a:prstGeom prst="rect">
            <a:avLst/>
          </a:prstGeom>
        </p:spPr>
        <p:txBody>
          <a:bodyPr vert="horz" lIns="95572" tIns="47786" rIns="95572" bIns="47786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623698" y="0"/>
            <a:ext cx="4302231" cy="339884"/>
          </a:xfrm>
          <a:prstGeom prst="rect">
            <a:avLst/>
          </a:prstGeom>
        </p:spPr>
        <p:txBody>
          <a:bodyPr vert="horz" lIns="95572" tIns="47786" rIns="95572" bIns="47786" rtlCol="0"/>
          <a:lstStyle>
            <a:lvl1pPr algn="r">
              <a:defRPr sz="1200"/>
            </a:lvl1pPr>
          </a:lstStyle>
          <a:p>
            <a:fld id="{68DDC775-D96C-47F1-A7F6-3BB2D8E76A25}" type="datetimeFigureOut">
              <a:rPr lang="en-GB" smtClean="0"/>
              <a:t>26/05/2025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6456611"/>
            <a:ext cx="4302231" cy="339884"/>
          </a:xfrm>
          <a:prstGeom prst="rect">
            <a:avLst/>
          </a:prstGeom>
        </p:spPr>
        <p:txBody>
          <a:bodyPr vert="horz" lIns="95572" tIns="47786" rIns="95572" bIns="47786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623698" y="6456611"/>
            <a:ext cx="4302231" cy="339884"/>
          </a:xfrm>
          <a:prstGeom prst="rect">
            <a:avLst/>
          </a:prstGeom>
        </p:spPr>
        <p:txBody>
          <a:bodyPr vert="horz" lIns="95572" tIns="47786" rIns="95572" bIns="47786" rtlCol="0" anchor="b"/>
          <a:lstStyle>
            <a:lvl1pPr algn="r">
              <a:defRPr sz="1200"/>
            </a:lvl1pPr>
          </a:lstStyle>
          <a:p>
            <a:fld id="{D5083773-A06C-4709-B30E-A3920CD1815C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25182457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4302231" cy="339884"/>
          </a:xfrm>
          <a:prstGeom prst="rect">
            <a:avLst/>
          </a:prstGeom>
        </p:spPr>
        <p:txBody>
          <a:bodyPr vert="horz" lIns="95572" tIns="47786" rIns="95572" bIns="47786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623698" y="0"/>
            <a:ext cx="4302231" cy="339884"/>
          </a:xfrm>
          <a:prstGeom prst="rect">
            <a:avLst/>
          </a:prstGeom>
        </p:spPr>
        <p:txBody>
          <a:bodyPr vert="horz" lIns="95572" tIns="47786" rIns="95572" bIns="47786" rtlCol="0"/>
          <a:lstStyle>
            <a:lvl1pPr algn="r">
              <a:defRPr sz="1200"/>
            </a:lvl1pPr>
          </a:lstStyle>
          <a:p>
            <a:fld id="{A271B8D7-5601-426C-90BB-417F03FCEA1A}" type="datetimeFigureOut">
              <a:rPr lang="en-GB" smtClean="0"/>
              <a:t>26/05/2025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697163" y="509588"/>
            <a:ext cx="4533900" cy="25495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572" tIns="47786" rIns="95572" bIns="47786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92823" y="3228897"/>
            <a:ext cx="7942580" cy="3058954"/>
          </a:xfrm>
          <a:prstGeom prst="rect">
            <a:avLst/>
          </a:prstGeom>
        </p:spPr>
        <p:txBody>
          <a:bodyPr vert="horz" lIns="95572" tIns="47786" rIns="95572" bIns="47786" rtlCol="0"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6456611"/>
            <a:ext cx="4302231" cy="339884"/>
          </a:xfrm>
          <a:prstGeom prst="rect">
            <a:avLst/>
          </a:prstGeom>
        </p:spPr>
        <p:txBody>
          <a:bodyPr vert="horz" lIns="95572" tIns="47786" rIns="95572" bIns="47786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623698" y="6456611"/>
            <a:ext cx="4302231" cy="339884"/>
          </a:xfrm>
          <a:prstGeom prst="rect">
            <a:avLst/>
          </a:prstGeom>
        </p:spPr>
        <p:txBody>
          <a:bodyPr vert="horz" lIns="95572" tIns="47786" rIns="95572" bIns="47786" rtlCol="0" anchor="b"/>
          <a:lstStyle>
            <a:lvl1pPr algn="r">
              <a:defRPr sz="1200"/>
            </a:lvl1pPr>
          </a:lstStyle>
          <a:p>
            <a:fld id="{95EEA1EF-E049-411F-95E8-50B58FEF4D87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19532852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značba mesta stranske slik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Označba mesta opomb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l-SI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endParaRPr lang="sl-SI" dirty="0"/>
          </a:p>
        </p:txBody>
      </p:sp>
      <p:sp>
        <p:nvSpPr>
          <p:cNvPr id="4" name="Označba mesta noge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Označba mesta številke diapozitiva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5EEA1EF-E049-411F-95E8-50B58FEF4D87}" type="slidenum">
              <a:rPr lang="en-GB" smtClean="0"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0554319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DCCAF22-3C1B-0DC1-082D-B3D3F7DF2B3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9EEF8F6-885F-608F-2A14-72391BC1CC5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EC22B25-CB5D-9E6F-7761-5CED68C55C1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96398B0-2BEA-BA4A-E757-2D3A175C472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294AD55-F633-4D46-A107-25CAF9B35BD3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da-DK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6787703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4E3B4F8-7C91-21C9-1262-EDB57108C71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CE6691D-371F-CF78-23F8-796DC309507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29B8BEA-9935-D303-5845-04AB41B650B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9D9AB4D-9118-37E1-57BB-B62C85EE78B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294AD55-F633-4D46-A107-25CAF9B35BD3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da-DK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7688858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6213" indent="-176213" defTabSz="685800" fontAlgn="base">
              <a:spcBef>
                <a:spcPct val="50000"/>
              </a:spcBef>
              <a:spcAft>
                <a:spcPts val="600"/>
              </a:spcAft>
              <a:buClr>
                <a:schemeClr val="accent2"/>
              </a:buClr>
              <a:buSzPct val="140000"/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rgbClr val="000000"/>
                </a:solidFill>
                <a:latin typeface="Verdana" pitchFamily="34" charset="0"/>
                <a:cs typeface="Arial" charset="0"/>
              </a:rPr>
              <a:t>Multifunctional Intelligent controller- </a:t>
            </a:r>
            <a:r>
              <a:rPr lang="en-US" sz="1200" dirty="0" err="1">
                <a:solidFill>
                  <a:srgbClr val="000000"/>
                </a:solidFill>
                <a:latin typeface="Verdana" pitchFamily="34" charset="0"/>
                <a:cs typeface="Arial" charset="0"/>
              </a:rPr>
              <a:t>iSET</a:t>
            </a:r>
            <a:r>
              <a:rPr lang="en-US" sz="1200" dirty="0">
                <a:solidFill>
                  <a:srgbClr val="000000"/>
                </a:solidFill>
                <a:latin typeface="Verdana" pitchFamily="34" charset="0"/>
                <a:cs typeface="Arial" charset="0"/>
              </a:rPr>
              <a:t> &amp; </a:t>
            </a:r>
            <a:r>
              <a:rPr lang="en-US" sz="1200" dirty="0" err="1">
                <a:solidFill>
                  <a:srgbClr val="000000"/>
                </a:solidFill>
                <a:latin typeface="Verdana" pitchFamily="34" charset="0"/>
                <a:cs typeface="Arial" charset="0"/>
              </a:rPr>
              <a:t>iNET</a:t>
            </a:r>
            <a:r>
              <a:rPr lang="en-US" sz="1200" dirty="0">
                <a:solidFill>
                  <a:srgbClr val="000000"/>
                </a:solidFill>
                <a:latin typeface="Verdana" pitchFamily="34" charset="0"/>
                <a:cs typeface="Arial" charset="0"/>
              </a:rPr>
              <a:t> functions for substation and network optimization, implemented in one product</a:t>
            </a:r>
          </a:p>
          <a:p>
            <a:pPr marL="176213" indent="-176213" defTabSz="685800" fontAlgn="base">
              <a:spcBef>
                <a:spcPct val="50000"/>
              </a:spcBef>
              <a:spcAft>
                <a:spcPts val="600"/>
              </a:spcAft>
              <a:buClr>
                <a:schemeClr val="accent2"/>
              </a:buClr>
              <a:buSzPct val="140000"/>
              <a:buFont typeface="Arial" panose="020B0604020202020204" pitchFamily="34" charset="0"/>
              <a:buChar char="•"/>
              <a:defRPr/>
            </a:pPr>
            <a:r>
              <a:rPr lang="en-US" sz="1200" dirty="0" err="1">
                <a:solidFill>
                  <a:srgbClr val="000000"/>
                </a:solidFill>
                <a:latin typeface="Verdana" pitchFamily="34" charset="0"/>
                <a:cs typeface="Arial" charset="0"/>
              </a:rPr>
              <a:t>iSET</a:t>
            </a:r>
            <a:r>
              <a:rPr lang="en-US" sz="1200" dirty="0">
                <a:solidFill>
                  <a:srgbClr val="000000"/>
                </a:solidFill>
                <a:latin typeface="Verdana" pitchFamily="34" charset="0"/>
                <a:cs typeface="Arial" charset="0"/>
              </a:rPr>
              <a:t>-Auto stabilization function supports 1 MCV, either AME or AMV </a:t>
            </a:r>
          </a:p>
          <a:p>
            <a:pPr marL="176213" indent="-176213" defTabSz="685800" fontAlgn="base">
              <a:spcBef>
                <a:spcPct val="50000"/>
              </a:spcBef>
              <a:spcAft>
                <a:spcPts val="600"/>
              </a:spcAft>
              <a:buClr>
                <a:schemeClr val="accent2"/>
              </a:buClr>
              <a:buSzPct val="140000"/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rgbClr val="000000"/>
                </a:solidFill>
                <a:latin typeface="Verdana" pitchFamily="34" charset="0"/>
                <a:cs typeface="Arial" charset="0"/>
              </a:rPr>
              <a:t>Open communication and connectivity with various equipment -supports a</a:t>
            </a:r>
            <a:r>
              <a:rPr lang="en-US" sz="1200" dirty="0">
                <a:solidFill>
                  <a:srgbClr val="000000"/>
                </a:solidFill>
                <a:latin typeface="Verdana"/>
                <a:cs typeface="Arial" charset="0"/>
              </a:rPr>
              <a:t>nalog signal </a:t>
            </a:r>
            <a:br>
              <a:rPr lang="en-US" sz="1200">
                <a:solidFill>
                  <a:srgbClr val="000000"/>
                </a:solidFill>
                <a:latin typeface="Verdana"/>
                <a:cs typeface="Arial" charset="0"/>
              </a:rPr>
            </a:br>
            <a:r>
              <a:rPr lang="en-US" sz="1200" dirty="0">
                <a:solidFill>
                  <a:srgbClr val="000000"/>
                </a:solidFill>
                <a:latin typeface="Verdana"/>
                <a:cs typeface="Arial" charset="0"/>
              </a:rPr>
              <a:t>0-10V/4-20mA and RS 485 Modbus RTU</a:t>
            </a:r>
          </a:p>
          <a:p>
            <a:pPr marL="176213" indent="-176213" defTabSz="685800" fontAlgn="base">
              <a:spcBef>
                <a:spcPct val="50000"/>
              </a:spcBef>
              <a:spcAft>
                <a:spcPts val="600"/>
              </a:spcAft>
              <a:buClr>
                <a:schemeClr val="accent2"/>
              </a:buClr>
              <a:buSzPct val="140000"/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rgbClr val="000000"/>
                </a:solidFill>
                <a:latin typeface="Verdana" pitchFamily="34" charset="0"/>
                <a:cs typeface="Arial" charset="0"/>
              </a:rPr>
              <a:t>Feedback signal for operation status </a:t>
            </a:r>
          </a:p>
          <a:p>
            <a:endParaRPr lang="sl-SI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5EEA1EF-E049-411F-95E8-50B58FEF4D87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2519360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600" noProof="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5EEA1EF-E049-411F-95E8-50B58FEF4D87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6880850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r>
              <a:rPr lang="sl-SI" sz="2000" b="1" dirty="0" err="1">
                <a:solidFill>
                  <a:srgbClr val="575756"/>
                </a:solidFill>
                <a:latin typeface="Verdana"/>
              </a:rPr>
              <a:t>Potential</a:t>
            </a:r>
            <a:r>
              <a:rPr lang="sl-SI" sz="2000" b="1" dirty="0">
                <a:solidFill>
                  <a:srgbClr val="575756"/>
                </a:solidFill>
                <a:latin typeface="Verdana"/>
              </a:rPr>
              <a:t> </a:t>
            </a:r>
            <a:r>
              <a:rPr lang="sl-SI" sz="2000" b="1" dirty="0" err="1">
                <a:solidFill>
                  <a:srgbClr val="575756"/>
                </a:solidFill>
                <a:latin typeface="Verdana"/>
              </a:rPr>
              <a:t>network</a:t>
            </a:r>
            <a:r>
              <a:rPr lang="sl-SI" sz="2000" b="1" dirty="0">
                <a:solidFill>
                  <a:srgbClr val="575756"/>
                </a:solidFill>
                <a:latin typeface="Verdana"/>
              </a:rPr>
              <a:t> </a:t>
            </a:r>
            <a:r>
              <a:rPr lang="sl-SI" sz="2000" b="1" dirty="0" err="1">
                <a:solidFill>
                  <a:srgbClr val="575756"/>
                </a:solidFill>
                <a:latin typeface="Verdana"/>
              </a:rPr>
              <a:t>critical</a:t>
            </a:r>
            <a:r>
              <a:rPr lang="sl-SI" sz="2000" b="1" dirty="0">
                <a:solidFill>
                  <a:srgbClr val="575756"/>
                </a:solidFill>
                <a:latin typeface="Verdana"/>
              </a:rPr>
              <a:t> </a:t>
            </a:r>
            <a:r>
              <a:rPr lang="sl-SI" sz="2000" b="1" dirty="0" err="1">
                <a:solidFill>
                  <a:srgbClr val="575756"/>
                </a:solidFill>
                <a:latin typeface="Verdana"/>
              </a:rPr>
              <a:t>points</a:t>
            </a:r>
            <a:r>
              <a:rPr lang="sl-SI" sz="2000" b="1" dirty="0">
                <a:solidFill>
                  <a:srgbClr val="575756"/>
                </a:solidFill>
                <a:latin typeface="Verdana"/>
              </a:rPr>
              <a:t>. </a:t>
            </a:r>
          </a:p>
          <a:p>
            <a:pPr>
              <a:defRPr/>
            </a:pPr>
            <a:r>
              <a:rPr lang="sl-SI" sz="1600" dirty="0" err="1">
                <a:solidFill>
                  <a:srgbClr val="575756"/>
                </a:solidFill>
                <a:latin typeface="Verdana"/>
              </a:rPr>
              <a:t>Subject</a:t>
            </a:r>
            <a:r>
              <a:rPr lang="sl-SI" sz="1600" dirty="0">
                <a:solidFill>
                  <a:srgbClr val="575756"/>
                </a:solidFill>
                <a:latin typeface="Verdana"/>
              </a:rPr>
              <a:t> </a:t>
            </a:r>
            <a:r>
              <a:rPr lang="sl-SI" sz="1600" dirty="0" err="1">
                <a:solidFill>
                  <a:srgbClr val="575756"/>
                </a:solidFill>
                <a:latin typeface="Verdana"/>
              </a:rPr>
              <a:t>of</a:t>
            </a:r>
            <a:r>
              <a:rPr lang="sl-SI" sz="1600" dirty="0">
                <a:solidFill>
                  <a:srgbClr val="575756"/>
                </a:solidFill>
                <a:latin typeface="Verdana"/>
              </a:rPr>
              <a:t> </a:t>
            </a:r>
            <a:r>
              <a:rPr lang="sl-SI" sz="1600" dirty="0" err="1">
                <a:solidFill>
                  <a:srgbClr val="575756"/>
                </a:solidFill>
                <a:latin typeface="Verdana"/>
              </a:rPr>
              <a:t>change</a:t>
            </a:r>
            <a:r>
              <a:rPr lang="sl-SI" sz="1600" dirty="0">
                <a:solidFill>
                  <a:srgbClr val="575756"/>
                </a:solidFill>
                <a:latin typeface="Verdana"/>
              </a:rPr>
              <a:t> </a:t>
            </a:r>
            <a:r>
              <a:rPr lang="sl-SI" sz="1600" dirty="0" err="1">
                <a:solidFill>
                  <a:srgbClr val="575756"/>
                </a:solidFill>
                <a:latin typeface="Verdana"/>
              </a:rPr>
              <a:t>due</a:t>
            </a:r>
            <a:r>
              <a:rPr lang="sl-SI" sz="1600" dirty="0">
                <a:solidFill>
                  <a:srgbClr val="575756"/>
                </a:solidFill>
                <a:latin typeface="Verdana"/>
              </a:rPr>
              <a:t> to </a:t>
            </a:r>
            <a:r>
              <a:rPr lang="sl-SI" sz="1600" dirty="0" err="1">
                <a:solidFill>
                  <a:srgbClr val="575756"/>
                </a:solidFill>
                <a:latin typeface="Verdana"/>
              </a:rPr>
              <a:t>changing</a:t>
            </a:r>
            <a:r>
              <a:rPr lang="sl-SI" sz="1600" dirty="0">
                <a:solidFill>
                  <a:srgbClr val="575756"/>
                </a:solidFill>
                <a:latin typeface="Verdana"/>
              </a:rPr>
              <a:t> </a:t>
            </a:r>
            <a:r>
              <a:rPr lang="sl-SI" sz="1600" dirty="0" err="1">
                <a:solidFill>
                  <a:srgbClr val="575756"/>
                </a:solidFill>
                <a:latin typeface="Verdana"/>
              </a:rPr>
              <a:t>daily</a:t>
            </a:r>
            <a:r>
              <a:rPr lang="sl-SI" sz="1600" dirty="0">
                <a:solidFill>
                  <a:srgbClr val="575756"/>
                </a:solidFill>
                <a:latin typeface="Verdana"/>
              </a:rPr>
              <a:t> </a:t>
            </a:r>
            <a:r>
              <a:rPr lang="sl-SI" sz="1600" dirty="0" err="1">
                <a:solidFill>
                  <a:srgbClr val="575756"/>
                </a:solidFill>
                <a:latin typeface="Verdana"/>
              </a:rPr>
              <a:t>or</a:t>
            </a:r>
            <a:r>
              <a:rPr lang="sl-SI" sz="1600" dirty="0">
                <a:solidFill>
                  <a:srgbClr val="575756"/>
                </a:solidFill>
                <a:latin typeface="Verdana"/>
              </a:rPr>
              <a:t> </a:t>
            </a:r>
            <a:r>
              <a:rPr lang="sl-SI" sz="1600" dirty="0" err="1">
                <a:solidFill>
                  <a:srgbClr val="575756"/>
                </a:solidFill>
                <a:latin typeface="Verdana"/>
              </a:rPr>
              <a:t>seasonal</a:t>
            </a:r>
            <a:r>
              <a:rPr lang="sl-SI" sz="1600" dirty="0">
                <a:solidFill>
                  <a:srgbClr val="575756"/>
                </a:solidFill>
                <a:latin typeface="Verdana"/>
              </a:rPr>
              <a:t> (</a:t>
            </a:r>
            <a:r>
              <a:rPr lang="sl-SI" sz="1600" dirty="0" err="1">
                <a:solidFill>
                  <a:srgbClr val="575756"/>
                </a:solidFill>
                <a:latin typeface="Verdana"/>
              </a:rPr>
              <a:t>summer</a:t>
            </a:r>
            <a:r>
              <a:rPr lang="sl-SI" sz="1600" dirty="0">
                <a:solidFill>
                  <a:srgbClr val="575756"/>
                </a:solidFill>
                <a:latin typeface="Verdana"/>
              </a:rPr>
              <a:t>, </a:t>
            </a:r>
            <a:r>
              <a:rPr lang="sl-SI" sz="1600" dirty="0" err="1">
                <a:solidFill>
                  <a:srgbClr val="575756"/>
                </a:solidFill>
                <a:latin typeface="Verdana"/>
              </a:rPr>
              <a:t>winter</a:t>
            </a:r>
            <a:r>
              <a:rPr lang="sl-SI" sz="1600" dirty="0">
                <a:solidFill>
                  <a:srgbClr val="575756"/>
                </a:solidFill>
                <a:latin typeface="Verdana"/>
              </a:rPr>
              <a:t>) </a:t>
            </a:r>
            <a:r>
              <a:rPr lang="sl-SI" sz="1600" dirty="0" err="1">
                <a:solidFill>
                  <a:srgbClr val="575756"/>
                </a:solidFill>
                <a:latin typeface="Verdana"/>
              </a:rPr>
              <a:t>conditions</a:t>
            </a:r>
            <a:r>
              <a:rPr lang="sl-SI" sz="1600" dirty="0">
                <a:solidFill>
                  <a:srgbClr val="575756"/>
                </a:solidFill>
                <a:latin typeface="Verdana"/>
              </a:rPr>
              <a:t>, </a:t>
            </a:r>
            <a:r>
              <a:rPr lang="sl-SI" sz="1600" dirty="0" err="1">
                <a:solidFill>
                  <a:srgbClr val="575756"/>
                </a:solidFill>
                <a:latin typeface="Verdana"/>
              </a:rPr>
              <a:t>heat-source</a:t>
            </a:r>
            <a:r>
              <a:rPr lang="sl-SI" sz="1600" dirty="0">
                <a:solidFill>
                  <a:srgbClr val="575756"/>
                </a:solidFill>
                <a:latin typeface="Verdana"/>
              </a:rPr>
              <a:t> </a:t>
            </a:r>
            <a:r>
              <a:rPr lang="sl-SI" sz="1600" dirty="0" err="1">
                <a:solidFill>
                  <a:srgbClr val="575756"/>
                </a:solidFill>
                <a:latin typeface="Verdana"/>
              </a:rPr>
              <a:t>utilization</a:t>
            </a:r>
            <a:r>
              <a:rPr lang="sl-SI" sz="1600" dirty="0">
                <a:solidFill>
                  <a:srgbClr val="575756"/>
                </a:solidFill>
                <a:latin typeface="Verdana"/>
              </a:rPr>
              <a:t>, </a:t>
            </a:r>
            <a:r>
              <a:rPr lang="sl-SI" sz="1600" dirty="0" err="1">
                <a:solidFill>
                  <a:srgbClr val="575756"/>
                </a:solidFill>
                <a:latin typeface="Verdana"/>
              </a:rPr>
              <a:t>etc</a:t>
            </a:r>
            <a:r>
              <a:rPr lang="sl-SI" sz="1600" dirty="0">
                <a:solidFill>
                  <a:srgbClr val="575756"/>
                </a:solidFill>
                <a:latin typeface="Verdana"/>
              </a:rPr>
              <a:t>.</a:t>
            </a:r>
          </a:p>
          <a:p>
            <a:endParaRPr lang="en-US" sz="1600" noProof="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5EEA1EF-E049-411F-95E8-50B58FEF4D87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8018772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648786E-BFAC-3141-E70D-2812EDC483E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D254332-929D-78F5-773F-6F138636C9E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CBC127C-399D-DEEA-7BE5-5B0245AF8D6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D1B2829-EEFA-EA6E-885B-2F01AF5CF42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294AD55-F633-4D46-A107-25CAF9B35BD3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da-DK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2581767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75A44F5-734A-500C-258E-01F1F86F8C5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B520976-A054-A7BA-1A94-61D90D996FA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81EA191-CB2F-5748-5F89-7EA0CD1675A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05C5550-DFBC-5E98-DE2D-E7D98B0D1B0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294AD55-F633-4D46-A107-25CAF9B35BD3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da-DK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1138656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88112F0-851B-729D-CAEB-1E714164AF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>
            <a:extLst>
              <a:ext uri="{FF2B5EF4-FFF2-40B4-BE49-F238E27FC236}">
                <a16:creationId xmlns:a16="http://schemas.microsoft.com/office/drawing/2014/main" id="{5D299533-5958-3C8B-836D-7B90EF1A07A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>
            <a:extLst>
              <a:ext uri="{FF2B5EF4-FFF2-40B4-BE49-F238E27FC236}">
                <a16:creationId xmlns:a16="http://schemas.microsoft.com/office/drawing/2014/main" id="{33115CE5-8061-A066-2528-BB338C981E5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D16A4183-0DD3-A9A5-658A-DBE0E0539E00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D84FAB23-DCAC-4329-D402-9ECD6900BB7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5EEA1EF-E049-411F-95E8-50B58FEF4D87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2414657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B67ED1-2850-BDFC-126B-684D07AC71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DF7F16A-A4B5-7968-3EE0-14D210FD2FB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2356970-76F9-9B97-60CE-CF999C241E9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239B90B-7C2B-83D7-9EC5-E26B86F9827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2C63561-F700-4AC2-9813-F9A9F89186BC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635989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90A2C7-394F-4399-886B-997EBADE0C2E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da-DK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6835821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5EEA1EF-E049-411F-95E8-50B58FEF4D87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5192415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600" noProof="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5EEA1EF-E049-411F-95E8-50B58FEF4D87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8232618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E059BBB-E301-B04D-FEDF-EA404E64DC1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28702A9-E9BF-FA94-0AFC-3198041B8A7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1878526-E255-A13C-C5B0-F9FFDA8F1B2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12F8F8E-4FD3-0325-812D-8CD9863FF6C9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3E5BC7B-3DD1-6AB5-8A2A-01E1AB6C65D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5EEA1EF-E049-411F-95E8-50B58FEF4D87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5866944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5EEA1EF-E049-411F-95E8-50B58FEF4D87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4410408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600" noProof="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5EEA1EF-E049-411F-95E8-50B58FEF4D87}" type="slidenum">
              <a:rPr lang="en-GB" smtClean="0"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8184805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značba mesta stranske slike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Označba mesta opomb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ogether with heat pumps, Danfoss provides a complete range of advanced solutions and products, from production and distribution to final consumption. This includes software solutions for modeling, designing and optimizing district heating systems.</a:t>
            </a:r>
            <a:endParaRPr lang="sl-SI" dirty="0"/>
          </a:p>
        </p:txBody>
      </p:sp>
      <p:sp>
        <p:nvSpPr>
          <p:cNvPr id="4" name="Označba mesta številke diapoz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1A1CB0B-E91B-4131-83A2-69D275CBF53C}" type="slidenum">
              <a:rPr kumimoji="0" lang="sl-SI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sl-SI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4616576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spcBef>
                <a:spcPts val="216"/>
              </a:spcBef>
              <a:spcAft>
                <a:spcPts val="216"/>
              </a:spcAft>
            </a:pPr>
            <a:endParaRPr lang="da-DK" sz="80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5EEA1EF-E049-411F-95E8-50B58FEF4D87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990793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96E6C39-9B60-6FF0-F66D-A087474888B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5DB2081-9E68-29E2-BBF2-088E874E250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BED7363-4FD1-A4FE-0FFC-C6C59C7B01B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0170F90-D10A-47B8-5494-30C2268645B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294AD55-F633-4D46-A107-25CAF9B35BD3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da-DK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7506731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DDF140-CD7B-7E95-04B7-625EFA15725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CBEA973-D8DD-4847-4384-1C901DE6AD2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6BC685C-2C9A-8CA5-8ECD-7FCA7AF44CD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DC16C43-DE2F-16C1-BFDF-9F2A518A7A9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294AD55-F633-4D46-A107-25CAF9B35BD3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da-DK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702017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emf"/><Relationship Id="rId2" Type="http://schemas.openxmlformats.org/officeDocument/2006/relationships/image" Target="../media/image22.emf"/><Relationship Id="rId1" Type="http://schemas.openxmlformats.org/officeDocument/2006/relationships/slideMaster" Target="../slideMasters/slideMaster5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1.bin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47.jp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8.png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7.png"/><Relationship Id="rId4" Type="http://schemas.openxmlformats.org/officeDocument/2006/relationships/slide" Target="../slides/slide13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6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6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6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7.png"/><Relationship Id="rId4" Type="http://schemas.openxmlformats.org/officeDocument/2006/relationships/slide" Target="../slides/slide13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6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emf"/><Relationship Id="rId2" Type="http://schemas.openxmlformats.org/officeDocument/2006/relationships/image" Target="../media/image22.emf"/><Relationship Id="rId1" Type="http://schemas.openxmlformats.org/officeDocument/2006/relationships/slideMaster" Target="../slideMasters/slideMaster6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7" Type="http://schemas.openxmlformats.org/officeDocument/2006/relationships/image" Target="../media/image4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oleObject" Target="../embeddings/oleObject1.bin"/><Relationship Id="rId1" Type="http://schemas.openxmlformats.org/officeDocument/2006/relationships/slideMaster" Target="../slideMasters/slideMaster7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emf"/><Relationship Id="rId2" Type="http://schemas.openxmlformats.org/officeDocument/2006/relationships/image" Target="../media/image22.emf"/><Relationship Id="rId1" Type="http://schemas.openxmlformats.org/officeDocument/2006/relationships/slideMaster" Target="../slideMasters/slideMaster7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1.bin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8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8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8.xml"/></Relationships>
</file>

<file path=ppt/slideLayouts/_rels/slideLayout1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8.xml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8.xml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8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emf"/><Relationship Id="rId2" Type="http://schemas.openxmlformats.org/officeDocument/2006/relationships/image" Target="../media/image22.emf"/><Relationship Id="rId1" Type="http://schemas.openxmlformats.org/officeDocument/2006/relationships/slideMaster" Target="../slideMasters/slideMaster8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Master" Target="../slideMasters/slideMaster8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9.xml"/><Relationship Id="rId5" Type="http://schemas.openxmlformats.org/officeDocument/2006/relationships/image" Target="../media/image7.png"/><Relationship Id="rId4" Type="http://schemas.openxmlformats.org/officeDocument/2006/relationships/slide" Target="../slides/slide13.xml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9.xml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9.xml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9.xml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9.xml"/><Relationship Id="rId5" Type="http://schemas.openxmlformats.org/officeDocument/2006/relationships/image" Target="../media/image7.png"/><Relationship Id="rId4" Type="http://schemas.openxmlformats.org/officeDocument/2006/relationships/slide" Target="../slides/slide13.xml"/></Relationships>
</file>

<file path=ppt/slideLayouts/_rels/slideLayout1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9.xml"/></Relationships>
</file>

<file path=ppt/slideLayouts/_rels/slideLayout1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9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.xml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emf"/><Relationship Id="rId2" Type="http://schemas.openxmlformats.org/officeDocument/2006/relationships/image" Target="../media/image22.emf"/><Relationship Id="rId1" Type="http://schemas.openxmlformats.org/officeDocument/2006/relationships/slideMaster" Target="../slideMasters/slideMaster9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7.png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0.xml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0.xml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0.xml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7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0.xml"/></Relationships>
</file>

<file path=ppt/slideLayouts/_rels/slideLayout1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0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0.xml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emf"/><Relationship Id="rId2" Type="http://schemas.openxmlformats.org/officeDocument/2006/relationships/image" Target="../media/image22.emf"/><Relationship Id="rId1" Type="http://schemas.openxmlformats.org/officeDocument/2006/relationships/slideMaster" Target="../slideMasters/slideMaster10.xml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0.xml"/><Relationship Id="rId6" Type="http://schemas.openxmlformats.org/officeDocument/2006/relationships/image" Target="../media/image7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1.bin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52.jpe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53.png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8.xml"/><Relationship Id="rId4" Type="http://schemas.openxmlformats.org/officeDocument/2006/relationships/image" Target="../media/image54.emf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emf"/><Relationship Id="rId2" Type="http://schemas.openxmlformats.org/officeDocument/2006/relationships/image" Target="../media/image22.emf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6.png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emf"/><Relationship Id="rId2" Type="http://schemas.openxmlformats.org/officeDocument/2006/relationships/image" Target="../media/image22.emf"/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44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7.png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45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7.png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emf"/><Relationship Id="rId2" Type="http://schemas.openxmlformats.org/officeDocument/2006/relationships/image" Target="../media/image22.emf"/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s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5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702"/>
            <a:ext cx="12001310" cy="5146904"/>
          </a:xfrm>
          <a:prstGeom prst="rect">
            <a:avLst/>
          </a:prstGeom>
        </p:spPr>
      </p:pic>
      <p:sp>
        <p:nvSpPr>
          <p:cNvPr id="472" name="Naslov 1"/>
          <p:cNvSpPr txBox="1">
            <a:spLocks/>
          </p:cNvSpPr>
          <p:nvPr userDrawn="1"/>
        </p:nvSpPr>
        <p:spPr>
          <a:xfrm>
            <a:off x="3580271" y="1643827"/>
            <a:ext cx="5000342" cy="185584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l-SI" sz="3600" b="1" dirty="0">
                <a:solidFill>
                  <a:schemeClr val="bg1"/>
                </a:solidFill>
              </a:rPr>
              <a:t>Virtus. </a:t>
            </a:r>
            <a:br>
              <a:rPr lang="sl-SI" sz="3600" b="1" dirty="0">
                <a:solidFill>
                  <a:schemeClr val="bg1"/>
                </a:solidFill>
              </a:rPr>
            </a:br>
            <a:r>
              <a:rPr lang="sl-SI" sz="3600" dirty="0" err="1">
                <a:solidFill>
                  <a:schemeClr val="bg1"/>
                </a:solidFill>
              </a:rPr>
              <a:t>Shaped</a:t>
            </a:r>
            <a:r>
              <a:rPr lang="sl-SI" sz="3600" dirty="0">
                <a:solidFill>
                  <a:schemeClr val="bg1"/>
                </a:solidFill>
              </a:rPr>
              <a:t> </a:t>
            </a:r>
            <a:r>
              <a:rPr lang="sl-SI" sz="3600" dirty="0" err="1">
                <a:solidFill>
                  <a:schemeClr val="bg1"/>
                </a:solidFill>
              </a:rPr>
              <a:t>for</a:t>
            </a:r>
            <a:r>
              <a:rPr lang="sl-SI" sz="3600" dirty="0">
                <a:solidFill>
                  <a:schemeClr val="bg1"/>
                </a:solidFill>
              </a:rPr>
              <a:t> </a:t>
            </a:r>
            <a:r>
              <a:rPr lang="sl-SI" sz="3600" dirty="0" err="1">
                <a:solidFill>
                  <a:schemeClr val="bg1"/>
                </a:solidFill>
              </a:rPr>
              <a:t>the</a:t>
            </a:r>
            <a:r>
              <a:rPr lang="sl-SI" sz="3600" dirty="0">
                <a:solidFill>
                  <a:schemeClr val="bg1"/>
                </a:solidFill>
              </a:rPr>
              <a:t> future </a:t>
            </a:r>
          </a:p>
        </p:txBody>
      </p:sp>
      <p:pic>
        <p:nvPicPr>
          <p:cNvPr id="3" name="Picture 2" descr="A red sign with white text&#10;&#10;AI-generated content may be incorrect.">
            <a:extLst>
              <a:ext uri="{FF2B5EF4-FFF2-40B4-BE49-F238E27FC236}">
                <a16:creationId xmlns:a16="http://schemas.microsoft.com/office/drawing/2014/main" id="{58E57D76-7909-BD97-B112-AAD285348D1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4100" y="113595"/>
            <a:ext cx="1203205" cy="527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02260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5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022E-16 0 L -0.31163 0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48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5590" y="0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22" presetClass="entr" presetSubtype="8" fill="hold" grpId="0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" dur="1000"/>
                                        <p:tgtEl>
                                          <p:spTgt spid="4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72" grpId="0"/>
    </p:bld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420687" y="982831"/>
            <a:ext cx="8307388" cy="868034"/>
          </a:xfrm>
        </p:spPr>
        <p:txBody>
          <a:bodyPr anchor="b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insert Presentation title in</a:t>
            </a:r>
            <a:br>
              <a:rPr lang="en-GB" dirty="0"/>
            </a:br>
            <a:r>
              <a:rPr lang="en-GB" b="1" dirty="0"/>
              <a:t>Verdana Bold </a:t>
            </a:r>
            <a:r>
              <a:rPr lang="en-GB" dirty="0"/>
              <a:t>and Verdana Regular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19101" y="1988689"/>
            <a:ext cx="8308975" cy="291820"/>
          </a:xfrm>
        </p:spPr>
        <p:txBody>
          <a:bodyPr/>
          <a:lstStyle>
            <a:lvl1pPr marL="0" indent="0" algn="l">
              <a:buNone/>
              <a:defRPr sz="14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insert name and title of presenter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F6ABDF9D-D884-6104-1091-EA967DDE67F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075454" y="113595"/>
            <a:ext cx="3068546" cy="638880"/>
          </a:xfrm>
          <a:prstGeom prst="rect">
            <a:avLst/>
          </a:prstGeom>
        </p:spPr>
      </p:pic>
      <p:pic>
        <p:nvPicPr>
          <p:cNvPr id="3" name="Picture 2" descr="A red sign with white text&#10;&#10;AI-generated content may be incorrect.">
            <a:extLst>
              <a:ext uri="{FF2B5EF4-FFF2-40B4-BE49-F238E27FC236}">
                <a16:creationId xmlns:a16="http://schemas.microsoft.com/office/drawing/2014/main" id="{DD04495A-3833-A46F-40F6-9A87D2BD680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4100" y="113595"/>
            <a:ext cx="1203205" cy="527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1870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White background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noProof="0" dirty="0"/>
          </a:p>
        </p:txBody>
      </p:sp>
      <p:grpSp>
        <p:nvGrpSpPr>
          <p:cNvPr id="2" name="Gruppe 1"/>
          <p:cNvGrpSpPr/>
          <p:nvPr userDrawn="1"/>
        </p:nvGrpSpPr>
        <p:grpSpPr>
          <a:xfrm>
            <a:off x="3022896" y="1401079"/>
            <a:ext cx="3098210" cy="2341345"/>
            <a:chOff x="3009519" y="1350350"/>
            <a:chExt cx="3098210" cy="2341345"/>
          </a:xfrm>
        </p:grpSpPr>
        <p:pic>
          <p:nvPicPr>
            <p:cNvPr id="7" name="Boxlogo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09519" y="1350350"/>
              <a:ext cx="3098210" cy="13541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9" name="Picture 2"/>
            <p:cNvPicPr>
              <a:picLocks noChangeAspect="1" noChangeArrowheads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47864" y="3048390"/>
              <a:ext cx="2466000" cy="64330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231022298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lain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4760537"/>
      </p:ext>
    </p:extLst>
  </p:cSld>
  <p:clrMapOvr>
    <a:masterClrMapping/>
  </p:clrMapOvr>
  <p:transition spd="slow">
    <p:push dir="u"/>
  </p:transition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aslov zgoraj brez animacij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99">
            <a:extLst>
              <a:ext uri="{FF2B5EF4-FFF2-40B4-BE49-F238E27FC236}">
                <a16:creationId xmlns:a16="http://schemas.microsoft.com/office/drawing/2014/main" id="{99F458A0-F9D5-4F0C-B8B1-358102AB9929}"/>
              </a:ext>
            </a:extLst>
          </p:cNvPr>
          <p:cNvSpPr/>
          <p:nvPr userDrawn="1"/>
        </p:nvSpPr>
        <p:spPr>
          <a:xfrm>
            <a:off x="-853045" y="66977"/>
            <a:ext cx="9997045" cy="640800"/>
          </a:xfrm>
          <a:custGeom>
            <a:avLst/>
            <a:gdLst>
              <a:gd name="connsiteX0" fmla="*/ 0 w 3590554"/>
              <a:gd name="connsiteY0" fmla="*/ 0 h 640800"/>
              <a:gd name="connsiteX1" fmla="*/ 3590554 w 3590554"/>
              <a:gd name="connsiteY1" fmla="*/ 0 h 640800"/>
              <a:gd name="connsiteX2" fmla="*/ 3590554 w 3590554"/>
              <a:gd name="connsiteY2" fmla="*/ 640800 h 640800"/>
              <a:gd name="connsiteX3" fmla="*/ 0 w 3590554"/>
              <a:gd name="connsiteY3" fmla="*/ 640800 h 640800"/>
              <a:gd name="connsiteX4" fmla="*/ 0 w 3590554"/>
              <a:gd name="connsiteY4" fmla="*/ 0 h 640800"/>
              <a:gd name="connsiteX0" fmla="*/ 0 w 3593306"/>
              <a:gd name="connsiteY0" fmla="*/ 302 h 641102"/>
              <a:gd name="connsiteX1" fmla="*/ 3590554 w 3593306"/>
              <a:gd name="connsiteY1" fmla="*/ 302 h 641102"/>
              <a:gd name="connsiteX2" fmla="*/ 3593306 w 3593306"/>
              <a:gd name="connsiteY2" fmla="*/ 0 h 641102"/>
              <a:gd name="connsiteX3" fmla="*/ 3590554 w 3593306"/>
              <a:gd name="connsiteY3" fmla="*/ 641102 h 641102"/>
              <a:gd name="connsiteX4" fmla="*/ 0 w 3593306"/>
              <a:gd name="connsiteY4" fmla="*/ 641102 h 641102"/>
              <a:gd name="connsiteX5" fmla="*/ 0 w 3593306"/>
              <a:gd name="connsiteY5" fmla="*/ 302 h 641102"/>
              <a:gd name="connsiteX0" fmla="*/ 0 w 3593675"/>
              <a:gd name="connsiteY0" fmla="*/ 302 h 641102"/>
              <a:gd name="connsiteX1" fmla="*/ 3590554 w 3593675"/>
              <a:gd name="connsiteY1" fmla="*/ 302 h 641102"/>
              <a:gd name="connsiteX2" fmla="*/ 3593306 w 3593675"/>
              <a:gd name="connsiteY2" fmla="*/ 0 h 641102"/>
              <a:gd name="connsiteX3" fmla="*/ 3590554 w 3593675"/>
              <a:gd name="connsiteY3" fmla="*/ 641102 h 641102"/>
              <a:gd name="connsiteX4" fmla="*/ 0 w 3593675"/>
              <a:gd name="connsiteY4" fmla="*/ 641102 h 641102"/>
              <a:gd name="connsiteX5" fmla="*/ 0 w 3593675"/>
              <a:gd name="connsiteY5" fmla="*/ 302 h 641102"/>
              <a:gd name="connsiteX0" fmla="*/ 0 w 3860011"/>
              <a:gd name="connsiteY0" fmla="*/ 0 h 640800"/>
              <a:gd name="connsiteX1" fmla="*/ 3590554 w 3860011"/>
              <a:gd name="connsiteY1" fmla="*/ 0 h 640800"/>
              <a:gd name="connsiteX2" fmla="*/ 3860006 w 3860011"/>
              <a:gd name="connsiteY2" fmla="*/ 485473 h 640800"/>
              <a:gd name="connsiteX3" fmla="*/ 3590554 w 3860011"/>
              <a:gd name="connsiteY3" fmla="*/ 640800 h 640800"/>
              <a:gd name="connsiteX4" fmla="*/ 0 w 3860011"/>
              <a:gd name="connsiteY4" fmla="*/ 640800 h 640800"/>
              <a:gd name="connsiteX5" fmla="*/ 0 w 3860011"/>
              <a:gd name="connsiteY5" fmla="*/ 0 h 640800"/>
              <a:gd name="connsiteX0" fmla="*/ 0 w 3733810"/>
              <a:gd name="connsiteY0" fmla="*/ 0 h 640800"/>
              <a:gd name="connsiteX1" fmla="*/ 3590554 w 3733810"/>
              <a:gd name="connsiteY1" fmla="*/ 0 h 640800"/>
              <a:gd name="connsiteX2" fmla="*/ 3733799 w 3733810"/>
              <a:gd name="connsiteY2" fmla="*/ 335454 h 640800"/>
              <a:gd name="connsiteX3" fmla="*/ 3590554 w 3733810"/>
              <a:gd name="connsiteY3" fmla="*/ 640800 h 640800"/>
              <a:gd name="connsiteX4" fmla="*/ 0 w 3733810"/>
              <a:gd name="connsiteY4" fmla="*/ 640800 h 640800"/>
              <a:gd name="connsiteX5" fmla="*/ 0 w 3733810"/>
              <a:gd name="connsiteY5" fmla="*/ 0 h 640800"/>
              <a:gd name="connsiteX0" fmla="*/ 0 w 3762383"/>
              <a:gd name="connsiteY0" fmla="*/ 0 h 640800"/>
              <a:gd name="connsiteX1" fmla="*/ 3590554 w 3762383"/>
              <a:gd name="connsiteY1" fmla="*/ 0 h 640800"/>
              <a:gd name="connsiteX2" fmla="*/ 3762374 w 3762383"/>
              <a:gd name="connsiteY2" fmla="*/ 314023 h 640800"/>
              <a:gd name="connsiteX3" fmla="*/ 3590554 w 3762383"/>
              <a:gd name="connsiteY3" fmla="*/ 640800 h 640800"/>
              <a:gd name="connsiteX4" fmla="*/ 0 w 3762383"/>
              <a:gd name="connsiteY4" fmla="*/ 640800 h 640800"/>
              <a:gd name="connsiteX5" fmla="*/ 0 w 3762383"/>
              <a:gd name="connsiteY5" fmla="*/ 0 h 640800"/>
              <a:gd name="connsiteX0" fmla="*/ 0 w 3762374"/>
              <a:gd name="connsiteY0" fmla="*/ 0 h 640800"/>
              <a:gd name="connsiteX1" fmla="*/ 3590554 w 3762374"/>
              <a:gd name="connsiteY1" fmla="*/ 0 h 640800"/>
              <a:gd name="connsiteX2" fmla="*/ 3762374 w 3762374"/>
              <a:gd name="connsiteY2" fmla="*/ 314023 h 640800"/>
              <a:gd name="connsiteX3" fmla="*/ 3590554 w 3762374"/>
              <a:gd name="connsiteY3" fmla="*/ 640800 h 640800"/>
              <a:gd name="connsiteX4" fmla="*/ 0 w 3762374"/>
              <a:gd name="connsiteY4" fmla="*/ 640800 h 640800"/>
              <a:gd name="connsiteX5" fmla="*/ 0 w 3762374"/>
              <a:gd name="connsiteY5" fmla="*/ 0 h 640800"/>
              <a:gd name="connsiteX0" fmla="*/ 0 w 3762374"/>
              <a:gd name="connsiteY0" fmla="*/ 0 h 640800"/>
              <a:gd name="connsiteX1" fmla="*/ 3590554 w 3762374"/>
              <a:gd name="connsiteY1" fmla="*/ 0 h 640800"/>
              <a:gd name="connsiteX2" fmla="*/ 3762374 w 3762374"/>
              <a:gd name="connsiteY2" fmla="*/ 314023 h 640800"/>
              <a:gd name="connsiteX3" fmla="*/ 3590554 w 3762374"/>
              <a:gd name="connsiteY3" fmla="*/ 640800 h 640800"/>
              <a:gd name="connsiteX4" fmla="*/ 0 w 3762374"/>
              <a:gd name="connsiteY4" fmla="*/ 640800 h 640800"/>
              <a:gd name="connsiteX5" fmla="*/ 0 w 3762374"/>
              <a:gd name="connsiteY5" fmla="*/ 0 h 640800"/>
              <a:gd name="connsiteX0" fmla="*/ 0 w 3762374"/>
              <a:gd name="connsiteY0" fmla="*/ 0 h 640800"/>
              <a:gd name="connsiteX1" fmla="*/ 3590554 w 3762374"/>
              <a:gd name="connsiteY1" fmla="*/ 0 h 640800"/>
              <a:gd name="connsiteX2" fmla="*/ 3762374 w 3762374"/>
              <a:gd name="connsiteY2" fmla="*/ 314023 h 640800"/>
              <a:gd name="connsiteX3" fmla="*/ 3590554 w 3762374"/>
              <a:gd name="connsiteY3" fmla="*/ 640800 h 640800"/>
              <a:gd name="connsiteX4" fmla="*/ 0 w 3762374"/>
              <a:gd name="connsiteY4" fmla="*/ 640800 h 640800"/>
              <a:gd name="connsiteX5" fmla="*/ 0 w 3762374"/>
              <a:gd name="connsiteY5" fmla="*/ 0 h 640800"/>
              <a:gd name="connsiteX0" fmla="*/ 0 w 3762374"/>
              <a:gd name="connsiteY0" fmla="*/ 0 h 640800"/>
              <a:gd name="connsiteX1" fmla="*/ 3590554 w 3762374"/>
              <a:gd name="connsiteY1" fmla="*/ 0 h 640800"/>
              <a:gd name="connsiteX2" fmla="*/ 3762374 w 3762374"/>
              <a:gd name="connsiteY2" fmla="*/ 314023 h 640800"/>
              <a:gd name="connsiteX3" fmla="*/ 3590554 w 3762374"/>
              <a:gd name="connsiteY3" fmla="*/ 640800 h 640800"/>
              <a:gd name="connsiteX4" fmla="*/ 0 w 3762374"/>
              <a:gd name="connsiteY4" fmla="*/ 640800 h 640800"/>
              <a:gd name="connsiteX5" fmla="*/ 0 w 3762374"/>
              <a:gd name="connsiteY5" fmla="*/ 0 h 640800"/>
              <a:gd name="connsiteX0" fmla="*/ 0 w 3767136"/>
              <a:gd name="connsiteY0" fmla="*/ 0 h 640800"/>
              <a:gd name="connsiteX1" fmla="*/ 3590554 w 3767136"/>
              <a:gd name="connsiteY1" fmla="*/ 0 h 640800"/>
              <a:gd name="connsiteX2" fmla="*/ 3767136 w 3767136"/>
              <a:gd name="connsiteY2" fmla="*/ 323548 h 640800"/>
              <a:gd name="connsiteX3" fmla="*/ 3590554 w 3767136"/>
              <a:gd name="connsiteY3" fmla="*/ 640800 h 640800"/>
              <a:gd name="connsiteX4" fmla="*/ 0 w 3767136"/>
              <a:gd name="connsiteY4" fmla="*/ 640800 h 640800"/>
              <a:gd name="connsiteX5" fmla="*/ 0 w 3767136"/>
              <a:gd name="connsiteY5" fmla="*/ 0 h 640800"/>
              <a:gd name="connsiteX0" fmla="*/ 0 w 3767136"/>
              <a:gd name="connsiteY0" fmla="*/ 0 h 640800"/>
              <a:gd name="connsiteX1" fmla="*/ 3590554 w 3767136"/>
              <a:gd name="connsiteY1" fmla="*/ 0 h 640800"/>
              <a:gd name="connsiteX2" fmla="*/ 3767136 w 3767136"/>
              <a:gd name="connsiteY2" fmla="*/ 323548 h 640800"/>
              <a:gd name="connsiteX3" fmla="*/ 3590554 w 3767136"/>
              <a:gd name="connsiteY3" fmla="*/ 640800 h 640800"/>
              <a:gd name="connsiteX4" fmla="*/ 0 w 3767136"/>
              <a:gd name="connsiteY4" fmla="*/ 640800 h 640800"/>
              <a:gd name="connsiteX5" fmla="*/ 0 w 3767136"/>
              <a:gd name="connsiteY5" fmla="*/ 0 h 640800"/>
              <a:gd name="connsiteX0" fmla="*/ 0 w 3767136"/>
              <a:gd name="connsiteY0" fmla="*/ 0 h 640800"/>
              <a:gd name="connsiteX1" fmla="*/ 3590554 w 3767136"/>
              <a:gd name="connsiteY1" fmla="*/ 0 h 640800"/>
              <a:gd name="connsiteX2" fmla="*/ 3767136 w 3767136"/>
              <a:gd name="connsiteY2" fmla="*/ 323548 h 640800"/>
              <a:gd name="connsiteX3" fmla="*/ 3590554 w 3767136"/>
              <a:gd name="connsiteY3" fmla="*/ 640800 h 640800"/>
              <a:gd name="connsiteX4" fmla="*/ 0 w 3767136"/>
              <a:gd name="connsiteY4" fmla="*/ 640800 h 640800"/>
              <a:gd name="connsiteX5" fmla="*/ 0 w 3767136"/>
              <a:gd name="connsiteY5" fmla="*/ 0 h 640800"/>
              <a:gd name="connsiteX0" fmla="*/ 0 w 3590554"/>
              <a:gd name="connsiteY0" fmla="*/ 0 h 640800"/>
              <a:gd name="connsiteX1" fmla="*/ 3590554 w 3590554"/>
              <a:gd name="connsiteY1" fmla="*/ 0 h 640800"/>
              <a:gd name="connsiteX2" fmla="*/ 3590554 w 3590554"/>
              <a:gd name="connsiteY2" fmla="*/ 640800 h 640800"/>
              <a:gd name="connsiteX3" fmla="*/ 0 w 3590554"/>
              <a:gd name="connsiteY3" fmla="*/ 640800 h 640800"/>
              <a:gd name="connsiteX4" fmla="*/ 0 w 3590554"/>
              <a:gd name="connsiteY4" fmla="*/ 0 h 640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90554" h="640800">
                <a:moveTo>
                  <a:pt x="0" y="0"/>
                </a:moveTo>
                <a:lnTo>
                  <a:pt x="3590554" y="0"/>
                </a:lnTo>
                <a:lnTo>
                  <a:pt x="3590554" y="640800"/>
                </a:lnTo>
                <a:lnTo>
                  <a:pt x="0" y="640800"/>
                </a:lnTo>
                <a:lnTo>
                  <a:pt x="0" y="0"/>
                </a:lnTo>
                <a:close/>
              </a:path>
            </a:pathLst>
          </a:custGeom>
          <a:solidFill>
            <a:schemeClr val="bg2">
              <a:lumMod val="60000"/>
              <a:lumOff val="40000"/>
              <a:alpha val="32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noProof="0" dirty="0" err="1"/>
          </a:p>
        </p:txBody>
      </p:sp>
      <p:sp>
        <p:nvSpPr>
          <p:cNvPr id="6" name="Title 3">
            <a:extLst>
              <a:ext uri="{FF2B5EF4-FFF2-40B4-BE49-F238E27FC236}">
                <a16:creationId xmlns:a16="http://schemas.microsoft.com/office/drawing/2014/main" id="{D677771F-A312-4A86-8A86-2F2F53D43281}"/>
              </a:ext>
            </a:extLst>
          </p:cNvPr>
          <p:cNvSpPr txBox="1">
            <a:spLocks/>
          </p:cNvSpPr>
          <p:nvPr userDrawn="1"/>
        </p:nvSpPr>
        <p:spPr>
          <a:xfrm>
            <a:off x="410155" y="289239"/>
            <a:ext cx="8280000" cy="3265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1219170" rtl="0" eaLnBrk="1" latinLnBrk="0" hangingPunct="1">
              <a:spcBef>
                <a:spcPct val="0"/>
              </a:spcBef>
              <a:buNone/>
              <a:defRPr sz="2800" kern="1200">
                <a:solidFill>
                  <a:srgbClr val="575756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sl-SI" sz="2100" dirty="0">
              <a:solidFill>
                <a:schemeClr val="accent2"/>
              </a:solidFill>
            </a:endParaRPr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10155" y="140111"/>
            <a:ext cx="8280000" cy="475703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>
              <a:defRPr sz="15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199929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38983433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45" imgH="245" progId="TCLayout.ActiveDocument.1">
                  <p:embed/>
                </p:oleObj>
              </mc:Choice>
              <mc:Fallback>
                <p:oleObj name="think-cell Slide" r:id="rId4" imgW="245" imgH="24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D94DC1C-B7FA-40FA-9753-FFE536FBEAF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0" cy="158750"/>
          </a:xfrm>
          <a:prstGeom prst="rect">
            <a:avLst/>
          </a:prstGeom>
          <a:solidFill>
            <a:srgbClr val="E60A11"/>
          </a:solidFill>
          <a:ln w="9525">
            <a:solidFill>
              <a:srgbClr val="E60A1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100" b="0" i="0" baseline="0" noProof="0" dirty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3" name="Rectangle 2"/>
          <p:cNvSpPr/>
          <p:nvPr userDrawn="1"/>
        </p:nvSpPr>
        <p:spPr>
          <a:xfrm>
            <a:off x="0" y="4"/>
            <a:ext cx="9144000" cy="4855028"/>
          </a:xfrm>
          <a:prstGeom prst="rect">
            <a:avLst/>
          </a:prstGeom>
          <a:gradFill flip="none" rotWithShape="1">
            <a:gsLst>
              <a:gs pos="0">
                <a:srgbClr val="CFCFCF"/>
              </a:gs>
              <a:gs pos="50000">
                <a:schemeClr val="bg1"/>
              </a:gs>
              <a:gs pos="100000">
                <a:srgbClr val="E4E4E4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6400" y="266402"/>
            <a:ext cx="8229600" cy="62077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6401" y="987425"/>
            <a:ext cx="8445500" cy="366712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41867999"/>
      </p:ext>
    </p:extLst>
  </p:cSld>
  <p:clrMapOvr>
    <a:masterClrMapping/>
  </p:clrMapOvr>
  <p:transition spd="med">
    <p:fade/>
  </p:transition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Plain Page Dark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ravokotnik 1">
            <a:extLst>
              <a:ext uri="{FF2B5EF4-FFF2-40B4-BE49-F238E27FC236}">
                <a16:creationId xmlns:a16="http://schemas.microsoft.com/office/drawing/2014/main" id="{809045C0-BEC6-47EE-A28E-7D28151192A4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l-SI" sz="1350" noProof="0" dirty="0" err="1"/>
          </a:p>
        </p:txBody>
      </p:sp>
    </p:spTree>
    <p:extLst>
      <p:ext uri="{BB962C8B-B14F-4D97-AF65-F5344CB8AC3E}">
        <p14:creationId xmlns:p14="http://schemas.microsoft.com/office/powerpoint/2010/main" val="3762718865"/>
      </p:ext>
    </p:extLst>
  </p:cSld>
  <p:clrMapOvr>
    <a:masterClrMapping/>
  </p:clrMapOvr>
  <p:transition spd="slow">
    <p:push dir="u"/>
  </p:transition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slide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1CA0712-4D8A-4D3F-8733-1CF06631DB2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6" name="Backdrop single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0"/>
            <a:ext cx="9144000" cy="87480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-</a:t>
            </a:r>
          </a:p>
        </p:txBody>
      </p:sp>
      <p:sp>
        <p:nvSpPr>
          <p:cNvPr id="22" name="Logo top"/>
          <p:cNvSpPr>
            <a:spLocks noGrp="1"/>
          </p:cNvSpPr>
          <p:nvPr>
            <p:ph type="body" sz="quarter" idx="15" hasCustomPrompt="1"/>
          </p:nvPr>
        </p:nvSpPr>
        <p:spPr>
          <a:xfrm>
            <a:off x="7070400" y="0"/>
            <a:ext cx="2073600" cy="842400"/>
          </a:xfr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-</a:t>
            </a: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420687" y="982831"/>
            <a:ext cx="8307388" cy="868034"/>
          </a:xfrm>
        </p:spPr>
        <p:txBody>
          <a:bodyPr anchor="b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insert Presentation title in</a:t>
            </a:r>
            <a:br>
              <a:rPr lang="en-GB" dirty="0"/>
            </a:br>
            <a:r>
              <a:rPr lang="en-GB" b="1" dirty="0"/>
              <a:t>Verdana Bold </a:t>
            </a:r>
            <a:r>
              <a:rPr lang="en-GB" dirty="0"/>
              <a:t>and Verdana Regular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19099" y="1988691"/>
            <a:ext cx="8308975" cy="291820"/>
          </a:xfrm>
        </p:spPr>
        <p:txBody>
          <a:bodyPr/>
          <a:lstStyle>
            <a:lvl1pPr marL="0" indent="0" algn="l">
              <a:buNone/>
              <a:defRPr sz="1400" baseline="0">
                <a:solidFill>
                  <a:schemeClr val="tx1"/>
                </a:solidFill>
              </a:defRPr>
            </a:lvl1pPr>
            <a:lvl2pPr marL="457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insert name and title of presenter</a:t>
            </a:r>
          </a:p>
        </p:txBody>
      </p:sp>
    </p:spTree>
    <p:extLst>
      <p:ext uri="{BB962C8B-B14F-4D97-AF65-F5344CB8AC3E}">
        <p14:creationId xmlns:p14="http://schemas.microsoft.com/office/powerpoint/2010/main" val="2437308547"/>
      </p:ext>
    </p:extLst>
  </p:cSld>
  <p:clrMapOvr>
    <a:masterClrMapping/>
  </p:clrMapOvr>
  <p:hf sldNum="0" hdr="0" dt="0"/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s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5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702"/>
            <a:ext cx="12001310" cy="5146904"/>
          </a:xfrm>
          <a:prstGeom prst="rect">
            <a:avLst/>
          </a:prstGeom>
        </p:spPr>
      </p:pic>
      <p:sp>
        <p:nvSpPr>
          <p:cNvPr id="472" name="Naslov 1"/>
          <p:cNvSpPr txBox="1">
            <a:spLocks/>
          </p:cNvSpPr>
          <p:nvPr userDrawn="1"/>
        </p:nvSpPr>
        <p:spPr>
          <a:xfrm>
            <a:off x="3580271" y="1643827"/>
            <a:ext cx="5000342" cy="185584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l-SI" sz="3600" b="1">
                <a:solidFill>
                  <a:schemeClr val="bg1"/>
                </a:solidFill>
              </a:rPr>
              <a:t>Virtus. </a:t>
            </a:r>
            <a:br>
              <a:rPr lang="sl-SI" sz="3600" b="1">
                <a:solidFill>
                  <a:schemeClr val="bg1"/>
                </a:solidFill>
              </a:rPr>
            </a:br>
            <a:r>
              <a:rPr lang="sl-SI" sz="3600" err="1">
                <a:solidFill>
                  <a:schemeClr val="bg1"/>
                </a:solidFill>
              </a:rPr>
              <a:t>Shaped</a:t>
            </a:r>
            <a:r>
              <a:rPr lang="sl-SI" sz="3600">
                <a:solidFill>
                  <a:schemeClr val="bg1"/>
                </a:solidFill>
              </a:rPr>
              <a:t> </a:t>
            </a:r>
            <a:r>
              <a:rPr lang="sl-SI" sz="3600" err="1">
                <a:solidFill>
                  <a:schemeClr val="bg1"/>
                </a:solidFill>
              </a:rPr>
              <a:t>for</a:t>
            </a:r>
            <a:r>
              <a:rPr lang="sl-SI" sz="3600">
                <a:solidFill>
                  <a:schemeClr val="bg1"/>
                </a:solidFill>
              </a:rPr>
              <a:t> </a:t>
            </a:r>
            <a:r>
              <a:rPr lang="sl-SI" sz="3600" err="1">
                <a:solidFill>
                  <a:schemeClr val="bg1"/>
                </a:solidFill>
              </a:rPr>
              <a:t>the</a:t>
            </a:r>
            <a:r>
              <a:rPr lang="sl-SI" sz="3600">
                <a:solidFill>
                  <a:schemeClr val="bg1"/>
                </a:solidFill>
              </a:rPr>
              <a:t> future </a:t>
            </a:r>
          </a:p>
        </p:txBody>
      </p:sp>
      <p:grpSp>
        <p:nvGrpSpPr>
          <p:cNvPr id="478" name="Skupina 477"/>
          <p:cNvGrpSpPr/>
          <p:nvPr userDrawn="1"/>
        </p:nvGrpSpPr>
        <p:grpSpPr>
          <a:xfrm>
            <a:off x="5950383" y="140618"/>
            <a:ext cx="3193617" cy="672571"/>
            <a:chOff x="5950383" y="140618"/>
            <a:chExt cx="3193617" cy="672571"/>
          </a:xfrm>
        </p:grpSpPr>
        <p:pic>
          <p:nvPicPr>
            <p:cNvPr id="2" name="Slika 1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950383" y="140618"/>
              <a:ext cx="3193617" cy="672571"/>
            </a:xfrm>
            <a:prstGeom prst="rect">
              <a:avLst/>
            </a:prstGeom>
          </p:spPr>
        </p:pic>
        <p:pic>
          <p:nvPicPr>
            <p:cNvPr id="4" name="Picture 10">
              <a:hlinkClick r:id="rId4" action="ppaction://hlinksldjump"/>
            </p:cNvPr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79998" y="140618"/>
              <a:ext cx="1716911" cy="43894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373092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5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022E-16 0 L -0.31163 0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48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5590" y="0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22" presetClass="entr" presetSubtype="8" fill="hold" grpId="0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" dur="1000"/>
                                        <p:tgtEl>
                                          <p:spTgt spid="4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72" grpId="0"/>
    </p:bldLst>
  </p:timing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ond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Slika 8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647"/>
          <a:stretch/>
        </p:blipFill>
        <p:spPr>
          <a:xfrm>
            <a:off x="0" y="137"/>
            <a:ext cx="9144000" cy="4801374"/>
          </a:xfrm>
          <a:prstGeom prst="rect">
            <a:avLst/>
          </a:prstGeom>
        </p:spPr>
      </p:pic>
      <p:pic>
        <p:nvPicPr>
          <p:cNvPr id="12" name="Picture 10">
            <a:hlinkClick r:id="" action="ppaction://noaction"/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0471" y="139228"/>
            <a:ext cx="1716911" cy="438944"/>
          </a:xfrm>
          <a:prstGeom prst="rect">
            <a:avLst/>
          </a:prstGeom>
        </p:spPr>
      </p:pic>
      <p:sp>
        <p:nvSpPr>
          <p:cNvPr id="6" name="Oval 174">
            <a:extLst>
              <a:ext uri="{FF2B5EF4-FFF2-40B4-BE49-F238E27FC236}">
                <a16:creationId xmlns:a16="http://schemas.microsoft.com/office/drawing/2014/main" id="{9CD57D47-37E1-4B1D-9304-8D342B129429}"/>
              </a:ext>
            </a:extLst>
          </p:cNvPr>
          <p:cNvSpPr/>
          <p:nvPr userDrawn="1"/>
        </p:nvSpPr>
        <p:spPr>
          <a:xfrm>
            <a:off x="76344" y="4366427"/>
            <a:ext cx="5502834" cy="335280"/>
          </a:xfrm>
          <a:prstGeom prst="ellipse">
            <a:avLst/>
          </a:prstGeom>
          <a:solidFill>
            <a:schemeClr val="tx1">
              <a:alpha val="15000"/>
            </a:schemeClr>
          </a:solidFill>
          <a:ln w="9525">
            <a:noFill/>
          </a:ln>
          <a:effectLst>
            <a:glow>
              <a:schemeClr val="accent1">
                <a:alpha val="40000"/>
              </a:schemeClr>
            </a:glow>
            <a:softEdge rad="889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err="1"/>
          </a:p>
        </p:txBody>
      </p:sp>
      <p:pic>
        <p:nvPicPr>
          <p:cNvPr id="7" name="Picture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0498" r="40000" b="11619"/>
          <a:stretch/>
        </p:blipFill>
        <p:spPr>
          <a:xfrm>
            <a:off x="0" y="3111590"/>
            <a:ext cx="5486400" cy="1434095"/>
          </a:xfrm>
          <a:prstGeom prst="rect">
            <a:avLst/>
          </a:prstGeom>
        </p:spPr>
      </p:pic>
      <p:grpSp>
        <p:nvGrpSpPr>
          <p:cNvPr id="13" name="Group 2">
            <a:extLst>
              <a:ext uri="{FF2B5EF4-FFF2-40B4-BE49-F238E27FC236}">
                <a16:creationId xmlns:a16="http://schemas.microsoft.com/office/drawing/2014/main" id="{1EE0937C-0627-4EDD-9BCE-B86B1D4F3EE6}"/>
              </a:ext>
            </a:extLst>
          </p:cNvPr>
          <p:cNvGrpSpPr/>
          <p:nvPr userDrawn="1"/>
        </p:nvGrpSpPr>
        <p:grpSpPr>
          <a:xfrm>
            <a:off x="198999" y="3058814"/>
            <a:ext cx="5275537" cy="1270002"/>
            <a:chOff x="2292225" y="1577180"/>
            <a:chExt cx="5275537" cy="1270002"/>
          </a:xfrm>
        </p:grpSpPr>
        <p:sp>
          <p:nvSpPr>
            <p:cNvPr id="14" name="Right Triangle 53">
              <a:extLst>
                <a:ext uri="{FF2B5EF4-FFF2-40B4-BE49-F238E27FC236}">
                  <a16:creationId xmlns:a16="http://schemas.microsoft.com/office/drawing/2014/main" id="{1C8E2205-D133-4039-89A5-C18B5C8AEBF8}"/>
                </a:ext>
              </a:extLst>
            </p:cNvPr>
            <p:cNvSpPr/>
            <p:nvPr/>
          </p:nvSpPr>
          <p:spPr>
            <a:xfrm rot="5400000">
              <a:off x="6796585" y="2076004"/>
              <a:ext cx="1270001" cy="272353"/>
            </a:xfrm>
            <a:prstGeom prst="rtTriangle">
              <a:avLst/>
            </a:prstGeom>
            <a:gradFill>
              <a:gsLst>
                <a:gs pos="66000">
                  <a:schemeClr val="tx1">
                    <a:alpha val="0"/>
                  </a:schemeClr>
                </a:gs>
                <a:gs pos="100000">
                  <a:schemeClr val="tx1">
                    <a:alpha val="40000"/>
                  </a:schemeClr>
                </a:gs>
              </a:gsLst>
              <a:lin ang="60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noProof="0" err="1"/>
            </a:p>
          </p:txBody>
        </p:sp>
        <p:sp>
          <p:nvSpPr>
            <p:cNvPr id="15" name="Right Triangle 63">
              <a:extLst>
                <a:ext uri="{FF2B5EF4-FFF2-40B4-BE49-F238E27FC236}">
                  <a16:creationId xmlns:a16="http://schemas.microsoft.com/office/drawing/2014/main" id="{C3FC8BFC-CEA1-4B1F-8FB9-7D675F6C9F95}"/>
                </a:ext>
              </a:extLst>
            </p:cNvPr>
            <p:cNvSpPr/>
            <p:nvPr/>
          </p:nvSpPr>
          <p:spPr>
            <a:xfrm rot="16200000" flipH="1">
              <a:off x="1767842" y="2101564"/>
              <a:ext cx="1270001" cy="221236"/>
            </a:xfrm>
            <a:prstGeom prst="rtTriangle">
              <a:avLst/>
            </a:prstGeom>
            <a:gradFill>
              <a:gsLst>
                <a:gs pos="66000">
                  <a:schemeClr val="tx1">
                    <a:alpha val="0"/>
                  </a:schemeClr>
                </a:gs>
                <a:gs pos="100000">
                  <a:schemeClr val="tx1">
                    <a:alpha val="40000"/>
                  </a:schemeClr>
                </a:gs>
              </a:gsLst>
              <a:lin ang="60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noProof="0" err="1"/>
            </a:p>
          </p:txBody>
        </p:sp>
      </p:grpSp>
      <p:sp>
        <p:nvSpPr>
          <p:cNvPr id="16" name="Rectangle 175">
            <a:extLst>
              <a:ext uri="{FF2B5EF4-FFF2-40B4-BE49-F238E27FC236}">
                <a16:creationId xmlns:a16="http://schemas.microsoft.com/office/drawing/2014/main" id="{024A81C0-A5D1-432B-B914-2EAB4CE702AC}"/>
              </a:ext>
            </a:extLst>
          </p:cNvPr>
          <p:cNvSpPr/>
          <p:nvPr userDrawn="1"/>
        </p:nvSpPr>
        <p:spPr>
          <a:xfrm>
            <a:off x="420686" y="2347023"/>
            <a:ext cx="4773765" cy="2069553"/>
          </a:xfrm>
          <a:prstGeom prst="rect">
            <a:avLst/>
          </a:prstGeom>
          <a:solidFill>
            <a:schemeClr val="accent1"/>
          </a:solidFill>
          <a:ln w="9525">
            <a:solidFill>
              <a:srgbClr val="E2000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689994" y="3328497"/>
            <a:ext cx="4280039" cy="868034"/>
          </a:xfrm>
        </p:spPr>
        <p:txBody>
          <a:bodyPr anchor="b" anchorCtr="0"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sl-SI"/>
              <a:t>Insert </a:t>
            </a:r>
            <a:r>
              <a:rPr lang="sl-SI" err="1"/>
              <a:t>Presentation</a:t>
            </a:r>
            <a:br>
              <a:rPr lang="sl-SI"/>
            </a:br>
            <a:r>
              <a:rPr lang="en-GB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2904706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3" presetClass="path" presetSubtype="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44444E-6 2.59259E-6 L 0.79619 2.59259E-6 " pathEditMode="relative" rAng="0" ptsTypes="AA">
                                      <p:cBhvr>
                                        <p:cTn id="9" dur="1000" spd="-100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9809" y="0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42" presetClass="path" presetSubtype="0" decel="50000" fill="hold" grpId="1" nodeType="withEffect">
                                  <p:stCondLst>
                                    <p:cond delay="1250"/>
                                  </p:stCondLst>
                                  <p:childTnLst>
                                    <p:animMotion origin="layout" path="M 1.38889E-6 -1.48148E-6 L 1.38889E-6 -0.24167 " pathEditMode="relative" rAng="0" ptsTypes="AA">
                                      <p:cBhvr>
                                        <p:cTn id="20" dur="750" spd="-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09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16" grpId="0" animBg="1"/>
      <p:bldP spid="16" grpId="1" animBg="1"/>
      <p:bldP spid="10" grpId="0"/>
      <p:bldP spid="10" grpId="1"/>
    </p:bldLst>
  </p:timing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ond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Slika 8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647"/>
          <a:stretch/>
        </p:blipFill>
        <p:spPr>
          <a:xfrm>
            <a:off x="0" y="137"/>
            <a:ext cx="9144000" cy="4801374"/>
          </a:xfrm>
          <a:prstGeom prst="rect">
            <a:avLst/>
          </a:prstGeom>
        </p:spPr>
      </p:pic>
      <p:pic>
        <p:nvPicPr>
          <p:cNvPr id="12" name="Picture 10">
            <a:hlinkClick r:id="" action="ppaction://noaction"/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0471" y="139228"/>
            <a:ext cx="1716911" cy="4389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7547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ond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Slika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647"/>
          <a:stretch/>
        </p:blipFill>
        <p:spPr>
          <a:xfrm>
            <a:off x="0" y="137"/>
            <a:ext cx="9144000" cy="4801374"/>
          </a:xfrm>
          <a:prstGeom prst="rect">
            <a:avLst/>
          </a:prstGeom>
        </p:spPr>
      </p:pic>
      <p:pic>
        <p:nvPicPr>
          <p:cNvPr id="17" name="Picture 10">
            <a:hlinkClick r:id="" action="ppaction://noaction"/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0471" y="139228"/>
            <a:ext cx="1716911" cy="438944"/>
          </a:xfrm>
          <a:prstGeom prst="rect">
            <a:avLst/>
          </a:prstGeom>
        </p:spPr>
      </p:pic>
      <p:sp>
        <p:nvSpPr>
          <p:cNvPr id="18" name="Oval 174">
            <a:extLst>
              <a:ext uri="{FF2B5EF4-FFF2-40B4-BE49-F238E27FC236}">
                <a16:creationId xmlns:a16="http://schemas.microsoft.com/office/drawing/2014/main" id="{9CD57D47-37E1-4B1D-9304-8D342B129429}"/>
              </a:ext>
            </a:extLst>
          </p:cNvPr>
          <p:cNvSpPr/>
          <p:nvPr userDrawn="1"/>
        </p:nvSpPr>
        <p:spPr>
          <a:xfrm>
            <a:off x="-94004" y="4366427"/>
            <a:ext cx="6810998" cy="335280"/>
          </a:xfrm>
          <a:prstGeom prst="ellipse">
            <a:avLst/>
          </a:prstGeom>
          <a:solidFill>
            <a:schemeClr val="tx1">
              <a:alpha val="15000"/>
            </a:schemeClr>
          </a:solidFill>
          <a:ln w="9525">
            <a:noFill/>
          </a:ln>
          <a:effectLst>
            <a:glow>
              <a:schemeClr val="accent1">
                <a:alpha val="40000"/>
              </a:schemeClr>
            </a:glow>
            <a:softEdge rad="889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pic>
        <p:nvPicPr>
          <p:cNvPr id="19" name="Picture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0498" r="16542" b="11619"/>
          <a:stretch/>
        </p:blipFill>
        <p:spPr>
          <a:xfrm>
            <a:off x="0" y="3111590"/>
            <a:ext cx="7631394" cy="1434095"/>
          </a:xfrm>
          <a:prstGeom prst="rect">
            <a:avLst/>
          </a:prstGeom>
        </p:spPr>
      </p:pic>
      <p:grpSp>
        <p:nvGrpSpPr>
          <p:cNvPr id="20" name="Group 2">
            <a:extLst>
              <a:ext uri="{FF2B5EF4-FFF2-40B4-BE49-F238E27FC236}">
                <a16:creationId xmlns:a16="http://schemas.microsoft.com/office/drawing/2014/main" id="{1EE0937C-0627-4EDD-9BCE-B86B1D4F3EE6}"/>
              </a:ext>
            </a:extLst>
          </p:cNvPr>
          <p:cNvGrpSpPr/>
          <p:nvPr userDrawn="1"/>
        </p:nvGrpSpPr>
        <p:grpSpPr>
          <a:xfrm>
            <a:off x="198999" y="3058814"/>
            <a:ext cx="6309295" cy="1270002"/>
            <a:chOff x="2292225" y="1577180"/>
            <a:chExt cx="6309295" cy="1270002"/>
          </a:xfrm>
        </p:grpSpPr>
        <p:sp>
          <p:nvSpPr>
            <p:cNvPr id="21" name="Right Triangle 53">
              <a:extLst>
                <a:ext uri="{FF2B5EF4-FFF2-40B4-BE49-F238E27FC236}">
                  <a16:creationId xmlns:a16="http://schemas.microsoft.com/office/drawing/2014/main" id="{1C8E2205-D133-4039-89A5-C18B5C8AEBF8}"/>
                </a:ext>
              </a:extLst>
            </p:cNvPr>
            <p:cNvSpPr/>
            <p:nvPr/>
          </p:nvSpPr>
          <p:spPr>
            <a:xfrm rot="5400000">
              <a:off x="7830343" y="2076004"/>
              <a:ext cx="1270001" cy="272353"/>
            </a:xfrm>
            <a:prstGeom prst="rtTriangle">
              <a:avLst/>
            </a:prstGeom>
            <a:gradFill>
              <a:gsLst>
                <a:gs pos="66000">
                  <a:schemeClr val="tx1">
                    <a:alpha val="0"/>
                  </a:schemeClr>
                </a:gs>
                <a:gs pos="100000">
                  <a:schemeClr val="tx1">
                    <a:alpha val="40000"/>
                  </a:schemeClr>
                </a:gs>
              </a:gsLst>
              <a:lin ang="60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noProof="0"/>
            </a:p>
          </p:txBody>
        </p:sp>
        <p:sp>
          <p:nvSpPr>
            <p:cNvPr id="22" name="Right Triangle 63">
              <a:extLst>
                <a:ext uri="{FF2B5EF4-FFF2-40B4-BE49-F238E27FC236}">
                  <a16:creationId xmlns:a16="http://schemas.microsoft.com/office/drawing/2014/main" id="{C3FC8BFC-CEA1-4B1F-8FB9-7D675F6C9F95}"/>
                </a:ext>
              </a:extLst>
            </p:cNvPr>
            <p:cNvSpPr/>
            <p:nvPr/>
          </p:nvSpPr>
          <p:spPr>
            <a:xfrm rot="16200000" flipH="1">
              <a:off x="1767842" y="2101564"/>
              <a:ext cx="1270001" cy="221236"/>
            </a:xfrm>
            <a:prstGeom prst="rtTriangle">
              <a:avLst/>
            </a:prstGeom>
            <a:gradFill>
              <a:gsLst>
                <a:gs pos="66000">
                  <a:schemeClr val="tx1">
                    <a:alpha val="0"/>
                  </a:schemeClr>
                </a:gs>
                <a:gs pos="100000">
                  <a:schemeClr val="tx1">
                    <a:alpha val="40000"/>
                  </a:schemeClr>
                </a:gs>
              </a:gsLst>
              <a:lin ang="60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noProof="0"/>
            </a:p>
          </p:txBody>
        </p:sp>
      </p:grpSp>
      <p:sp>
        <p:nvSpPr>
          <p:cNvPr id="23" name="Rectangle 175">
            <a:extLst>
              <a:ext uri="{FF2B5EF4-FFF2-40B4-BE49-F238E27FC236}">
                <a16:creationId xmlns:a16="http://schemas.microsoft.com/office/drawing/2014/main" id="{024A81C0-A5D1-432B-B914-2EAB4CE702AC}"/>
              </a:ext>
            </a:extLst>
          </p:cNvPr>
          <p:cNvSpPr/>
          <p:nvPr userDrawn="1"/>
        </p:nvSpPr>
        <p:spPr>
          <a:xfrm>
            <a:off x="420686" y="2347023"/>
            <a:ext cx="5809433" cy="2069553"/>
          </a:xfrm>
          <a:prstGeom prst="rect">
            <a:avLst/>
          </a:prstGeom>
          <a:solidFill>
            <a:schemeClr val="accent1"/>
          </a:solidFill>
          <a:ln w="9525">
            <a:solidFill>
              <a:srgbClr val="E2000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24" name="Title 1"/>
          <p:cNvSpPr>
            <a:spLocks noGrp="1"/>
          </p:cNvSpPr>
          <p:nvPr>
            <p:ph type="ctrTitle" hasCustomPrompt="1"/>
          </p:nvPr>
        </p:nvSpPr>
        <p:spPr>
          <a:xfrm>
            <a:off x="689994" y="3328497"/>
            <a:ext cx="4280039" cy="868034"/>
          </a:xfrm>
        </p:spPr>
        <p:txBody>
          <a:bodyPr anchor="b" anchorCtr="0"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sl-SI"/>
              <a:t>Insert </a:t>
            </a:r>
            <a:r>
              <a:rPr lang="sl-SI" err="1"/>
              <a:t>Presentation</a:t>
            </a:r>
            <a:br>
              <a:rPr lang="sl-SI"/>
            </a:br>
            <a:r>
              <a:rPr lang="en-GB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1398074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3" presetClass="path" presetSubtype="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66667E-6 2.59259E-6 L 0.79618 2.59259E-6 " pathEditMode="relative" rAng="0" ptsTypes="AA">
                                      <p:cBhvr>
                                        <p:cTn id="9" dur="1000" spd="-100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9809" y="0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42" presetClass="path" presetSubtype="0" decel="50000" fill="hold" grpId="1" nodeType="withEffect">
                                  <p:stCondLst>
                                    <p:cond delay="1250"/>
                                  </p:stCondLst>
                                  <p:childTnLst>
                                    <p:animMotion origin="layout" path="M 1.38889E-6 -1.48148E-6 L 1.38889E-6 -0.24167 " pathEditMode="relative" rAng="0" ptsTypes="AA">
                                      <p:cBhvr>
                                        <p:cTn id="20" dur="750" spd="-100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09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  <p:bldP spid="23" grpId="0" animBg="1"/>
      <p:bldP spid="23" grpId="1" animBg="1"/>
      <p:bldP spid="24" grpId="0"/>
      <p:bldP spid="24" grpId="1"/>
    </p:bld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White background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noProof="0" dirty="0"/>
          </a:p>
        </p:txBody>
      </p:sp>
      <p:pic>
        <p:nvPicPr>
          <p:cNvPr id="6" name="Picture 5" descr="A red sign with white text&#10;&#10;AI-generated content may be incorrect.">
            <a:extLst>
              <a:ext uri="{FF2B5EF4-FFF2-40B4-BE49-F238E27FC236}">
                <a16:creationId xmlns:a16="http://schemas.microsoft.com/office/drawing/2014/main" id="{EF558568-5B06-DFFF-6BBE-019B45438FD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6232" y="2015895"/>
            <a:ext cx="3216994" cy="1410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8620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ond Page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lede 3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31"/>
          <a:stretch/>
        </p:blipFill>
        <p:spPr>
          <a:xfrm>
            <a:off x="1079" y="0"/>
            <a:ext cx="9145017" cy="5143499"/>
          </a:xfrm>
          <a:prstGeom prst="rect">
            <a:avLst/>
          </a:prstGeom>
        </p:spPr>
      </p:pic>
      <p:grpSp>
        <p:nvGrpSpPr>
          <p:cNvPr id="7" name="Skupina 6"/>
          <p:cNvGrpSpPr/>
          <p:nvPr userDrawn="1"/>
        </p:nvGrpSpPr>
        <p:grpSpPr>
          <a:xfrm>
            <a:off x="5950383" y="140618"/>
            <a:ext cx="3193617" cy="672571"/>
            <a:chOff x="5950383" y="140618"/>
            <a:chExt cx="3193617" cy="672571"/>
          </a:xfrm>
        </p:grpSpPr>
        <p:pic>
          <p:nvPicPr>
            <p:cNvPr id="8" name="Slika 7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950383" y="140618"/>
              <a:ext cx="3193617" cy="672571"/>
            </a:xfrm>
            <a:prstGeom prst="rect">
              <a:avLst/>
            </a:prstGeom>
          </p:spPr>
        </p:pic>
        <p:pic>
          <p:nvPicPr>
            <p:cNvPr id="9" name="Picture 10">
              <a:hlinkClick r:id="rId4" action="ppaction://hlinksldjump"/>
            </p:cNvPr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79998" y="140618"/>
              <a:ext cx="1716911" cy="43894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72058612"/>
      </p:ext>
    </p:extLst>
  </p:cSld>
  <p:clrMapOvr>
    <a:masterClrMapping/>
  </p:clrMapOvr>
  <p:transition spd="slow">
    <p:push dir="u"/>
  </p:transition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i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lede 3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31"/>
          <a:stretch/>
        </p:blipFill>
        <p:spPr>
          <a:xfrm>
            <a:off x="1079" y="1"/>
            <a:ext cx="9145017" cy="4796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1662674"/>
      </p:ext>
    </p:extLst>
  </p:cSld>
  <p:clrMapOvr>
    <a:masterClrMapping/>
  </p:clrMapOvr>
  <p:transition spd="slow">
    <p:push dir="u"/>
  </p:transition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in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Slika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4" y="0"/>
            <a:ext cx="9141291" cy="48015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3216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in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97611241"/>
      </p:ext>
    </p:extLst>
  </p:cSld>
  <p:clrMapOvr>
    <a:masterClrMapping/>
  </p:clrMapOvr>
  <p:transition spd="slow">
    <p:push dir="u"/>
  </p:transition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lain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10155" y="289237"/>
            <a:ext cx="8280000" cy="3265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cxnSp>
        <p:nvCxnSpPr>
          <p:cNvPr id="4" name="Lige forbindelse 4"/>
          <p:cNvCxnSpPr/>
          <p:nvPr userDrawn="1"/>
        </p:nvCxnSpPr>
        <p:spPr>
          <a:xfrm>
            <a:off x="410155" y="755806"/>
            <a:ext cx="828000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Označba mesta besedila 10"/>
          <p:cNvSpPr>
            <a:spLocks noGrp="1"/>
          </p:cNvSpPr>
          <p:nvPr>
            <p:ph type="body" sz="quarter" idx="10"/>
          </p:nvPr>
        </p:nvSpPr>
        <p:spPr>
          <a:xfrm>
            <a:off x="409575" y="963613"/>
            <a:ext cx="8280400" cy="3300412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sl-SI"/>
              <a:t>Uredite sloge besedila matrice</a:t>
            </a:r>
          </a:p>
          <a:p>
            <a:pPr lvl="1"/>
            <a:r>
              <a:rPr lang="sl-SI"/>
              <a:t>Druga raven</a:t>
            </a:r>
          </a:p>
          <a:p>
            <a:pPr lvl="2"/>
            <a:r>
              <a:rPr lang="sl-SI"/>
              <a:t>Tretja raven</a:t>
            </a:r>
          </a:p>
          <a:p>
            <a:pPr lvl="3"/>
            <a:r>
              <a:rPr lang="sl-SI"/>
              <a:t>Četrta raven</a:t>
            </a:r>
          </a:p>
          <a:p>
            <a:pPr lvl="4"/>
            <a:r>
              <a:rPr lang="sl-SI"/>
              <a:t>Peta rav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860581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4" presetClass="path" presetSubtype="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-2.96296E-6 L 5.55556E-7 -0.08271 " pathEditMode="relative" rAng="0" ptsTypes="AA">
                                      <p:cBhvr>
                                        <p:cTn id="9" dur="1000" spd="-100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4136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64" presetClass="path" presetSubtype="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-3.58025E-6 L 5.55556E-7 -0.08271 " pathEditMode="relative" rAng="0" ptsTypes="AA">
                                      <p:cBhvr>
                                        <p:cTn id="14" dur="1000" spd="-100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4136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64" presetClass="path" presetSubtype="0" decel="50000" fill="hold" grpId="1" nodeType="withEffect">
                                  <p:stCondLst>
                                    <p:cond delay="1250"/>
                                  </p:stCondLst>
                                  <p:childTnLst>
                                    <p:animMotion origin="layout" path="M -1.94444E-6 -1.85185E-6 L -1.94444E-6 -0.08271 " pathEditMode="relative" rAng="0" ptsTypes="AA">
                                      <p:cBhvr>
                                        <p:cTn id="19" dur="1000" spd="-100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413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2" grpId="1"/>
      <p:bldP spid="12" grpId="0">
        <p:tmplLst>
          <p:tmpl>
            <p:tnLst>
              <p:par>
                <p:cTn presetID="10" presetClass="entr" presetSubtype="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1"/>
    </p:bldLst>
  </p:timing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420687" y="982831"/>
            <a:ext cx="8307388" cy="868034"/>
          </a:xfrm>
        </p:spPr>
        <p:txBody>
          <a:bodyPr anchor="b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insert Presentation title in</a:t>
            </a:r>
            <a:br>
              <a:rPr lang="en-GB"/>
            </a:br>
            <a:r>
              <a:rPr lang="en-GB" b="1"/>
              <a:t>Verdana Bold </a:t>
            </a:r>
            <a:r>
              <a:rPr lang="en-GB"/>
              <a:t>and Verdana Regular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19101" y="1988689"/>
            <a:ext cx="8308975" cy="291820"/>
          </a:xfrm>
        </p:spPr>
        <p:txBody>
          <a:bodyPr/>
          <a:lstStyle>
            <a:lvl1pPr marL="0" indent="0" algn="l">
              <a:buNone/>
              <a:defRPr sz="14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insert name and title of presenter</a:t>
            </a:r>
          </a:p>
        </p:txBody>
      </p:sp>
      <p:pic>
        <p:nvPicPr>
          <p:cNvPr id="11" name="Picture 10">
            <a:hlinkClick r:id="" action="ppaction://noaction"/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0471" y="139228"/>
            <a:ext cx="1716911" cy="4389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9148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White background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noProof="0"/>
          </a:p>
        </p:txBody>
      </p:sp>
      <p:grpSp>
        <p:nvGrpSpPr>
          <p:cNvPr id="2" name="Gruppe 1"/>
          <p:cNvGrpSpPr/>
          <p:nvPr userDrawn="1"/>
        </p:nvGrpSpPr>
        <p:grpSpPr>
          <a:xfrm>
            <a:off x="3022895" y="1401078"/>
            <a:ext cx="3098211" cy="2341345"/>
            <a:chOff x="3009519" y="1350350"/>
            <a:chExt cx="3098210" cy="2341345"/>
          </a:xfrm>
        </p:grpSpPr>
        <p:pic>
          <p:nvPicPr>
            <p:cNvPr id="7" name="Boxlogo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09519" y="1350350"/>
              <a:ext cx="3098210" cy="13541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9" name="Picture 2"/>
            <p:cNvPicPr>
              <a:picLocks noChangeAspect="1" noChangeArrowheads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47864" y="3048390"/>
              <a:ext cx="2466000" cy="64330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1117322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full slid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5326086B-962C-4A82-8878-AB515B735FC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" y="1"/>
            <a:ext cx="9143999" cy="4794647"/>
          </a:xfrm>
        </p:spPr>
        <p:txBody>
          <a:bodyPr tIns="612000" anchor="ctr" anchorCtr="0"/>
          <a:lstStyle>
            <a:lvl1pPr marL="0" indent="0" algn="ctr">
              <a:buNone/>
              <a:defRPr sz="1400"/>
            </a:lvl1pPr>
          </a:lstStyle>
          <a:p>
            <a:r>
              <a:rPr lang="da-DK" dirty="0" err="1"/>
              <a:t>Click</a:t>
            </a:r>
            <a:r>
              <a:rPr lang="da-DK" dirty="0"/>
              <a:t> </a:t>
            </a:r>
            <a:r>
              <a:rPr lang="da-DK" dirty="0" err="1"/>
              <a:t>icon</a:t>
            </a:r>
            <a:r>
              <a:rPr lang="da-DK" dirty="0"/>
              <a:t> to </a:t>
            </a:r>
            <a:br>
              <a:rPr lang="da-DK" dirty="0"/>
            </a:b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32612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9103" y="1222375"/>
            <a:ext cx="8308975" cy="3279378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24897183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Content Placeholder 2"/>
          <p:cNvSpPr>
            <a:spLocks noGrp="1"/>
          </p:cNvSpPr>
          <p:nvPr>
            <p:ph sz="quarter" idx="14"/>
          </p:nvPr>
        </p:nvSpPr>
        <p:spPr>
          <a:xfrm>
            <a:off x="419102" y="1222376"/>
            <a:ext cx="4067175" cy="329366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/>
          </p:nvPr>
        </p:nvSpPr>
        <p:spPr>
          <a:xfrm>
            <a:off x="4659316" y="1222376"/>
            <a:ext cx="4068761" cy="329366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5991958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 II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Slika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8402" y="-26126"/>
            <a:ext cx="9171870" cy="5447212"/>
          </a:xfrm>
          <a:prstGeom prst="rect">
            <a:avLst/>
          </a:prstGeom>
        </p:spPr>
      </p:pic>
      <p:pic>
        <p:nvPicPr>
          <p:cNvPr id="7" name="Slika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8402" y="-26126"/>
            <a:ext cx="9171869" cy="5447212"/>
          </a:xfrm>
          <a:prstGeom prst="rect">
            <a:avLst/>
          </a:prstGeom>
        </p:spPr>
      </p:pic>
      <p:pic>
        <p:nvPicPr>
          <p:cNvPr id="8" name="Slika 7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041" y="161638"/>
            <a:ext cx="3245590" cy="481053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420687" y="982831"/>
            <a:ext cx="2759483" cy="2942368"/>
          </a:xfrm>
        </p:spPr>
        <p:txBody>
          <a:bodyPr anchor="b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insert Presentation title in</a:t>
            </a:r>
            <a:br>
              <a:rPr lang="en-GB" dirty="0"/>
            </a:br>
            <a:r>
              <a:rPr lang="en-GB" b="1" dirty="0"/>
              <a:t>Verdana Bold </a:t>
            </a:r>
            <a:r>
              <a:rPr lang="en-GB" dirty="0"/>
              <a:t>and Verdana Regular</a:t>
            </a: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419099" y="4154320"/>
            <a:ext cx="2825807" cy="585910"/>
          </a:xfrm>
        </p:spPr>
        <p:txBody>
          <a:bodyPr/>
          <a:lstStyle>
            <a:lvl1pPr marL="0" indent="0" algn="l">
              <a:buNone/>
              <a:defRPr sz="14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insert name and title of presenter</a:t>
            </a:r>
          </a:p>
        </p:txBody>
      </p:sp>
      <p:pic>
        <p:nvPicPr>
          <p:cNvPr id="23" name="Slika 22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958" y="316820"/>
            <a:ext cx="3282673" cy="69132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031C162-77CF-43CE-30CB-3220561782A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324085" y="171326"/>
            <a:ext cx="3068546" cy="738893"/>
          </a:xfrm>
          <a:prstGeom prst="rect">
            <a:avLst/>
          </a:prstGeom>
        </p:spPr>
      </p:pic>
      <p:pic>
        <p:nvPicPr>
          <p:cNvPr id="6" name="Picture 5" descr="A red sign with white text&#10;&#10;AI-generated content may be incorrect.">
            <a:extLst>
              <a:ext uri="{FF2B5EF4-FFF2-40B4-BE49-F238E27FC236}">
                <a16:creationId xmlns:a16="http://schemas.microsoft.com/office/drawing/2014/main" id="{D36FFC3C-8AA5-888C-C795-A000CD12724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11811" y="270162"/>
            <a:ext cx="1203205" cy="527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2303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2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5" presetClass="path" presetSubtype="0" accel="50000" decel="5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-0.39271 -4.07407E-6 L -0.00018 -4.07407E-6 " pathEditMode="relative" rAng="0" ptsTypes="AA">
                                      <p:cBhvr>
                                        <p:cTn id="12" dur="12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9635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2250"/>
                            </p:stCondLst>
                            <p:childTnLst>
                              <p:par>
                                <p:cTn id="14" presetID="21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6" dur="2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7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6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7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>
        <p:tmplLst>
          <p:tmpl>
            <p:tnLst>
              <p:par>
                <p:cTn presetID="10" presetClass="entr" presetSubtype="0" fill="hold" nodeType="withEffect">
                  <p:stCondLst>
                    <p:cond delay="6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75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Full slid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3">
            <a:extLst>
              <a:ext uri="{FF2B5EF4-FFF2-40B4-BE49-F238E27FC236}">
                <a16:creationId xmlns:a16="http://schemas.microsoft.com/office/drawing/2014/main" id="{BEC2C44E-529E-32F9-D092-BFA048DBD89A}"/>
              </a:ext>
            </a:extLst>
          </p:cNvPr>
          <p:cNvSpPr txBox="1">
            <a:spLocks noGrp="1"/>
          </p:cNvSpPr>
          <p:nvPr>
            <p:ph type="pic" idx="4294967295"/>
          </p:nvPr>
        </p:nvSpPr>
        <p:spPr>
          <a:xfrm>
            <a:off x="1" y="0"/>
            <a:ext cx="9143997" cy="5143500"/>
          </a:xfrm>
          <a:solidFill>
            <a:srgbClr val="FFFFFF"/>
          </a:solidFill>
        </p:spPr>
        <p:txBody>
          <a:bodyPr anchor="ctr" anchorCtr="1"/>
          <a:lstStyle>
            <a:lvl1pPr marL="0" indent="0" algn="ctr">
              <a:buNone/>
              <a:defRPr lang="en-GB" sz="1400"/>
            </a:lvl1pPr>
          </a:lstStyle>
          <a:p>
            <a:pPr lvl="0"/>
            <a:r>
              <a:rPr lang="en-GB"/>
              <a:t>Click icon to </a:t>
            </a:r>
            <a:br>
              <a:rPr lang="en-GB"/>
            </a:br>
            <a:r>
              <a:rPr lang="en-GB"/>
              <a:t>add picture</a:t>
            </a:r>
          </a:p>
        </p:txBody>
      </p:sp>
    </p:spTree>
    <p:extLst>
      <p:ext uri="{BB962C8B-B14F-4D97-AF65-F5344CB8AC3E}">
        <p14:creationId xmlns:p14="http://schemas.microsoft.com/office/powerpoint/2010/main" val="2642666060"/>
      </p:ext>
    </p:extLst>
  </p:cSld>
  <p:clrMapOvr>
    <a:masterClrMapping/>
  </p:clrMapOvr>
  <p:hf sldNum="0" hdr="0" ftr="0" dt="0"/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ext and medium picture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35210A-9C9B-441F-ACFE-E40644B64415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9099" y="221459"/>
            <a:ext cx="4067178" cy="87117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CF6FD4A-7629-410E-A007-35B8C3C62FB3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419099" y="1222376"/>
            <a:ext cx="4067178" cy="3293664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D6447D0-7A16-4ECE-8B5E-D6DB70E1A15B}"/>
              </a:ext>
            </a:extLst>
          </p:cNvPr>
          <p:cNvSpPr txBox="1">
            <a:spLocks noGrp="1"/>
          </p:cNvSpPr>
          <p:nvPr>
            <p:ph type="pic" idx="4294967295"/>
          </p:nvPr>
        </p:nvSpPr>
        <p:spPr>
          <a:xfrm>
            <a:off x="4659312" y="2"/>
            <a:ext cx="4484686" cy="4794647"/>
          </a:xfrm>
        </p:spPr>
        <p:txBody>
          <a:bodyPr tIns="611998" anchor="ctr" anchorCtr="1"/>
          <a:lstStyle>
            <a:lvl1pPr marL="0" indent="0" algn="ctr">
              <a:buNone/>
              <a:defRPr lang="da-DK" sz="1400"/>
            </a:lvl1pPr>
          </a:lstStyle>
          <a:p>
            <a:pPr lvl="0"/>
            <a:r>
              <a:rPr lang="da-DK"/>
              <a:t>Click icon to </a:t>
            </a:r>
            <a:br>
              <a:rPr lang="da-DK"/>
            </a:br>
            <a:r>
              <a:rPr lang="da-DK"/>
              <a:t>add pictu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3587437"/>
      </p:ext>
    </p:extLst>
  </p:cSld>
  <p:clrMapOvr>
    <a:masterClrMapping/>
  </p:clrMapOvr>
  <p:hf sldNum="0" hdr="0" ftr="0" dt="0"/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3" hidden="1">
            <a:extLst>
              <a:ext uri="{FF2B5EF4-FFF2-40B4-BE49-F238E27FC236}">
                <a16:creationId xmlns:a16="http://schemas.microsoft.com/office/drawing/2014/main" id="{97991132-7E62-491D-92B9-D1072E2E8077}"/>
              </a:ext>
            </a:extLst>
          </p:cNvPr>
          <p:cNvGraphicFramePr/>
          <p:nvPr/>
        </p:nvGraphicFramePr>
        <p:xfrm>
          <a:off x="1591" y="1195"/>
          <a:ext cx="1584" cy="11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2" imgW="12700" imgH="12700" progId="">
                  <p:embed/>
                </p:oleObj>
              </mc:Choice>
              <mc:Fallback>
                <p:oleObj r:id="rId2" imgW="12700" imgH="12700" progId="">
                  <p:embed/>
                  <p:pic>
                    <p:nvPicPr>
                      <p:cNvPr id="2" name="Object 3" hidden="1">
                        <a:extLst>
                          <a:ext uri="{FF2B5EF4-FFF2-40B4-BE49-F238E27FC236}">
                            <a16:creationId xmlns:a16="http://schemas.microsoft.com/office/drawing/2014/main" id="{97991132-7E62-491D-92B9-D1072E2E80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91" y="1195"/>
                        <a:ext cx="1584" cy="119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4" hidden="1">
            <a:extLst>
              <a:ext uri="{FF2B5EF4-FFF2-40B4-BE49-F238E27FC236}">
                <a16:creationId xmlns:a16="http://schemas.microsoft.com/office/drawing/2014/main" id="{B21C84E3-89B3-4903-8C83-60243AD7FFB0}"/>
              </a:ext>
            </a:extLst>
          </p:cNvPr>
          <p:cNvSpPr/>
          <p:nvPr/>
        </p:nvSpPr>
        <p:spPr>
          <a:xfrm>
            <a:off x="1" y="1"/>
            <a:ext cx="158749" cy="158749"/>
          </a:xfrm>
          <a:prstGeom prst="rect">
            <a:avLst/>
          </a:prstGeom>
          <a:solidFill>
            <a:srgbClr val="E60A11"/>
          </a:solidFill>
          <a:ln w="9528" cap="flat">
            <a:solidFill>
              <a:srgbClr val="E60A11"/>
            </a:solidFill>
            <a:prstDash val="solid"/>
            <a:miter/>
          </a:ln>
        </p:spPr>
        <p:txBody>
          <a:bodyPr vert="horz" wrap="none" lIns="0" tIns="0" rIns="0" bIns="0" anchor="ctr" anchorCtr="1" compatLnSpc="1">
            <a:noAutofit/>
          </a:bodyPr>
          <a:lstStyle/>
          <a:p>
            <a:pPr marL="0" marR="0" lvl="0" indent="0" algn="ctr" defTabSz="685783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2100" b="0" i="0" u="none" strike="noStrike" kern="1200" cap="none" spc="0" baseline="0">
              <a:solidFill>
                <a:srgbClr val="FFFFFF"/>
              </a:solidFill>
              <a:uFillTx/>
              <a:latin typeface="Verdana" pitchFamily="34"/>
            </a:endParaRPr>
          </a:p>
        </p:txBody>
      </p:sp>
      <p:sp>
        <p:nvSpPr>
          <p:cNvPr id="4" name="Rectangle 2">
            <a:extLst>
              <a:ext uri="{FF2B5EF4-FFF2-40B4-BE49-F238E27FC236}">
                <a16:creationId xmlns:a16="http://schemas.microsoft.com/office/drawing/2014/main" id="{74574536-C38E-4CE9-AA8F-5E0D964EDB5B}"/>
              </a:ext>
            </a:extLst>
          </p:cNvPr>
          <p:cNvSpPr/>
          <p:nvPr/>
        </p:nvSpPr>
        <p:spPr>
          <a:xfrm>
            <a:off x="1" y="8"/>
            <a:ext cx="9143997" cy="4855025"/>
          </a:xfrm>
          <a:prstGeom prst="rect">
            <a:avLst/>
          </a:prstGeom>
          <a:gradFill>
            <a:gsLst>
              <a:gs pos="0">
                <a:srgbClr val="CFCFCF"/>
              </a:gs>
              <a:gs pos="100000">
                <a:srgbClr val="FFFFFF"/>
              </a:gs>
            </a:gsLst>
            <a:path path="circle">
              <a:fillToRect l="100000" t="100000"/>
            </a:path>
          </a:gradFill>
          <a:ln cap="flat">
            <a:noFill/>
            <a:prstDash val="solid"/>
          </a:ln>
        </p:spPr>
        <p:txBody>
          <a:bodyPr vert="horz" wrap="square" lIns="68580" tIns="34290" rIns="68580" bIns="34290" anchor="ctr" anchorCtr="1" compatLnSpc="1">
            <a:noAutofit/>
          </a:bodyPr>
          <a:lstStyle/>
          <a:p>
            <a:pPr marL="0" marR="0" lvl="0" indent="0" algn="ctr" defTabSz="685783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1350" b="0" i="0" u="none" strike="noStrike" kern="1200" cap="none" spc="0" baseline="0">
              <a:solidFill>
                <a:srgbClr val="FFFFFF"/>
              </a:solidFill>
              <a:uFillTx/>
              <a:latin typeface="Verdana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D77623DB-0266-45C3-AA1A-DE2DB92F4628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66399" y="266399"/>
            <a:ext cx="8229600" cy="62077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61FFA4F-F3F0-472E-A212-2B4FF2E92985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266400" y="987430"/>
            <a:ext cx="8445503" cy="3667123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97193305"/>
      </p:ext>
    </p:extLst>
  </p:cSld>
  <p:clrMapOvr>
    <a:masterClrMapping/>
  </p:clrMapOvr>
  <p:transition spd="med">
    <p:fade/>
  </p:transition>
  <p:hf sldNum="0" hdr="0" ftr="0" dt="0"/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95482831"/>
      </p:ext>
    </p:extLst>
  </p:cSld>
  <p:clrMapOvr>
    <a:masterClrMapping/>
  </p:clrMapOvr>
  <p:transition spd="med">
    <p:fade/>
  </p:transition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nd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White background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noProof="0" dirty="0"/>
          </a:p>
        </p:txBody>
      </p:sp>
      <p:grpSp>
        <p:nvGrpSpPr>
          <p:cNvPr id="2" name="Gruppe 1"/>
          <p:cNvGrpSpPr/>
          <p:nvPr userDrawn="1"/>
        </p:nvGrpSpPr>
        <p:grpSpPr>
          <a:xfrm>
            <a:off x="3022897" y="1401080"/>
            <a:ext cx="3098210" cy="2341345"/>
            <a:chOff x="3009519" y="1350350"/>
            <a:chExt cx="3098210" cy="2341345"/>
          </a:xfrm>
        </p:grpSpPr>
        <p:pic>
          <p:nvPicPr>
            <p:cNvPr id="7" name="Boxlogo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09519" y="1350350"/>
              <a:ext cx="3098210" cy="13541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9" name="Picture 2"/>
            <p:cNvPicPr>
              <a:picLocks noChangeAspect="1" noChangeArrowheads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47864" y="3048390"/>
              <a:ext cx="2466000" cy="64330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273391351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64BD9D-2C85-4510-9146-18F567C1DDCD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lang="en-US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DE790E9-61F5-454F-8066-E14F08AA3526}"/>
              </a:ext>
            </a:extLst>
          </p:cNvPr>
          <p:cNvSpPr txBox="1">
            <a:spLocks noGrp="1"/>
          </p:cNvSpPr>
          <p:nvPr>
            <p:ph idx="4294967295"/>
          </p:nvPr>
        </p:nvSpPr>
        <p:spPr>
          <a:xfrm>
            <a:off x="419099" y="1222378"/>
            <a:ext cx="8308974" cy="3279379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782361869"/>
      </p:ext>
    </p:extLst>
  </p:cSld>
  <p:clrMapOvr>
    <a:masterClrMapping/>
  </p:clrMapOvr>
  <p:hf sldNum="0" hdr="0" ftr="0" dt="0"/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Plain Page Dark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ravokotnik 2">
            <a:extLst>
              <a:ext uri="{FF2B5EF4-FFF2-40B4-BE49-F238E27FC236}">
                <a16:creationId xmlns:a16="http://schemas.microsoft.com/office/drawing/2014/main" id="{B8C387F7-442E-4E8A-BBBA-563DF259D559}"/>
              </a:ext>
            </a:extLst>
          </p:cNvPr>
          <p:cNvSpPr/>
          <p:nvPr userDrawn="1"/>
        </p:nvSpPr>
        <p:spPr>
          <a:xfrm rot="10800000">
            <a:off x="-2" y="3"/>
            <a:ext cx="9144002" cy="4804117"/>
          </a:xfrm>
          <a:prstGeom prst="rect">
            <a:avLst/>
          </a:prstGeom>
          <a:gradFill flip="none" rotWithShape="1">
            <a:gsLst>
              <a:gs pos="0">
                <a:schemeClr val="accent5">
                  <a:lumMod val="60000"/>
                  <a:lumOff val="40000"/>
                  <a:alpha val="50000"/>
                </a:schemeClr>
              </a:gs>
              <a:gs pos="50000">
                <a:srgbClr val="DBDFE2">
                  <a:alpha val="70000"/>
                </a:srgbClr>
              </a:gs>
              <a:gs pos="100000">
                <a:srgbClr val="F8F8F8"/>
              </a:gs>
            </a:gsLst>
            <a:lin ang="27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l-SI" sz="1350" noProof="0" err="1"/>
          </a:p>
        </p:txBody>
      </p:sp>
      <p:sp>
        <p:nvSpPr>
          <p:cNvPr id="4" name="Rectangle 99">
            <a:extLst>
              <a:ext uri="{FF2B5EF4-FFF2-40B4-BE49-F238E27FC236}">
                <a16:creationId xmlns:a16="http://schemas.microsoft.com/office/drawing/2014/main" id="{FDAB16A1-5113-45AF-9A86-EC42D5FA4825}"/>
              </a:ext>
            </a:extLst>
          </p:cNvPr>
          <p:cNvSpPr/>
          <p:nvPr userDrawn="1"/>
        </p:nvSpPr>
        <p:spPr>
          <a:xfrm>
            <a:off x="0" y="815928"/>
            <a:ext cx="9144000" cy="3988192"/>
          </a:xfrm>
          <a:custGeom>
            <a:avLst/>
            <a:gdLst>
              <a:gd name="connsiteX0" fmla="*/ 0 w 3590554"/>
              <a:gd name="connsiteY0" fmla="*/ 0 h 640800"/>
              <a:gd name="connsiteX1" fmla="*/ 3590554 w 3590554"/>
              <a:gd name="connsiteY1" fmla="*/ 0 h 640800"/>
              <a:gd name="connsiteX2" fmla="*/ 3590554 w 3590554"/>
              <a:gd name="connsiteY2" fmla="*/ 640800 h 640800"/>
              <a:gd name="connsiteX3" fmla="*/ 0 w 3590554"/>
              <a:gd name="connsiteY3" fmla="*/ 640800 h 640800"/>
              <a:gd name="connsiteX4" fmla="*/ 0 w 3590554"/>
              <a:gd name="connsiteY4" fmla="*/ 0 h 640800"/>
              <a:gd name="connsiteX0" fmla="*/ 0 w 3593306"/>
              <a:gd name="connsiteY0" fmla="*/ 302 h 641102"/>
              <a:gd name="connsiteX1" fmla="*/ 3590554 w 3593306"/>
              <a:gd name="connsiteY1" fmla="*/ 302 h 641102"/>
              <a:gd name="connsiteX2" fmla="*/ 3593306 w 3593306"/>
              <a:gd name="connsiteY2" fmla="*/ 0 h 641102"/>
              <a:gd name="connsiteX3" fmla="*/ 3590554 w 3593306"/>
              <a:gd name="connsiteY3" fmla="*/ 641102 h 641102"/>
              <a:gd name="connsiteX4" fmla="*/ 0 w 3593306"/>
              <a:gd name="connsiteY4" fmla="*/ 641102 h 641102"/>
              <a:gd name="connsiteX5" fmla="*/ 0 w 3593306"/>
              <a:gd name="connsiteY5" fmla="*/ 302 h 641102"/>
              <a:gd name="connsiteX0" fmla="*/ 0 w 3593675"/>
              <a:gd name="connsiteY0" fmla="*/ 302 h 641102"/>
              <a:gd name="connsiteX1" fmla="*/ 3590554 w 3593675"/>
              <a:gd name="connsiteY1" fmla="*/ 302 h 641102"/>
              <a:gd name="connsiteX2" fmla="*/ 3593306 w 3593675"/>
              <a:gd name="connsiteY2" fmla="*/ 0 h 641102"/>
              <a:gd name="connsiteX3" fmla="*/ 3590554 w 3593675"/>
              <a:gd name="connsiteY3" fmla="*/ 641102 h 641102"/>
              <a:gd name="connsiteX4" fmla="*/ 0 w 3593675"/>
              <a:gd name="connsiteY4" fmla="*/ 641102 h 641102"/>
              <a:gd name="connsiteX5" fmla="*/ 0 w 3593675"/>
              <a:gd name="connsiteY5" fmla="*/ 302 h 641102"/>
              <a:gd name="connsiteX0" fmla="*/ 0 w 3860011"/>
              <a:gd name="connsiteY0" fmla="*/ 0 h 640800"/>
              <a:gd name="connsiteX1" fmla="*/ 3590554 w 3860011"/>
              <a:gd name="connsiteY1" fmla="*/ 0 h 640800"/>
              <a:gd name="connsiteX2" fmla="*/ 3860006 w 3860011"/>
              <a:gd name="connsiteY2" fmla="*/ 485473 h 640800"/>
              <a:gd name="connsiteX3" fmla="*/ 3590554 w 3860011"/>
              <a:gd name="connsiteY3" fmla="*/ 640800 h 640800"/>
              <a:gd name="connsiteX4" fmla="*/ 0 w 3860011"/>
              <a:gd name="connsiteY4" fmla="*/ 640800 h 640800"/>
              <a:gd name="connsiteX5" fmla="*/ 0 w 3860011"/>
              <a:gd name="connsiteY5" fmla="*/ 0 h 640800"/>
              <a:gd name="connsiteX0" fmla="*/ 0 w 3733810"/>
              <a:gd name="connsiteY0" fmla="*/ 0 h 640800"/>
              <a:gd name="connsiteX1" fmla="*/ 3590554 w 3733810"/>
              <a:gd name="connsiteY1" fmla="*/ 0 h 640800"/>
              <a:gd name="connsiteX2" fmla="*/ 3733799 w 3733810"/>
              <a:gd name="connsiteY2" fmla="*/ 335454 h 640800"/>
              <a:gd name="connsiteX3" fmla="*/ 3590554 w 3733810"/>
              <a:gd name="connsiteY3" fmla="*/ 640800 h 640800"/>
              <a:gd name="connsiteX4" fmla="*/ 0 w 3733810"/>
              <a:gd name="connsiteY4" fmla="*/ 640800 h 640800"/>
              <a:gd name="connsiteX5" fmla="*/ 0 w 3733810"/>
              <a:gd name="connsiteY5" fmla="*/ 0 h 640800"/>
              <a:gd name="connsiteX0" fmla="*/ 0 w 3762383"/>
              <a:gd name="connsiteY0" fmla="*/ 0 h 640800"/>
              <a:gd name="connsiteX1" fmla="*/ 3590554 w 3762383"/>
              <a:gd name="connsiteY1" fmla="*/ 0 h 640800"/>
              <a:gd name="connsiteX2" fmla="*/ 3762374 w 3762383"/>
              <a:gd name="connsiteY2" fmla="*/ 314023 h 640800"/>
              <a:gd name="connsiteX3" fmla="*/ 3590554 w 3762383"/>
              <a:gd name="connsiteY3" fmla="*/ 640800 h 640800"/>
              <a:gd name="connsiteX4" fmla="*/ 0 w 3762383"/>
              <a:gd name="connsiteY4" fmla="*/ 640800 h 640800"/>
              <a:gd name="connsiteX5" fmla="*/ 0 w 3762383"/>
              <a:gd name="connsiteY5" fmla="*/ 0 h 640800"/>
              <a:gd name="connsiteX0" fmla="*/ 0 w 3762374"/>
              <a:gd name="connsiteY0" fmla="*/ 0 h 640800"/>
              <a:gd name="connsiteX1" fmla="*/ 3590554 w 3762374"/>
              <a:gd name="connsiteY1" fmla="*/ 0 h 640800"/>
              <a:gd name="connsiteX2" fmla="*/ 3762374 w 3762374"/>
              <a:gd name="connsiteY2" fmla="*/ 314023 h 640800"/>
              <a:gd name="connsiteX3" fmla="*/ 3590554 w 3762374"/>
              <a:gd name="connsiteY3" fmla="*/ 640800 h 640800"/>
              <a:gd name="connsiteX4" fmla="*/ 0 w 3762374"/>
              <a:gd name="connsiteY4" fmla="*/ 640800 h 640800"/>
              <a:gd name="connsiteX5" fmla="*/ 0 w 3762374"/>
              <a:gd name="connsiteY5" fmla="*/ 0 h 640800"/>
              <a:gd name="connsiteX0" fmla="*/ 0 w 3762374"/>
              <a:gd name="connsiteY0" fmla="*/ 0 h 640800"/>
              <a:gd name="connsiteX1" fmla="*/ 3590554 w 3762374"/>
              <a:gd name="connsiteY1" fmla="*/ 0 h 640800"/>
              <a:gd name="connsiteX2" fmla="*/ 3762374 w 3762374"/>
              <a:gd name="connsiteY2" fmla="*/ 314023 h 640800"/>
              <a:gd name="connsiteX3" fmla="*/ 3590554 w 3762374"/>
              <a:gd name="connsiteY3" fmla="*/ 640800 h 640800"/>
              <a:gd name="connsiteX4" fmla="*/ 0 w 3762374"/>
              <a:gd name="connsiteY4" fmla="*/ 640800 h 640800"/>
              <a:gd name="connsiteX5" fmla="*/ 0 w 3762374"/>
              <a:gd name="connsiteY5" fmla="*/ 0 h 640800"/>
              <a:gd name="connsiteX0" fmla="*/ 0 w 3762374"/>
              <a:gd name="connsiteY0" fmla="*/ 0 h 640800"/>
              <a:gd name="connsiteX1" fmla="*/ 3590554 w 3762374"/>
              <a:gd name="connsiteY1" fmla="*/ 0 h 640800"/>
              <a:gd name="connsiteX2" fmla="*/ 3762374 w 3762374"/>
              <a:gd name="connsiteY2" fmla="*/ 314023 h 640800"/>
              <a:gd name="connsiteX3" fmla="*/ 3590554 w 3762374"/>
              <a:gd name="connsiteY3" fmla="*/ 640800 h 640800"/>
              <a:gd name="connsiteX4" fmla="*/ 0 w 3762374"/>
              <a:gd name="connsiteY4" fmla="*/ 640800 h 640800"/>
              <a:gd name="connsiteX5" fmla="*/ 0 w 3762374"/>
              <a:gd name="connsiteY5" fmla="*/ 0 h 640800"/>
              <a:gd name="connsiteX0" fmla="*/ 0 w 3762374"/>
              <a:gd name="connsiteY0" fmla="*/ 0 h 640800"/>
              <a:gd name="connsiteX1" fmla="*/ 3590554 w 3762374"/>
              <a:gd name="connsiteY1" fmla="*/ 0 h 640800"/>
              <a:gd name="connsiteX2" fmla="*/ 3762374 w 3762374"/>
              <a:gd name="connsiteY2" fmla="*/ 314023 h 640800"/>
              <a:gd name="connsiteX3" fmla="*/ 3590554 w 3762374"/>
              <a:gd name="connsiteY3" fmla="*/ 640800 h 640800"/>
              <a:gd name="connsiteX4" fmla="*/ 0 w 3762374"/>
              <a:gd name="connsiteY4" fmla="*/ 640800 h 640800"/>
              <a:gd name="connsiteX5" fmla="*/ 0 w 3762374"/>
              <a:gd name="connsiteY5" fmla="*/ 0 h 640800"/>
              <a:gd name="connsiteX0" fmla="*/ 0 w 3767136"/>
              <a:gd name="connsiteY0" fmla="*/ 0 h 640800"/>
              <a:gd name="connsiteX1" fmla="*/ 3590554 w 3767136"/>
              <a:gd name="connsiteY1" fmla="*/ 0 h 640800"/>
              <a:gd name="connsiteX2" fmla="*/ 3767136 w 3767136"/>
              <a:gd name="connsiteY2" fmla="*/ 323548 h 640800"/>
              <a:gd name="connsiteX3" fmla="*/ 3590554 w 3767136"/>
              <a:gd name="connsiteY3" fmla="*/ 640800 h 640800"/>
              <a:gd name="connsiteX4" fmla="*/ 0 w 3767136"/>
              <a:gd name="connsiteY4" fmla="*/ 640800 h 640800"/>
              <a:gd name="connsiteX5" fmla="*/ 0 w 3767136"/>
              <a:gd name="connsiteY5" fmla="*/ 0 h 640800"/>
              <a:gd name="connsiteX0" fmla="*/ 0 w 3767136"/>
              <a:gd name="connsiteY0" fmla="*/ 0 h 640800"/>
              <a:gd name="connsiteX1" fmla="*/ 3590554 w 3767136"/>
              <a:gd name="connsiteY1" fmla="*/ 0 h 640800"/>
              <a:gd name="connsiteX2" fmla="*/ 3767136 w 3767136"/>
              <a:gd name="connsiteY2" fmla="*/ 323548 h 640800"/>
              <a:gd name="connsiteX3" fmla="*/ 3590554 w 3767136"/>
              <a:gd name="connsiteY3" fmla="*/ 640800 h 640800"/>
              <a:gd name="connsiteX4" fmla="*/ 0 w 3767136"/>
              <a:gd name="connsiteY4" fmla="*/ 640800 h 640800"/>
              <a:gd name="connsiteX5" fmla="*/ 0 w 3767136"/>
              <a:gd name="connsiteY5" fmla="*/ 0 h 640800"/>
              <a:gd name="connsiteX0" fmla="*/ 0 w 3767136"/>
              <a:gd name="connsiteY0" fmla="*/ 0 h 640800"/>
              <a:gd name="connsiteX1" fmla="*/ 3590554 w 3767136"/>
              <a:gd name="connsiteY1" fmla="*/ 0 h 640800"/>
              <a:gd name="connsiteX2" fmla="*/ 3767136 w 3767136"/>
              <a:gd name="connsiteY2" fmla="*/ 323548 h 640800"/>
              <a:gd name="connsiteX3" fmla="*/ 3590554 w 3767136"/>
              <a:gd name="connsiteY3" fmla="*/ 640800 h 640800"/>
              <a:gd name="connsiteX4" fmla="*/ 0 w 3767136"/>
              <a:gd name="connsiteY4" fmla="*/ 640800 h 640800"/>
              <a:gd name="connsiteX5" fmla="*/ 0 w 3767136"/>
              <a:gd name="connsiteY5" fmla="*/ 0 h 640800"/>
              <a:gd name="connsiteX0" fmla="*/ 0 w 3590554"/>
              <a:gd name="connsiteY0" fmla="*/ 0 h 640800"/>
              <a:gd name="connsiteX1" fmla="*/ 3590554 w 3590554"/>
              <a:gd name="connsiteY1" fmla="*/ 0 h 640800"/>
              <a:gd name="connsiteX2" fmla="*/ 3590554 w 3590554"/>
              <a:gd name="connsiteY2" fmla="*/ 640800 h 640800"/>
              <a:gd name="connsiteX3" fmla="*/ 0 w 3590554"/>
              <a:gd name="connsiteY3" fmla="*/ 640800 h 640800"/>
              <a:gd name="connsiteX4" fmla="*/ 0 w 3590554"/>
              <a:gd name="connsiteY4" fmla="*/ 0 h 640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90554" h="640800">
                <a:moveTo>
                  <a:pt x="0" y="0"/>
                </a:moveTo>
                <a:lnTo>
                  <a:pt x="3590554" y="0"/>
                </a:lnTo>
                <a:lnTo>
                  <a:pt x="3590554" y="640800"/>
                </a:lnTo>
                <a:lnTo>
                  <a:pt x="0" y="6408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6350">
            <a:noFill/>
          </a:ln>
          <a:effectLst>
            <a:outerShdw blurRad="50800" dist="25400" dir="16500000" algn="l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/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E59BC640-0621-408F-8113-ED05BE87EE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155" y="2"/>
            <a:ext cx="8280000" cy="81592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>
              <a:defRPr sz="1575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ACB396D2-5356-44D1-9727-864B611E014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0155" y="979201"/>
            <a:ext cx="8311572" cy="329366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187794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4" presetClass="path" presetSubtype="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-9.87654E-7 L 5.55556E-7 -0.08272 " pathEditMode="relative" rAng="0" ptsTypes="AA">
                                      <p:cBhvr>
                                        <p:cTn id="12" dur="1000" spd="-100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413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4" grpId="1" animBg="1"/>
      <p:bldP spid="4" grpId="2" animBg="1"/>
      <p:bldP spid="4" grpId="3" animBg="1"/>
      <p:bldP spid="7" grpId="0"/>
      <p:bldP spid="7" grpId="1"/>
    </p:bldLst>
  </p:timing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aslov zgoraj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99">
            <a:extLst>
              <a:ext uri="{FF2B5EF4-FFF2-40B4-BE49-F238E27FC236}">
                <a16:creationId xmlns:a16="http://schemas.microsoft.com/office/drawing/2014/main" id="{99F458A0-F9D5-4F0C-B8B1-358102AB9929}"/>
              </a:ext>
            </a:extLst>
          </p:cNvPr>
          <p:cNvSpPr/>
          <p:nvPr userDrawn="1"/>
        </p:nvSpPr>
        <p:spPr>
          <a:xfrm>
            <a:off x="1" y="66977"/>
            <a:ext cx="9143999" cy="640800"/>
          </a:xfrm>
          <a:custGeom>
            <a:avLst/>
            <a:gdLst>
              <a:gd name="connsiteX0" fmla="*/ 0 w 3590554"/>
              <a:gd name="connsiteY0" fmla="*/ 0 h 640800"/>
              <a:gd name="connsiteX1" fmla="*/ 3590554 w 3590554"/>
              <a:gd name="connsiteY1" fmla="*/ 0 h 640800"/>
              <a:gd name="connsiteX2" fmla="*/ 3590554 w 3590554"/>
              <a:gd name="connsiteY2" fmla="*/ 640800 h 640800"/>
              <a:gd name="connsiteX3" fmla="*/ 0 w 3590554"/>
              <a:gd name="connsiteY3" fmla="*/ 640800 h 640800"/>
              <a:gd name="connsiteX4" fmla="*/ 0 w 3590554"/>
              <a:gd name="connsiteY4" fmla="*/ 0 h 640800"/>
              <a:gd name="connsiteX0" fmla="*/ 0 w 3593306"/>
              <a:gd name="connsiteY0" fmla="*/ 302 h 641102"/>
              <a:gd name="connsiteX1" fmla="*/ 3590554 w 3593306"/>
              <a:gd name="connsiteY1" fmla="*/ 302 h 641102"/>
              <a:gd name="connsiteX2" fmla="*/ 3593306 w 3593306"/>
              <a:gd name="connsiteY2" fmla="*/ 0 h 641102"/>
              <a:gd name="connsiteX3" fmla="*/ 3590554 w 3593306"/>
              <a:gd name="connsiteY3" fmla="*/ 641102 h 641102"/>
              <a:gd name="connsiteX4" fmla="*/ 0 w 3593306"/>
              <a:gd name="connsiteY4" fmla="*/ 641102 h 641102"/>
              <a:gd name="connsiteX5" fmla="*/ 0 w 3593306"/>
              <a:gd name="connsiteY5" fmla="*/ 302 h 641102"/>
              <a:gd name="connsiteX0" fmla="*/ 0 w 3593675"/>
              <a:gd name="connsiteY0" fmla="*/ 302 h 641102"/>
              <a:gd name="connsiteX1" fmla="*/ 3590554 w 3593675"/>
              <a:gd name="connsiteY1" fmla="*/ 302 h 641102"/>
              <a:gd name="connsiteX2" fmla="*/ 3593306 w 3593675"/>
              <a:gd name="connsiteY2" fmla="*/ 0 h 641102"/>
              <a:gd name="connsiteX3" fmla="*/ 3590554 w 3593675"/>
              <a:gd name="connsiteY3" fmla="*/ 641102 h 641102"/>
              <a:gd name="connsiteX4" fmla="*/ 0 w 3593675"/>
              <a:gd name="connsiteY4" fmla="*/ 641102 h 641102"/>
              <a:gd name="connsiteX5" fmla="*/ 0 w 3593675"/>
              <a:gd name="connsiteY5" fmla="*/ 302 h 641102"/>
              <a:gd name="connsiteX0" fmla="*/ 0 w 3860011"/>
              <a:gd name="connsiteY0" fmla="*/ 0 h 640800"/>
              <a:gd name="connsiteX1" fmla="*/ 3590554 w 3860011"/>
              <a:gd name="connsiteY1" fmla="*/ 0 h 640800"/>
              <a:gd name="connsiteX2" fmla="*/ 3860006 w 3860011"/>
              <a:gd name="connsiteY2" fmla="*/ 485473 h 640800"/>
              <a:gd name="connsiteX3" fmla="*/ 3590554 w 3860011"/>
              <a:gd name="connsiteY3" fmla="*/ 640800 h 640800"/>
              <a:gd name="connsiteX4" fmla="*/ 0 w 3860011"/>
              <a:gd name="connsiteY4" fmla="*/ 640800 h 640800"/>
              <a:gd name="connsiteX5" fmla="*/ 0 w 3860011"/>
              <a:gd name="connsiteY5" fmla="*/ 0 h 640800"/>
              <a:gd name="connsiteX0" fmla="*/ 0 w 3733810"/>
              <a:gd name="connsiteY0" fmla="*/ 0 h 640800"/>
              <a:gd name="connsiteX1" fmla="*/ 3590554 w 3733810"/>
              <a:gd name="connsiteY1" fmla="*/ 0 h 640800"/>
              <a:gd name="connsiteX2" fmla="*/ 3733799 w 3733810"/>
              <a:gd name="connsiteY2" fmla="*/ 335454 h 640800"/>
              <a:gd name="connsiteX3" fmla="*/ 3590554 w 3733810"/>
              <a:gd name="connsiteY3" fmla="*/ 640800 h 640800"/>
              <a:gd name="connsiteX4" fmla="*/ 0 w 3733810"/>
              <a:gd name="connsiteY4" fmla="*/ 640800 h 640800"/>
              <a:gd name="connsiteX5" fmla="*/ 0 w 3733810"/>
              <a:gd name="connsiteY5" fmla="*/ 0 h 640800"/>
              <a:gd name="connsiteX0" fmla="*/ 0 w 3762383"/>
              <a:gd name="connsiteY0" fmla="*/ 0 h 640800"/>
              <a:gd name="connsiteX1" fmla="*/ 3590554 w 3762383"/>
              <a:gd name="connsiteY1" fmla="*/ 0 h 640800"/>
              <a:gd name="connsiteX2" fmla="*/ 3762374 w 3762383"/>
              <a:gd name="connsiteY2" fmla="*/ 314023 h 640800"/>
              <a:gd name="connsiteX3" fmla="*/ 3590554 w 3762383"/>
              <a:gd name="connsiteY3" fmla="*/ 640800 h 640800"/>
              <a:gd name="connsiteX4" fmla="*/ 0 w 3762383"/>
              <a:gd name="connsiteY4" fmla="*/ 640800 h 640800"/>
              <a:gd name="connsiteX5" fmla="*/ 0 w 3762383"/>
              <a:gd name="connsiteY5" fmla="*/ 0 h 640800"/>
              <a:gd name="connsiteX0" fmla="*/ 0 w 3762374"/>
              <a:gd name="connsiteY0" fmla="*/ 0 h 640800"/>
              <a:gd name="connsiteX1" fmla="*/ 3590554 w 3762374"/>
              <a:gd name="connsiteY1" fmla="*/ 0 h 640800"/>
              <a:gd name="connsiteX2" fmla="*/ 3762374 w 3762374"/>
              <a:gd name="connsiteY2" fmla="*/ 314023 h 640800"/>
              <a:gd name="connsiteX3" fmla="*/ 3590554 w 3762374"/>
              <a:gd name="connsiteY3" fmla="*/ 640800 h 640800"/>
              <a:gd name="connsiteX4" fmla="*/ 0 w 3762374"/>
              <a:gd name="connsiteY4" fmla="*/ 640800 h 640800"/>
              <a:gd name="connsiteX5" fmla="*/ 0 w 3762374"/>
              <a:gd name="connsiteY5" fmla="*/ 0 h 640800"/>
              <a:gd name="connsiteX0" fmla="*/ 0 w 3762374"/>
              <a:gd name="connsiteY0" fmla="*/ 0 h 640800"/>
              <a:gd name="connsiteX1" fmla="*/ 3590554 w 3762374"/>
              <a:gd name="connsiteY1" fmla="*/ 0 h 640800"/>
              <a:gd name="connsiteX2" fmla="*/ 3762374 w 3762374"/>
              <a:gd name="connsiteY2" fmla="*/ 314023 h 640800"/>
              <a:gd name="connsiteX3" fmla="*/ 3590554 w 3762374"/>
              <a:gd name="connsiteY3" fmla="*/ 640800 h 640800"/>
              <a:gd name="connsiteX4" fmla="*/ 0 w 3762374"/>
              <a:gd name="connsiteY4" fmla="*/ 640800 h 640800"/>
              <a:gd name="connsiteX5" fmla="*/ 0 w 3762374"/>
              <a:gd name="connsiteY5" fmla="*/ 0 h 640800"/>
              <a:gd name="connsiteX0" fmla="*/ 0 w 3762374"/>
              <a:gd name="connsiteY0" fmla="*/ 0 h 640800"/>
              <a:gd name="connsiteX1" fmla="*/ 3590554 w 3762374"/>
              <a:gd name="connsiteY1" fmla="*/ 0 h 640800"/>
              <a:gd name="connsiteX2" fmla="*/ 3762374 w 3762374"/>
              <a:gd name="connsiteY2" fmla="*/ 314023 h 640800"/>
              <a:gd name="connsiteX3" fmla="*/ 3590554 w 3762374"/>
              <a:gd name="connsiteY3" fmla="*/ 640800 h 640800"/>
              <a:gd name="connsiteX4" fmla="*/ 0 w 3762374"/>
              <a:gd name="connsiteY4" fmla="*/ 640800 h 640800"/>
              <a:gd name="connsiteX5" fmla="*/ 0 w 3762374"/>
              <a:gd name="connsiteY5" fmla="*/ 0 h 640800"/>
              <a:gd name="connsiteX0" fmla="*/ 0 w 3762374"/>
              <a:gd name="connsiteY0" fmla="*/ 0 h 640800"/>
              <a:gd name="connsiteX1" fmla="*/ 3590554 w 3762374"/>
              <a:gd name="connsiteY1" fmla="*/ 0 h 640800"/>
              <a:gd name="connsiteX2" fmla="*/ 3762374 w 3762374"/>
              <a:gd name="connsiteY2" fmla="*/ 314023 h 640800"/>
              <a:gd name="connsiteX3" fmla="*/ 3590554 w 3762374"/>
              <a:gd name="connsiteY3" fmla="*/ 640800 h 640800"/>
              <a:gd name="connsiteX4" fmla="*/ 0 w 3762374"/>
              <a:gd name="connsiteY4" fmla="*/ 640800 h 640800"/>
              <a:gd name="connsiteX5" fmla="*/ 0 w 3762374"/>
              <a:gd name="connsiteY5" fmla="*/ 0 h 640800"/>
              <a:gd name="connsiteX0" fmla="*/ 0 w 3767136"/>
              <a:gd name="connsiteY0" fmla="*/ 0 h 640800"/>
              <a:gd name="connsiteX1" fmla="*/ 3590554 w 3767136"/>
              <a:gd name="connsiteY1" fmla="*/ 0 h 640800"/>
              <a:gd name="connsiteX2" fmla="*/ 3767136 w 3767136"/>
              <a:gd name="connsiteY2" fmla="*/ 323548 h 640800"/>
              <a:gd name="connsiteX3" fmla="*/ 3590554 w 3767136"/>
              <a:gd name="connsiteY3" fmla="*/ 640800 h 640800"/>
              <a:gd name="connsiteX4" fmla="*/ 0 w 3767136"/>
              <a:gd name="connsiteY4" fmla="*/ 640800 h 640800"/>
              <a:gd name="connsiteX5" fmla="*/ 0 w 3767136"/>
              <a:gd name="connsiteY5" fmla="*/ 0 h 640800"/>
              <a:gd name="connsiteX0" fmla="*/ 0 w 3767136"/>
              <a:gd name="connsiteY0" fmla="*/ 0 h 640800"/>
              <a:gd name="connsiteX1" fmla="*/ 3590554 w 3767136"/>
              <a:gd name="connsiteY1" fmla="*/ 0 h 640800"/>
              <a:gd name="connsiteX2" fmla="*/ 3767136 w 3767136"/>
              <a:gd name="connsiteY2" fmla="*/ 323548 h 640800"/>
              <a:gd name="connsiteX3" fmla="*/ 3590554 w 3767136"/>
              <a:gd name="connsiteY3" fmla="*/ 640800 h 640800"/>
              <a:gd name="connsiteX4" fmla="*/ 0 w 3767136"/>
              <a:gd name="connsiteY4" fmla="*/ 640800 h 640800"/>
              <a:gd name="connsiteX5" fmla="*/ 0 w 3767136"/>
              <a:gd name="connsiteY5" fmla="*/ 0 h 640800"/>
              <a:gd name="connsiteX0" fmla="*/ 0 w 3767136"/>
              <a:gd name="connsiteY0" fmla="*/ 0 h 640800"/>
              <a:gd name="connsiteX1" fmla="*/ 3590554 w 3767136"/>
              <a:gd name="connsiteY1" fmla="*/ 0 h 640800"/>
              <a:gd name="connsiteX2" fmla="*/ 3767136 w 3767136"/>
              <a:gd name="connsiteY2" fmla="*/ 323548 h 640800"/>
              <a:gd name="connsiteX3" fmla="*/ 3590554 w 3767136"/>
              <a:gd name="connsiteY3" fmla="*/ 640800 h 640800"/>
              <a:gd name="connsiteX4" fmla="*/ 0 w 3767136"/>
              <a:gd name="connsiteY4" fmla="*/ 640800 h 640800"/>
              <a:gd name="connsiteX5" fmla="*/ 0 w 3767136"/>
              <a:gd name="connsiteY5" fmla="*/ 0 h 640800"/>
              <a:gd name="connsiteX0" fmla="*/ 0 w 3590554"/>
              <a:gd name="connsiteY0" fmla="*/ 0 h 640800"/>
              <a:gd name="connsiteX1" fmla="*/ 3590554 w 3590554"/>
              <a:gd name="connsiteY1" fmla="*/ 0 h 640800"/>
              <a:gd name="connsiteX2" fmla="*/ 3590554 w 3590554"/>
              <a:gd name="connsiteY2" fmla="*/ 640800 h 640800"/>
              <a:gd name="connsiteX3" fmla="*/ 0 w 3590554"/>
              <a:gd name="connsiteY3" fmla="*/ 640800 h 640800"/>
              <a:gd name="connsiteX4" fmla="*/ 0 w 3590554"/>
              <a:gd name="connsiteY4" fmla="*/ 0 h 640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90554" h="640800">
                <a:moveTo>
                  <a:pt x="0" y="0"/>
                </a:moveTo>
                <a:lnTo>
                  <a:pt x="3590554" y="0"/>
                </a:lnTo>
                <a:lnTo>
                  <a:pt x="3590554" y="640800"/>
                </a:lnTo>
                <a:lnTo>
                  <a:pt x="0" y="640800"/>
                </a:lnTo>
                <a:lnTo>
                  <a:pt x="0" y="0"/>
                </a:lnTo>
                <a:close/>
              </a:path>
            </a:pathLst>
          </a:custGeom>
          <a:solidFill>
            <a:schemeClr val="bg2">
              <a:lumMod val="60000"/>
              <a:lumOff val="40000"/>
              <a:alpha val="32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noProof="0" dirty="0" err="1"/>
          </a:p>
        </p:txBody>
      </p:sp>
      <p:sp>
        <p:nvSpPr>
          <p:cNvPr id="6" name="Title 3">
            <a:extLst>
              <a:ext uri="{FF2B5EF4-FFF2-40B4-BE49-F238E27FC236}">
                <a16:creationId xmlns:a16="http://schemas.microsoft.com/office/drawing/2014/main" id="{D677771F-A312-4A86-8A86-2F2F53D43281}"/>
              </a:ext>
            </a:extLst>
          </p:cNvPr>
          <p:cNvSpPr txBox="1">
            <a:spLocks/>
          </p:cNvSpPr>
          <p:nvPr userDrawn="1"/>
        </p:nvSpPr>
        <p:spPr>
          <a:xfrm>
            <a:off x="410155" y="289239"/>
            <a:ext cx="8280000" cy="3265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1219170" rtl="0" eaLnBrk="1" latinLnBrk="0" hangingPunct="1">
              <a:spcBef>
                <a:spcPct val="0"/>
              </a:spcBef>
              <a:buNone/>
              <a:defRPr sz="2800" kern="1200">
                <a:solidFill>
                  <a:srgbClr val="575756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sl-SI" sz="2100" dirty="0">
              <a:solidFill>
                <a:schemeClr val="accent2"/>
              </a:solidFill>
            </a:endParaRPr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10155" y="140111"/>
            <a:ext cx="8280000" cy="475703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>
              <a:defRPr sz="1500" b="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79601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3" presetClass="path" presetSubtype="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38889E-6 1.85185E-6 L 0.05625 1.85185E-6 " pathEditMode="relative" rAng="0" ptsTypes="AA">
                                      <p:cBhvr>
                                        <p:cTn id="12" dur="750" spd="-100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812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5" grpId="1" animBg="1"/>
      <p:bldP spid="5" grpId="2" animBg="1"/>
      <p:bldP spid="5" grpId="3" animBg="1"/>
      <p:bldP spid="5" grpId="4" animBg="1"/>
      <p:bldP spid="5" grpId="5" animBg="1"/>
      <p:bldP spid="5" grpId="6" animBg="1"/>
      <p:bldP spid="5" grpId="7" animBg="1"/>
      <p:bldP spid="8" grpId="0"/>
      <p:bldP spid="8" grpId="1"/>
    </p:bld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full slid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B06ADE-C18A-A400-2D87-8DD6EEA36A1B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086F5C0E-DD76-919A-8767-BDBAB2D499EE}"/>
              </a:ext>
            </a:extLst>
          </p:cNvPr>
          <p:cNvSpPr txBox="1">
            <a:spLocks noGrp="1"/>
          </p:cNvSpPr>
          <p:nvPr>
            <p:ph type="pic" idx="4294967295"/>
          </p:nvPr>
        </p:nvSpPr>
        <p:spPr>
          <a:xfrm>
            <a:off x="1" y="2"/>
            <a:ext cx="9143997" cy="4794647"/>
          </a:xfrm>
        </p:spPr>
        <p:txBody>
          <a:bodyPr tIns="611998" anchor="ctr" anchorCtr="1"/>
          <a:lstStyle>
            <a:lvl1pPr marL="0" indent="0" algn="ctr">
              <a:buNone/>
              <a:defRPr lang="da-DK" sz="1400"/>
            </a:lvl1pPr>
          </a:lstStyle>
          <a:p>
            <a:pPr lvl="0"/>
            <a:r>
              <a:rPr lang="da-DK"/>
              <a:t>Click icon to </a:t>
            </a:r>
            <a:br>
              <a:rPr lang="da-DK"/>
            </a:br>
            <a:r>
              <a:rPr lang="da-DK"/>
              <a:t>add pictu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5135634"/>
      </p:ext>
    </p:extLst>
  </p:cSld>
  <p:clrMapOvr>
    <a:masterClrMapping/>
  </p:clrMapOvr>
  <p:hf sldNum="0" hdr="0" ftr="0" dt="0"/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,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2"/>
            <a:ext cx="9144000" cy="4794647"/>
          </a:xfrm>
          <a:prstGeom prst="rect">
            <a:avLst/>
          </a:prstGeom>
          <a:gradFill flip="none" rotWithShape="1">
            <a:gsLst>
              <a:gs pos="0">
                <a:srgbClr val="C7C7C7"/>
              </a:gs>
              <a:gs pos="50000">
                <a:schemeClr val="bg1"/>
              </a:gs>
              <a:gs pos="100000">
                <a:srgbClr val="CDCDCD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9102" y="1222375"/>
            <a:ext cx="8308975" cy="3293666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4125951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2836794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45" imgH="245" progId="TCLayout.ActiveDocument.1">
                  <p:embed/>
                </p:oleObj>
              </mc:Choice>
              <mc:Fallback>
                <p:oleObj name="think-cell Slide" r:id="rId4" imgW="245" imgH="24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D94DC1C-B7FA-40FA-9753-FFE536FBEAF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60A11"/>
          </a:solidFill>
          <a:ln w="9525">
            <a:solidFill>
              <a:srgbClr val="E60A1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100" b="0" i="0" baseline="0" noProof="0" dirty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3" name="Rectangle 2"/>
          <p:cNvSpPr/>
          <p:nvPr userDrawn="1"/>
        </p:nvSpPr>
        <p:spPr>
          <a:xfrm>
            <a:off x="0" y="3"/>
            <a:ext cx="9144000" cy="4777737"/>
          </a:xfrm>
          <a:prstGeom prst="rect">
            <a:avLst/>
          </a:prstGeom>
          <a:gradFill flip="none" rotWithShape="1">
            <a:gsLst>
              <a:gs pos="0">
                <a:srgbClr val="CFCFCF"/>
              </a:gs>
              <a:gs pos="50000">
                <a:schemeClr val="bg1"/>
              </a:gs>
              <a:gs pos="100000">
                <a:srgbClr val="E4E4E4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6400" y="266401"/>
            <a:ext cx="8229600" cy="62077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6401" y="987425"/>
            <a:ext cx="8445500" cy="366712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367324"/>
      </p:ext>
    </p:extLst>
  </p:cSld>
  <p:clrMapOvr>
    <a:masterClrMapping/>
  </p:clrMapOvr>
  <p:transition spd="med">
    <p:fade/>
  </p:transition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27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5/26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5939047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23076170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ktangel 10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sp>
        <p:nvSpPr>
          <p:cNvPr id="15" name="Pladsholder til billede 14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5143500"/>
          </a:xfrm>
        </p:spPr>
        <p:txBody>
          <a:bodyPr tIns="3672000"/>
          <a:lstStyle>
            <a:lvl1pPr marL="0" indent="0" algn="ctr">
              <a:buNone/>
              <a:defRPr sz="1400" baseline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Backdrop single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0"/>
            <a:ext cx="9144000" cy="8748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-</a:t>
            </a:r>
          </a:p>
        </p:txBody>
      </p:sp>
      <p:sp>
        <p:nvSpPr>
          <p:cNvPr id="22" name="Logo top"/>
          <p:cNvSpPr>
            <a:spLocks noGrp="1"/>
          </p:cNvSpPr>
          <p:nvPr>
            <p:ph type="body" sz="quarter" idx="15" hasCustomPrompt="1"/>
          </p:nvPr>
        </p:nvSpPr>
        <p:spPr>
          <a:xfrm>
            <a:off x="7070400" y="0"/>
            <a:ext cx="2073600" cy="84240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-</a:t>
            </a: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420687" y="982831"/>
            <a:ext cx="8307388" cy="868034"/>
          </a:xfrm>
        </p:spPr>
        <p:txBody>
          <a:bodyPr anchor="b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insert Presentation title in</a:t>
            </a:r>
            <a:br>
              <a:rPr lang="en-GB" dirty="0"/>
            </a:br>
            <a:r>
              <a:rPr lang="en-GB" b="1" dirty="0"/>
              <a:t>Verdana Bold </a:t>
            </a:r>
            <a:r>
              <a:rPr lang="en-GB" dirty="0"/>
              <a:t>and Verdana Regular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19099" y="1988689"/>
            <a:ext cx="8308975" cy="291820"/>
          </a:xfrm>
        </p:spPr>
        <p:txBody>
          <a:bodyPr/>
          <a:lstStyle>
            <a:lvl1pPr marL="0" indent="0" algn="l">
              <a:buNone/>
              <a:defRPr sz="14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insert name and title of presenter</a:t>
            </a:r>
          </a:p>
        </p:txBody>
      </p:sp>
    </p:spTree>
    <p:extLst>
      <p:ext uri="{BB962C8B-B14F-4D97-AF65-F5344CB8AC3E}">
        <p14:creationId xmlns:p14="http://schemas.microsoft.com/office/powerpoint/2010/main" val="2608577299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9100" y="1222375"/>
            <a:ext cx="8308975" cy="3279378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16204396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ktangel 10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sp>
        <p:nvSpPr>
          <p:cNvPr id="15" name="Pladsholder til billede 14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5143500"/>
          </a:xfrm>
        </p:spPr>
        <p:txBody>
          <a:bodyPr tIns="720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SzTx/>
              <a:buFont typeface="Verdana" panose="020B0604030504040204" pitchFamily="34" charset="0"/>
              <a:buNone/>
              <a:tabLst/>
              <a:defRPr sz="14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0" name="Backdrop single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0"/>
            <a:ext cx="9144000" cy="23184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-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20687" y="982831"/>
            <a:ext cx="8307388" cy="868034"/>
          </a:xfrm>
        </p:spPr>
        <p:txBody>
          <a:bodyPr anchor="b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insert Presentation title in</a:t>
            </a:r>
            <a:br>
              <a:rPr lang="en-GB" dirty="0"/>
            </a:br>
            <a:r>
              <a:rPr lang="en-GB" b="1" dirty="0"/>
              <a:t>Verdana Bold </a:t>
            </a:r>
            <a:r>
              <a:rPr lang="en-GB" dirty="0"/>
              <a:t>and Verdana Regular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19099" y="1988689"/>
            <a:ext cx="8308975" cy="291820"/>
          </a:xfrm>
        </p:spPr>
        <p:txBody>
          <a:bodyPr/>
          <a:lstStyle>
            <a:lvl1pPr marL="0" indent="0" algn="l">
              <a:buNone/>
              <a:defRPr sz="14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insert name and title of presenter</a:t>
            </a:r>
          </a:p>
        </p:txBody>
      </p:sp>
      <p:sp>
        <p:nvSpPr>
          <p:cNvPr id="12" name="Logo top"/>
          <p:cNvSpPr>
            <a:spLocks noGrp="1"/>
          </p:cNvSpPr>
          <p:nvPr>
            <p:ph type="body" sz="quarter" idx="15" hasCustomPrompt="1"/>
          </p:nvPr>
        </p:nvSpPr>
        <p:spPr>
          <a:xfrm>
            <a:off x="7070400" y="0"/>
            <a:ext cx="2073600" cy="84240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3649910495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small picture,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9144000" cy="4794647"/>
          </a:xfrm>
          <a:prstGeom prst="rect">
            <a:avLst/>
          </a:prstGeom>
          <a:gradFill flip="none" rotWithShape="1">
            <a:gsLst>
              <a:gs pos="0">
                <a:srgbClr val="C7C7C7"/>
              </a:gs>
              <a:gs pos="50000">
                <a:schemeClr val="bg1"/>
              </a:gs>
              <a:gs pos="100000">
                <a:srgbClr val="CDCDCD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19100" y="1222375"/>
            <a:ext cx="5160962" cy="329366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5747275" y="1222375"/>
            <a:ext cx="2980800" cy="3293667"/>
          </a:xfrm>
          <a:solidFill>
            <a:schemeClr val="bg1"/>
          </a:solidFill>
        </p:spPr>
        <p:txBody>
          <a:bodyPr tIns="756000" anchor="ctr" anchorCtr="0"/>
          <a:lstStyle>
            <a:lvl1pPr marL="0" indent="0" algn="ctr">
              <a:buNone/>
              <a:defRPr sz="1400"/>
            </a:lvl1pPr>
          </a:lstStyle>
          <a:p>
            <a:r>
              <a:rPr lang="da-DK" dirty="0" err="1"/>
              <a:t>Click</a:t>
            </a:r>
            <a:r>
              <a:rPr lang="da-DK" dirty="0"/>
              <a:t> </a:t>
            </a:r>
            <a:r>
              <a:rPr lang="da-DK" dirty="0" err="1"/>
              <a:t>icon</a:t>
            </a:r>
            <a:r>
              <a:rPr lang="da-DK" dirty="0"/>
              <a:t> to </a:t>
            </a:r>
            <a:br>
              <a:rPr lang="da-DK" dirty="0"/>
            </a:b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7330205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7" name="Picture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51192" y="3402"/>
            <a:ext cx="1892808" cy="720090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420687" y="982831"/>
            <a:ext cx="8307388" cy="868034"/>
          </a:xfrm>
        </p:spPr>
        <p:txBody>
          <a:bodyPr anchor="b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insert Presentation title in</a:t>
            </a:r>
            <a:br>
              <a:rPr lang="en-GB" dirty="0"/>
            </a:br>
            <a:r>
              <a:rPr lang="en-GB" b="1" dirty="0"/>
              <a:t>Verdana Bold </a:t>
            </a:r>
            <a:r>
              <a:rPr lang="en-GB" dirty="0"/>
              <a:t>and Verdana Regular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19099" y="1988689"/>
            <a:ext cx="8308975" cy="291820"/>
          </a:xfrm>
        </p:spPr>
        <p:txBody>
          <a:bodyPr/>
          <a:lstStyle>
            <a:lvl1pPr marL="0" indent="0" algn="l">
              <a:buNone/>
              <a:defRPr sz="14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insert name and title of presenter</a:t>
            </a:r>
          </a:p>
        </p:txBody>
      </p:sp>
    </p:spTree>
    <p:extLst>
      <p:ext uri="{BB962C8B-B14F-4D97-AF65-F5344CB8AC3E}">
        <p14:creationId xmlns:p14="http://schemas.microsoft.com/office/powerpoint/2010/main" val="2776096389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ull slid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5326086B-962C-4A82-8878-AB515B735FC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" y="1"/>
            <a:ext cx="9143999" cy="4794647"/>
          </a:xfrm>
        </p:spPr>
        <p:txBody>
          <a:bodyPr tIns="612000" anchor="ctr" anchorCtr="0"/>
          <a:lstStyle>
            <a:lvl1pPr marL="0" indent="0" algn="ctr">
              <a:buNone/>
              <a:defRPr sz="1400"/>
            </a:lvl1pPr>
          </a:lstStyle>
          <a:p>
            <a:r>
              <a:rPr lang="da-DK" dirty="0" err="1"/>
              <a:t>Click</a:t>
            </a:r>
            <a:r>
              <a:rPr lang="da-DK" dirty="0"/>
              <a:t> </a:t>
            </a:r>
            <a:r>
              <a:rPr lang="da-DK" dirty="0" err="1"/>
              <a:t>icon</a:t>
            </a:r>
            <a:r>
              <a:rPr lang="da-DK" dirty="0"/>
              <a:t> to </a:t>
            </a:r>
            <a:br>
              <a:rPr lang="da-DK" dirty="0"/>
            </a:b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picture</a:t>
            </a:r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2D3BE73-D0C8-4131-8AC0-A57FFEDDCE06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647699" y="6582728"/>
            <a:ext cx="8175288" cy="27527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1219170" rtl="0" eaLnBrk="1" latinLnBrk="0" hangingPunct="1">
              <a:defRPr sz="107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Group Branding &amp; Design </a:t>
            </a:r>
            <a:endParaRPr lang="en-GB" dirty="0"/>
          </a:p>
        </p:txBody>
      </p:sp>
      <p:pic>
        <p:nvPicPr>
          <p:cNvPr id="6" name="Picture 5" descr="A picture containing fish, large, computer, sign&#10;&#10;Description automatically generated">
            <a:extLst>
              <a:ext uri="{FF2B5EF4-FFF2-40B4-BE49-F238E27FC236}">
                <a16:creationId xmlns:a16="http://schemas.microsoft.com/office/drawing/2014/main" id="{35851C95-9DFA-49E2-96BE-ACFD2E9A19C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60104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full wid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Background pattern&#10;&#10;Description automatically generated">
            <a:extLst>
              <a:ext uri="{FF2B5EF4-FFF2-40B4-BE49-F238E27FC236}">
                <a16:creationId xmlns:a16="http://schemas.microsoft.com/office/drawing/2014/main" id="{2DC8D4F3-F3AE-4F6E-95DE-6AF59D0B2FA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48076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6152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full wid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Background pattern&#10;&#10;Description automatically generated">
            <a:extLst>
              <a:ext uri="{FF2B5EF4-FFF2-40B4-BE49-F238E27FC236}">
                <a16:creationId xmlns:a16="http://schemas.microsoft.com/office/drawing/2014/main" id="{AFC6972B-3251-4B40-A6AF-0500CB1D78C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0991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3"/>
            <a:ext cx="9144000" cy="4794647"/>
          </a:xfrm>
        </p:spPr>
        <p:txBody>
          <a:bodyPr tIns="900000" anchor="ctr" anchorCtr="0"/>
          <a:lstStyle>
            <a:lvl1pPr marL="0" indent="0" algn="ctr">
              <a:buNone/>
              <a:defRPr sz="1400"/>
            </a:lvl1pPr>
          </a:lstStyle>
          <a:p>
            <a:r>
              <a:rPr lang="da-DK" err="1"/>
              <a:t>Click</a:t>
            </a:r>
            <a:r>
              <a:rPr lang="da-DK"/>
              <a:t> </a:t>
            </a:r>
            <a:r>
              <a:rPr lang="da-DK" err="1"/>
              <a:t>icon</a:t>
            </a:r>
            <a:r>
              <a:rPr lang="da-DK"/>
              <a:t> to </a:t>
            </a:r>
            <a:br>
              <a:rPr lang="da-DK"/>
            </a:b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picture</a:t>
            </a:r>
            <a:endParaRPr lang="en-US"/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8249092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ull width picture,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1"/>
            <a:ext cx="9144000" cy="4794647"/>
          </a:xfrm>
          <a:prstGeom prst="rect">
            <a:avLst/>
          </a:prstGeom>
          <a:gradFill flip="none" rotWithShape="1">
            <a:gsLst>
              <a:gs pos="0">
                <a:srgbClr val="C7C7C7"/>
              </a:gs>
              <a:gs pos="50000">
                <a:schemeClr val="bg1"/>
              </a:gs>
              <a:gs pos="100000">
                <a:srgbClr val="CDCDCD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Picture Placeholder 3">
            <a:extLst>
              <a:ext uri="{FF2B5EF4-FFF2-40B4-BE49-F238E27FC236}">
                <a16:creationId xmlns:a16="http://schemas.microsoft.com/office/drawing/2014/main" id="{958ABD7E-B5FA-40B4-8294-9A4B84C0BEE3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" y="1223319"/>
            <a:ext cx="9143999" cy="3571329"/>
          </a:xfrm>
        </p:spPr>
        <p:txBody>
          <a:bodyPr tIns="612000" anchor="ctr" anchorCtr="0"/>
          <a:lstStyle>
            <a:lvl1pPr marL="0" indent="0" algn="ctr">
              <a:buNone/>
              <a:defRPr sz="1400"/>
            </a:lvl1pPr>
          </a:lstStyle>
          <a:p>
            <a:r>
              <a:rPr lang="da-DK" dirty="0" err="1"/>
              <a:t>Click</a:t>
            </a:r>
            <a:r>
              <a:rPr lang="da-DK" dirty="0"/>
              <a:t> </a:t>
            </a:r>
            <a:r>
              <a:rPr lang="da-DK" dirty="0" err="1"/>
              <a:t>icon</a:t>
            </a:r>
            <a:r>
              <a:rPr lang="da-DK" dirty="0"/>
              <a:t> to </a:t>
            </a:r>
            <a:br>
              <a:rPr lang="da-DK" dirty="0"/>
            </a:b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picture</a:t>
            </a:r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F3CBD8C-1606-4F24-9101-224017BF30A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647699" y="6582728"/>
            <a:ext cx="8175288" cy="27527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1219170" rtl="0" eaLnBrk="1" latinLnBrk="0" hangingPunct="1">
              <a:defRPr sz="107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Group Branding &amp; Design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41354319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B6882B-EE7E-4BF4-936D-C895942431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7F8A90A-C8BA-4FA7-B188-1FF68E918B99}"/>
              </a:ext>
            </a:extLst>
          </p:cNvPr>
          <p:cNvSpPr/>
          <p:nvPr userDrawn="1"/>
        </p:nvSpPr>
        <p:spPr>
          <a:xfrm>
            <a:off x="0" y="1"/>
            <a:ext cx="9144000" cy="5143499"/>
          </a:xfrm>
          <a:prstGeom prst="rect">
            <a:avLst/>
          </a:prstGeom>
          <a:gradFill flip="none" rotWithShape="1">
            <a:gsLst>
              <a:gs pos="0">
                <a:srgbClr val="C7C7C7"/>
              </a:gs>
              <a:gs pos="50000">
                <a:schemeClr val="bg1"/>
              </a:gs>
              <a:gs pos="100000">
                <a:srgbClr val="CDCDCD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 dirty="0"/>
          </a:p>
        </p:txBody>
      </p:sp>
    </p:spTree>
    <p:extLst>
      <p:ext uri="{BB962C8B-B14F-4D97-AF65-F5344CB8AC3E}">
        <p14:creationId xmlns:p14="http://schemas.microsoft.com/office/powerpoint/2010/main" val="4083356865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White background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grpSp>
        <p:nvGrpSpPr>
          <p:cNvPr id="2" name="Gruppe 1"/>
          <p:cNvGrpSpPr/>
          <p:nvPr userDrawn="1"/>
        </p:nvGrpSpPr>
        <p:grpSpPr>
          <a:xfrm>
            <a:off x="3022895" y="1401078"/>
            <a:ext cx="3098210" cy="2341345"/>
            <a:chOff x="3009519" y="1350350"/>
            <a:chExt cx="3098210" cy="2341345"/>
          </a:xfrm>
        </p:grpSpPr>
        <p:pic>
          <p:nvPicPr>
            <p:cNvPr id="7" name="Boxlogo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09519" y="1350350"/>
              <a:ext cx="3098210" cy="13541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9" name="Picture 2"/>
            <p:cNvPicPr>
              <a:picLocks noChangeAspect="1" noChangeArrowheads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47864" y="3048390"/>
              <a:ext cx="2466000" cy="64330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819085091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88533214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0" y="1707204"/>
            <a:ext cx="2283714" cy="1714500"/>
          </a:xfrm>
          <a:ln>
            <a:noFill/>
          </a:ln>
        </p:spPr>
        <p:txBody>
          <a:bodyPr>
            <a:normAutofit/>
          </a:bodyPr>
          <a:lstStyle>
            <a:lvl1pPr>
              <a:defRPr sz="1125">
                <a:solidFill>
                  <a:srgbClr val="00B0F0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id-ID"/>
          </a:p>
        </p:txBody>
      </p:sp>
      <p:sp>
        <p:nvSpPr>
          <p:cNvPr id="20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0" y="3421704"/>
            <a:ext cx="2283714" cy="1714500"/>
          </a:xfrm>
          <a:ln>
            <a:noFill/>
          </a:ln>
        </p:spPr>
        <p:txBody>
          <a:bodyPr>
            <a:normAutofit/>
          </a:bodyPr>
          <a:lstStyle>
            <a:lvl1pPr>
              <a:defRPr sz="1125">
                <a:solidFill>
                  <a:srgbClr val="00B0F0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id-ID"/>
          </a:p>
        </p:txBody>
      </p:sp>
      <p:sp>
        <p:nvSpPr>
          <p:cNvPr id="21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2281133" y="-7296"/>
            <a:ext cx="2283714" cy="1714500"/>
          </a:xfrm>
          <a:ln>
            <a:noFill/>
          </a:ln>
        </p:spPr>
        <p:txBody>
          <a:bodyPr>
            <a:normAutofit/>
          </a:bodyPr>
          <a:lstStyle>
            <a:lvl1pPr>
              <a:defRPr sz="1125">
                <a:solidFill>
                  <a:srgbClr val="00B0F0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id-ID"/>
          </a:p>
        </p:txBody>
      </p:sp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2281133" y="1707204"/>
            <a:ext cx="2283714" cy="1714500"/>
          </a:xfrm>
          <a:ln>
            <a:noFill/>
          </a:ln>
        </p:spPr>
        <p:txBody>
          <a:bodyPr>
            <a:normAutofit/>
          </a:bodyPr>
          <a:lstStyle>
            <a:lvl1pPr>
              <a:defRPr sz="1125">
                <a:solidFill>
                  <a:srgbClr val="00B0F0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id-ID"/>
          </a:p>
        </p:txBody>
      </p:sp>
      <p:sp>
        <p:nvSpPr>
          <p:cNvPr id="23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2281133" y="3421704"/>
            <a:ext cx="2283714" cy="1714500"/>
          </a:xfrm>
          <a:ln>
            <a:noFill/>
          </a:ln>
        </p:spPr>
        <p:txBody>
          <a:bodyPr>
            <a:normAutofit/>
          </a:bodyPr>
          <a:lstStyle>
            <a:lvl1pPr>
              <a:defRPr sz="1125">
                <a:solidFill>
                  <a:srgbClr val="00B0F0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id-ID"/>
          </a:p>
        </p:txBody>
      </p:sp>
      <p:sp>
        <p:nvSpPr>
          <p:cNvPr id="24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4569563" y="-7296"/>
            <a:ext cx="2283714" cy="1714500"/>
          </a:xfrm>
          <a:ln>
            <a:noFill/>
          </a:ln>
        </p:spPr>
        <p:txBody>
          <a:bodyPr>
            <a:normAutofit/>
          </a:bodyPr>
          <a:lstStyle>
            <a:lvl1pPr>
              <a:defRPr sz="1125">
                <a:solidFill>
                  <a:srgbClr val="00B0F0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id-ID"/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4569563" y="1707204"/>
            <a:ext cx="2283714" cy="1714500"/>
          </a:xfrm>
          <a:ln>
            <a:noFill/>
          </a:ln>
        </p:spPr>
        <p:txBody>
          <a:bodyPr>
            <a:normAutofit/>
          </a:bodyPr>
          <a:lstStyle>
            <a:lvl1pPr>
              <a:defRPr sz="1125">
                <a:solidFill>
                  <a:srgbClr val="00B0F0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id-ID"/>
          </a:p>
        </p:txBody>
      </p:sp>
      <p:sp>
        <p:nvSpPr>
          <p:cNvPr id="26" name="Picture Placeholder 2"/>
          <p:cNvSpPr>
            <a:spLocks noGrp="1"/>
          </p:cNvSpPr>
          <p:nvPr>
            <p:ph type="pic" sz="quarter" idx="18"/>
          </p:nvPr>
        </p:nvSpPr>
        <p:spPr>
          <a:xfrm>
            <a:off x="4569563" y="3421704"/>
            <a:ext cx="2283714" cy="1714500"/>
          </a:xfrm>
          <a:ln>
            <a:noFill/>
          </a:ln>
        </p:spPr>
        <p:txBody>
          <a:bodyPr>
            <a:normAutofit/>
          </a:bodyPr>
          <a:lstStyle>
            <a:lvl1pPr>
              <a:defRPr sz="1125">
                <a:solidFill>
                  <a:srgbClr val="00B0F0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id-ID"/>
          </a:p>
        </p:txBody>
      </p:sp>
      <p:sp>
        <p:nvSpPr>
          <p:cNvPr id="27" name="Picture Placeholder 2"/>
          <p:cNvSpPr>
            <a:spLocks noGrp="1"/>
          </p:cNvSpPr>
          <p:nvPr>
            <p:ph type="pic" sz="quarter" idx="19"/>
          </p:nvPr>
        </p:nvSpPr>
        <p:spPr>
          <a:xfrm>
            <a:off x="6850696" y="-7296"/>
            <a:ext cx="2283714" cy="1714500"/>
          </a:xfrm>
          <a:ln>
            <a:noFill/>
          </a:ln>
        </p:spPr>
        <p:txBody>
          <a:bodyPr>
            <a:normAutofit/>
          </a:bodyPr>
          <a:lstStyle>
            <a:lvl1pPr>
              <a:defRPr sz="1125">
                <a:solidFill>
                  <a:srgbClr val="00B0F0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id-ID"/>
          </a:p>
        </p:txBody>
      </p:sp>
      <p:sp>
        <p:nvSpPr>
          <p:cNvPr id="28" name="Picture Placeholder 2"/>
          <p:cNvSpPr>
            <a:spLocks noGrp="1"/>
          </p:cNvSpPr>
          <p:nvPr>
            <p:ph type="pic" sz="quarter" idx="20"/>
          </p:nvPr>
        </p:nvSpPr>
        <p:spPr>
          <a:xfrm>
            <a:off x="6850696" y="1707204"/>
            <a:ext cx="2283714" cy="1714500"/>
          </a:xfrm>
          <a:ln>
            <a:noFill/>
          </a:ln>
        </p:spPr>
        <p:txBody>
          <a:bodyPr>
            <a:normAutofit/>
          </a:bodyPr>
          <a:lstStyle>
            <a:lvl1pPr>
              <a:defRPr sz="1125">
                <a:solidFill>
                  <a:srgbClr val="00B0F0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id-ID"/>
          </a:p>
        </p:txBody>
      </p:sp>
      <p:sp>
        <p:nvSpPr>
          <p:cNvPr id="29" name="Picture Placeholder 2"/>
          <p:cNvSpPr>
            <a:spLocks noGrp="1"/>
          </p:cNvSpPr>
          <p:nvPr>
            <p:ph type="pic" sz="quarter" idx="21"/>
          </p:nvPr>
        </p:nvSpPr>
        <p:spPr>
          <a:xfrm>
            <a:off x="6850696" y="3421704"/>
            <a:ext cx="2283714" cy="1714500"/>
          </a:xfrm>
          <a:ln>
            <a:noFill/>
          </a:ln>
        </p:spPr>
        <p:txBody>
          <a:bodyPr>
            <a:normAutofit/>
          </a:bodyPr>
          <a:lstStyle>
            <a:lvl1pPr>
              <a:defRPr sz="1125">
                <a:solidFill>
                  <a:srgbClr val="00B0F0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id-ID"/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22"/>
          </p:nvPr>
        </p:nvSpPr>
        <p:spPr>
          <a:xfrm>
            <a:off x="-7296" y="-7296"/>
            <a:ext cx="2283714" cy="1714500"/>
          </a:xfrm>
          <a:ln>
            <a:noFill/>
          </a:ln>
        </p:spPr>
        <p:txBody>
          <a:bodyPr>
            <a:normAutofit/>
          </a:bodyPr>
          <a:lstStyle>
            <a:lvl1pPr>
              <a:defRPr sz="1125">
                <a:solidFill>
                  <a:srgbClr val="00B0F0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822918135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Content Placeholder 2"/>
          <p:cNvSpPr>
            <a:spLocks noGrp="1"/>
          </p:cNvSpPr>
          <p:nvPr>
            <p:ph sz="quarter" idx="14" hasCustomPrompt="1"/>
          </p:nvPr>
        </p:nvSpPr>
        <p:spPr>
          <a:xfrm>
            <a:off x="419101" y="1222376"/>
            <a:ext cx="4067175" cy="329366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 hasCustomPrompt="1"/>
          </p:nvPr>
        </p:nvSpPr>
        <p:spPr>
          <a:xfrm>
            <a:off x="4659315" y="1222376"/>
            <a:ext cx="4068761" cy="329366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743524778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0033892-2F21-4AA7-ACF3-43D0391539A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4554000" cy="1584000"/>
          </a:xfrm>
        </p:spPr>
        <p:txBody>
          <a:bodyPr/>
          <a:lstStyle/>
          <a:p>
            <a:endParaRPr lang="da-DK"/>
          </a:p>
        </p:txBody>
      </p:sp>
      <p:sp>
        <p:nvSpPr>
          <p:cNvPr id="6" name="Picture Placeholder 4">
            <a:extLst>
              <a:ext uri="{FF2B5EF4-FFF2-40B4-BE49-F238E27FC236}">
                <a16:creationId xmlns:a16="http://schemas.microsoft.com/office/drawing/2014/main" id="{BD36A574-FD08-4033-9F62-1B15FF07F33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1606820"/>
            <a:ext cx="4554000" cy="1584000"/>
          </a:xfrm>
        </p:spPr>
        <p:txBody>
          <a:bodyPr/>
          <a:lstStyle/>
          <a:p>
            <a:endParaRPr lang="da-DK"/>
          </a:p>
        </p:txBody>
      </p:sp>
      <p:sp>
        <p:nvSpPr>
          <p:cNvPr id="7" name="Picture Placeholder 4">
            <a:extLst>
              <a:ext uri="{FF2B5EF4-FFF2-40B4-BE49-F238E27FC236}">
                <a16:creationId xmlns:a16="http://schemas.microsoft.com/office/drawing/2014/main" id="{9307C4E4-A6CC-4116-B428-A6430344C43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3214488"/>
            <a:ext cx="4554000" cy="1573200"/>
          </a:xfrm>
        </p:spPr>
        <p:txBody>
          <a:bodyPr/>
          <a:lstStyle/>
          <a:p>
            <a:endParaRPr lang="da-DK"/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824BBFAD-9369-410C-9964-ED694276E86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580661" y="0"/>
            <a:ext cx="4554000" cy="1584000"/>
          </a:xfrm>
        </p:spPr>
        <p:txBody>
          <a:bodyPr/>
          <a:lstStyle/>
          <a:p>
            <a:endParaRPr lang="da-DK"/>
          </a:p>
        </p:txBody>
      </p:sp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0D5CCB8F-A813-4500-B808-D381146EACA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580662" y="1606820"/>
            <a:ext cx="4554000" cy="1584000"/>
          </a:xfrm>
        </p:spPr>
        <p:txBody>
          <a:bodyPr/>
          <a:lstStyle/>
          <a:p>
            <a:endParaRPr lang="da-DK"/>
          </a:p>
        </p:txBody>
      </p:sp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E26B2D6E-C6EB-4128-B982-1EEE51991DB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580662" y="3214488"/>
            <a:ext cx="4554000" cy="1573200"/>
          </a:xfrm>
        </p:spPr>
        <p:txBody>
          <a:bodyPr/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531290239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ext red backdrop + pic 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C78C4D36-AACF-4916-A494-F8A88FB4332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56563" y="0"/>
            <a:ext cx="4687436" cy="4800600"/>
          </a:xfrm>
          <a:prstGeom prst="rect">
            <a:avLst/>
          </a:prstGeom>
        </p:spPr>
      </p:pic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4855464" y="221456"/>
            <a:ext cx="3872612" cy="883444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4855464" y="1480185"/>
            <a:ext cx="3866263" cy="3234690"/>
          </a:xfrm>
        </p:spPr>
        <p:txBody>
          <a:bodyPr/>
          <a:lstStyle>
            <a:lvl1pPr marL="0" indent="0">
              <a:buClr>
                <a:schemeClr val="bg1"/>
              </a:buClr>
              <a:buNone/>
              <a:defRPr>
                <a:solidFill>
                  <a:srgbClr val="FFFFFF"/>
                </a:solidFill>
              </a:defRPr>
            </a:lvl1pPr>
            <a:lvl2pPr>
              <a:buClr>
                <a:schemeClr val="bg1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bg1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bg1"/>
              </a:buClr>
              <a:defRPr>
                <a:solidFill>
                  <a:srgbClr val="FFFFFF"/>
                </a:solidFill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2" y="1"/>
            <a:ext cx="4456561" cy="5143499"/>
          </a:xfrm>
        </p:spPr>
        <p:txBody>
          <a:bodyPr tIns="612000" anchor="ctr" anchorCtr="0"/>
          <a:lstStyle>
            <a:lvl1pPr marL="0" indent="0" algn="ctr">
              <a:buNone/>
              <a:defRPr sz="1400"/>
            </a:lvl1pPr>
          </a:lstStyle>
          <a:p>
            <a:r>
              <a:rPr lang="da-DK" err="1"/>
              <a:t>Click</a:t>
            </a:r>
            <a:r>
              <a:rPr lang="da-DK"/>
              <a:t> </a:t>
            </a:r>
            <a:r>
              <a:rPr lang="da-DK" err="1"/>
              <a:t>icon</a:t>
            </a:r>
            <a:r>
              <a:rPr lang="da-DK"/>
              <a:t> to </a:t>
            </a:r>
            <a:br>
              <a:rPr lang="da-DK"/>
            </a:b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pictu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565836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72500" y="467101"/>
            <a:ext cx="8200013" cy="249299"/>
          </a:xfr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7657677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3240">
          <p15:clr>
            <a:srgbClr val="FBAE40"/>
          </p15:clr>
        </p15:guide>
      </p15:sldGuideLst>
    </p:ext>
  </p:extLs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,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1"/>
            <a:ext cx="9144000" cy="4794647"/>
          </a:xfrm>
          <a:prstGeom prst="rect">
            <a:avLst/>
          </a:prstGeom>
          <a:gradFill flip="none" rotWithShape="1">
            <a:gsLst>
              <a:gs pos="0">
                <a:srgbClr val="C7C7C7"/>
              </a:gs>
              <a:gs pos="50000">
                <a:schemeClr val="bg1"/>
              </a:gs>
              <a:gs pos="100000">
                <a:srgbClr val="CDCDCD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/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Content Placeholder 2"/>
          <p:cNvSpPr>
            <a:spLocks noGrp="1"/>
          </p:cNvSpPr>
          <p:nvPr>
            <p:ph sz="quarter" idx="14" hasCustomPrompt="1"/>
          </p:nvPr>
        </p:nvSpPr>
        <p:spPr>
          <a:xfrm>
            <a:off x="419100" y="1222376"/>
            <a:ext cx="4068000" cy="329366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 hasCustomPrompt="1"/>
          </p:nvPr>
        </p:nvSpPr>
        <p:spPr>
          <a:xfrm>
            <a:off x="4654800" y="1222376"/>
            <a:ext cx="4068000" cy="329366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34869658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27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5/26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1048578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,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1"/>
            <a:ext cx="9144000" cy="4794647"/>
          </a:xfrm>
          <a:prstGeom prst="rect">
            <a:avLst/>
          </a:prstGeom>
          <a:gradFill flip="none" rotWithShape="1">
            <a:gsLst>
              <a:gs pos="0">
                <a:srgbClr val="C7C7C7"/>
              </a:gs>
              <a:gs pos="50000">
                <a:schemeClr val="bg1"/>
              </a:gs>
              <a:gs pos="100000">
                <a:srgbClr val="CDCDCD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19101" y="1222375"/>
            <a:ext cx="8308975" cy="3293666"/>
          </a:xfrm>
        </p:spPr>
        <p:txBody>
          <a:bodyPr/>
          <a:lstStyle>
            <a:lvl1pPr>
              <a:lnSpc>
                <a:spcPct val="100000"/>
              </a:lnSpc>
              <a:defRPr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defRPr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334965173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full wid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5326086B-962C-4A82-8878-AB515B735FC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" y="1223319"/>
            <a:ext cx="9143999" cy="3571329"/>
          </a:xfrm>
        </p:spPr>
        <p:txBody>
          <a:bodyPr tIns="612000" anchor="ctr" anchorCtr="0"/>
          <a:lstStyle>
            <a:lvl1pPr marL="0" indent="0" algn="ctr">
              <a:buNone/>
              <a:defRPr sz="1400"/>
            </a:lvl1pPr>
          </a:lstStyle>
          <a:p>
            <a:r>
              <a:rPr lang="da-DK" err="1"/>
              <a:t>Click</a:t>
            </a:r>
            <a:r>
              <a:rPr lang="da-DK"/>
              <a:t> </a:t>
            </a:r>
            <a:r>
              <a:rPr lang="da-DK" err="1"/>
              <a:t>icon</a:t>
            </a:r>
            <a:r>
              <a:rPr lang="da-DK"/>
              <a:t> to </a:t>
            </a:r>
            <a:br>
              <a:rPr lang="da-DK"/>
            </a:b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pictu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73563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s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5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702"/>
            <a:ext cx="12001310" cy="5146904"/>
          </a:xfrm>
          <a:prstGeom prst="rect">
            <a:avLst/>
          </a:prstGeom>
        </p:spPr>
      </p:pic>
      <p:sp>
        <p:nvSpPr>
          <p:cNvPr id="472" name="Naslov 1"/>
          <p:cNvSpPr txBox="1">
            <a:spLocks/>
          </p:cNvSpPr>
          <p:nvPr userDrawn="1"/>
        </p:nvSpPr>
        <p:spPr>
          <a:xfrm>
            <a:off x="3580271" y="1643827"/>
            <a:ext cx="5000342" cy="185584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l-SI" sz="3600" b="1">
                <a:solidFill>
                  <a:schemeClr val="bg1"/>
                </a:solidFill>
              </a:rPr>
              <a:t>Virtus. </a:t>
            </a:r>
            <a:br>
              <a:rPr lang="sl-SI" sz="3600" b="1">
                <a:solidFill>
                  <a:schemeClr val="bg1"/>
                </a:solidFill>
              </a:rPr>
            </a:br>
            <a:r>
              <a:rPr lang="sl-SI" sz="3600" err="1">
                <a:solidFill>
                  <a:schemeClr val="bg1"/>
                </a:solidFill>
              </a:rPr>
              <a:t>Shaped</a:t>
            </a:r>
            <a:r>
              <a:rPr lang="sl-SI" sz="3600">
                <a:solidFill>
                  <a:schemeClr val="bg1"/>
                </a:solidFill>
              </a:rPr>
              <a:t> </a:t>
            </a:r>
            <a:r>
              <a:rPr lang="sl-SI" sz="3600" err="1">
                <a:solidFill>
                  <a:schemeClr val="bg1"/>
                </a:solidFill>
              </a:rPr>
              <a:t>for</a:t>
            </a:r>
            <a:r>
              <a:rPr lang="sl-SI" sz="3600">
                <a:solidFill>
                  <a:schemeClr val="bg1"/>
                </a:solidFill>
              </a:rPr>
              <a:t> </a:t>
            </a:r>
            <a:r>
              <a:rPr lang="sl-SI" sz="3600" err="1">
                <a:solidFill>
                  <a:schemeClr val="bg1"/>
                </a:solidFill>
              </a:rPr>
              <a:t>the</a:t>
            </a:r>
            <a:r>
              <a:rPr lang="sl-SI" sz="3600">
                <a:solidFill>
                  <a:schemeClr val="bg1"/>
                </a:solidFill>
              </a:rPr>
              <a:t> future </a:t>
            </a:r>
          </a:p>
        </p:txBody>
      </p:sp>
      <p:grpSp>
        <p:nvGrpSpPr>
          <p:cNvPr id="478" name="Skupina 477"/>
          <p:cNvGrpSpPr/>
          <p:nvPr userDrawn="1"/>
        </p:nvGrpSpPr>
        <p:grpSpPr>
          <a:xfrm>
            <a:off x="5950383" y="140618"/>
            <a:ext cx="3193617" cy="672571"/>
            <a:chOff x="5950383" y="140618"/>
            <a:chExt cx="3193617" cy="672571"/>
          </a:xfrm>
        </p:grpSpPr>
        <p:pic>
          <p:nvPicPr>
            <p:cNvPr id="2" name="Slika 1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950383" y="140618"/>
              <a:ext cx="3193617" cy="672571"/>
            </a:xfrm>
            <a:prstGeom prst="rect">
              <a:avLst/>
            </a:prstGeom>
          </p:spPr>
        </p:pic>
        <p:pic>
          <p:nvPicPr>
            <p:cNvPr id="4" name="Picture 10">
              <a:hlinkClick r:id="rId4" action="ppaction://hlinksldjump"/>
            </p:cNvPr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79998" y="140618"/>
              <a:ext cx="1716911" cy="43894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283668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5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022E-16 0 L -0.31163 0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48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5590" y="0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22" presetClass="entr" presetSubtype="8" fill="hold" grpId="0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" dur="1000"/>
                                        <p:tgtEl>
                                          <p:spTgt spid="4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72" grpId="0"/>
    </p:bldLst>
  </p:timing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ond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Slika 8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647"/>
          <a:stretch/>
        </p:blipFill>
        <p:spPr>
          <a:xfrm>
            <a:off x="0" y="137"/>
            <a:ext cx="9144000" cy="4801374"/>
          </a:xfrm>
          <a:prstGeom prst="rect">
            <a:avLst/>
          </a:prstGeom>
        </p:spPr>
      </p:pic>
      <p:pic>
        <p:nvPicPr>
          <p:cNvPr id="12" name="Picture 10">
            <a:hlinkClick r:id="" action="ppaction://noaction"/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0471" y="139228"/>
            <a:ext cx="1716911" cy="438944"/>
          </a:xfrm>
          <a:prstGeom prst="rect">
            <a:avLst/>
          </a:prstGeom>
        </p:spPr>
      </p:pic>
      <p:sp>
        <p:nvSpPr>
          <p:cNvPr id="6" name="Oval 174">
            <a:extLst>
              <a:ext uri="{FF2B5EF4-FFF2-40B4-BE49-F238E27FC236}">
                <a16:creationId xmlns:a16="http://schemas.microsoft.com/office/drawing/2014/main" id="{9CD57D47-37E1-4B1D-9304-8D342B129429}"/>
              </a:ext>
            </a:extLst>
          </p:cNvPr>
          <p:cNvSpPr/>
          <p:nvPr userDrawn="1"/>
        </p:nvSpPr>
        <p:spPr>
          <a:xfrm>
            <a:off x="76344" y="4366427"/>
            <a:ext cx="5502834" cy="335280"/>
          </a:xfrm>
          <a:prstGeom prst="ellipse">
            <a:avLst/>
          </a:prstGeom>
          <a:solidFill>
            <a:schemeClr val="tx1">
              <a:alpha val="15000"/>
            </a:schemeClr>
          </a:solidFill>
          <a:ln w="9525">
            <a:noFill/>
          </a:ln>
          <a:effectLst>
            <a:glow>
              <a:schemeClr val="accent1">
                <a:alpha val="40000"/>
              </a:schemeClr>
            </a:glow>
            <a:softEdge rad="889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err="1"/>
          </a:p>
        </p:txBody>
      </p:sp>
      <p:pic>
        <p:nvPicPr>
          <p:cNvPr id="7" name="Picture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0498" r="40000" b="11619"/>
          <a:stretch/>
        </p:blipFill>
        <p:spPr>
          <a:xfrm>
            <a:off x="0" y="3111590"/>
            <a:ext cx="5486400" cy="1434095"/>
          </a:xfrm>
          <a:prstGeom prst="rect">
            <a:avLst/>
          </a:prstGeom>
        </p:spPr>
      </p:pic>
      <p:grpSp>
        <p:nvGrpSpPr>
          <p:cNvPr id="13" name="Group 2">
            <a:extLst>
              <a:ext uri="{FF2B5EF4-FFF2-40B4-BE49-F238E27FC236}">
                <a16:creationId xmlns:a16="http://schemas.microsoft.com/office/drawing/2014/main" id="{1EE0937C-0627-4EDD-9BCE-B86B1D4F3EE6}"/>
              </a:ext>
            </a:extLst>
          </p:cNvPr>
          <p:cNvGrpSpPr/>
          <p:nvPr userDrawn="1"/>
        </p:nvGrpSpPr>
        <p:grpSpPr>
          <a:xfrm>
            <a:off x="198999" y="3058814"/>
            <a:ext cx="5275537" cy="1270002"/>
            <a:chOff x="2292225" y="1577180"/>
            <a:chExt cx="5275537" cy="1270002"/>
          </a:xfrm>
        </p:grpSpPr>
        <p:sp>
          <p:nvSpPr>
            <p:cNvPr id="14" name="Right Triangle 53">
              <a:extLst>
                <a:ext uri="{FF2B5EF4-FFF2-40B4-BE49-F238E27FC236}">
                  <a16:creationId xmlns:a16="http://schemas.microsoft.com/office/drawing/2014/main" id="{1C8E2205-D133-4039-89A5-C18B5C8AEBF8}"/>
                </a:ext>
              </a:extLst>
            </p:cNvPr>
            <p:cNvSpPr/>
            <p:nvPr/>
          </p:nvSpPr>
          <p:spPr>
            <a:xfrm rot="5400000">
              <a:off x="6796585" y="2076004"/>
              <a:ext cx="1270001" cy="272353"/>
            </a:xfrm>
            <a:prstGeom prst="rtTriangle">
              <a:avLst/>
            </a:prstGeom>
            <a:gradFill>
              <a:gsLst>
                <a:gs pos="66000">
                  <a:schemeClr val="tx1">
                    <a:alpha val="0"/>
                  </a:schemeClr>
                </a:gs>
                <a:gs pos="100000">
                  <a:schemeClr val="tx1">
                    <a:alpha val="40000"/>
                  </a:schemeClr>
                </a:gs>
              </a:gsLst>
              <a:lin ang="60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noProof="0" err="1"/>
            </a:p>
          </p:txBody>
        </p:sp>
        <p:sp>
          <p:nvSpPr>
            <p:cNvPr id="15" name="Right Triangle 63">
              <a:extLst>
                <a:ext uri="{FF2B5EF4-FFF2-40B4-BE49-F238E27FC236}">
                  <a16:creationId xmlns:a16="http://schemas.microsoft.com/office/drawing/2014/main" id="{C3FC8BFC-CEA1-4B1F-8FB9-7D675F6C9F95}"/>
                </a:ext>
              </a:extLst>
            </p:cNvPr>
            <p:cNvSpPr/>
            <p:nvPr/>
          </p:nvSpPr>
          <p:spPr>
            <a:xfrm rot="16200000" flipH="1">
              <a:off x="1767842" y="2101564"/>
              <a:ext cx="1270001" cy="221236"/>
            </a:xfrm>
            <a:prstGeom prst="rtTriangle">
              <a:avLst/>
            </a:prstGeom>
            <a:gradFill>
              <a:gsLst>
                <a:gs pos="66000">
                  <a:schemeClr val="tx1">
                    <a:alpha val="0"/>
                  </a:schemeClr>
                </a:gs>
                <a:gs pos="100000">
                  <a:schemeClr val="tx1">
                    <a:alpha val="40000"/>
                  </a:schemeClr>
                </a:gs>
              </a:gsLst>
              <a:lin ang="60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noProof="0" err="1"/>
            </a:p>
          </p:txBody>
        </p:sp>
      </p:grpSp>
      <p:sp>
        <p:nvSpPr>
          <p:cNvPr id="16" name="Rectangle 175">
            <a:extLst>
              <a:ext uri="{FF2B5EF4-FFF2-40B4-BE49-F238E27FC236}">
                <a16:creationId xmlns:a16="http://schemas.microsoft.com/office/drawing/2014/main" id="{024A81C0-A5D1-432B-B914-2EAB4CE702AC}"/>
              </a:ext>
            </a:extLst>
          </p:cNvPr>
          <p:cNvSpPr/>
          <p:nvPr userDrawn="1"/>
        </p:nvSpPr>
        <p:spPr>
          <a:xfrm>
            <a:off x="420686" y="2347023"/>
            <a:ext cx="4773765" cy="2069553"/>
          </a:xfrm>
          <a:prstGeom prst="rect">
            <a:avLst/>
          </a:prstGeom>
          <a:solidFill>
            <a:schemeClr val="accent1"/>
          </a:solidFill>
          <a:ln w="9525">
            <a:solidFill>
              <a:srgbClr val="E2000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689994" y="3328497"/>
            <a:ext cx="4280039" cy="868034"/>
          </a:xfrm>
        </p:spPr>
        <p:txBody>
          <a:bodyPr anchor="b" anchorCtr="0"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sl-SI"/>
              <a:t>Insert </a:t>
            </a:r>
            <a:r>
              <a:rPr lang="sl-SI" err="1"/>
              <a:t>Presentation</a:t>
            </a:r>
            <a:br>
              <a:rPr lang="sl-SI"/>
            </a:br>
            <a:r>
              <a:rPr lang="en-GB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1939150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3" presetClass="path" presetSubtype="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44444E-6 2.59259E-6 L 0.79619 2.59259E-6 " pathEditMode="relative" rAng="0" ptsTypes="AA">
                                      <p:cBhvr>
                                        <p:cTn id="9" dur="1000" spd="-100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9809" y="0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42" presetClass="path" presetSubtype="0" decel="50000" fill="hold" grpId="1" nodeType="withEffect">
                                  <p:stCondLst>
                                    <p:cond delay="1250"/>
                                  </p:stCondLst>
                                  <p:childTnLst>
                                    <p:animMotion origin="layout" path="M 1.38889E-6 -1.48148E-6 L 1.38889E-6 -0.24167 " pathEditMode="relative" rAng="0" ptsTypes="AA">
                                      <p:cBhvr>
                                        <p:cTn id="20" dur="750" spd="-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09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16" grpId="0" animBg="1"/>
      <p:bldP spid="16" grpId="1" animBg="1"/>
      <p:bldP spid="10" grpId="0"/>
      <p:bldP spid="10" grpId="1"/>
    </p:bldLst>
  </p:timing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ond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Slika 8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647"/>
          <a:stretch/>
        </p:blipFill>
        <p:spPr>
          <a:xfrm>
            <a:off x="0" y="137"/>
            <a:ext cx="9144000" cy="4801374"/>
          </a:xfrm>
          <a:prstGeom prst="rect">
            <a:avLst/>
          </a:prstGeom>
        </p:spPr>
      </p:pic>
      <p:pic>
        <p:nvPicPr>
          <p:cNvPr id="12" name="Picture 10">
            <a:hlinkClick r:id="" action="ppaction://noaction"/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0471" y="139228"/>
            <a:ext cx="1716911" cy="4389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14032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ond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Slika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647"/>
          <a:stretch/>
        </p:blipFill>
        <p:spPr>
          <a:xfrm>
            <a:off x="0" y="137"/>
            <a:ext cx="9144000" cy="4801374"/>
          </a:xfrm>
          <a:prstGeom prst="rect">
            <a:avLst/>
          </a:prstGeom>
        </p:spPr>
      </p:pic>
      <p:pic>
        <p:nvPicPr>
          <p:cNvPr id="17" name="Picture 10">
            <a:hlinkClick r:id="" action="ppaction://noaction"/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0471" y="139228"/>
            <a:ext cx="1716911" cy="438944"/>
          </a:xfrm>
          <a:prstGeom prst="rect">
            <a:avLst/>
          </a:prstGeom>
        </p:spPr>
      </p:pic>
      <p:sp>
        <p:nvSpPr>
          <p:cNvPr id="18" name="Oval 174">
            <a:extLst>
              <a:ext uri="{FF2B5EF4-FFF2-40B4-BE49-F238E27FC236}">
                <a16:creationId xmlns:a16="http://schemas.microsoft.com/office/drawing/2014/main" id="{9CD57D47-37E1-4B1D-9304-8D342B129429}"/>
              </a:ext>
            </a:extLst>
          </p:cNvPr>
          <p:cNvSpPr/>
          <p:nvPr userDrawn="1"/>
        </p:nvSpPr>
        <p:spPr>
          <a:xfrm>
            <a:off x="-94004" y="4366427"/>
            <a:ext cx="6810998" cy="335280"/>
          </a:xfrm>
          <a:prstGeom prst="ellipse">
            <a:avLst/>
          </a:prstGeom>
          <a:solidFill>
            <a:schemeClr val="tx1">
              <a:alpha val="15000"/>
            </a:schemeClr>
          </a:solidFill>
          <a:ln w="9525">
            <a:noFill/>
          </a:ln>
          <a:effectLst>
            <a:glow>
              <a:schemeClr val="accent1">
                <a:alpha val="40000"/>
              </a:schemeClr>
            </a:glow>
            <a:softEdge rad="889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pic>
        <p:nvPicPr>
          <p:cNvPr id="19" name="Picture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0498" r="16542" b="11619"/>
          <a:stretch/>
        </p:blipFill>
        <p:spPr>
          <a:xfrm>
            <a:off x="0" y="3111590"/>
            <a:ext cx="7631394" cy="1434095"/>
          </a:xfrm>
          <a:prstGeom prst="rect">
            <a:avLst/>
          </a:prstGeom>
        </p:spPr>
      </p:pic>
      <p:grpSp>
        <p:nvGrpSpPr>
          <p:cNvPr id="20" name="Group 2">
            <a:extLst>
              <a:ext uri="{FF2B5EF4-FFF2-40B4-BE49-F238E27FC236}">
                <a16:creationId xmlns:a16="http://schemas.microsoft.com/office/drawing/2014/main" id="{1EE0937C-0627-4EDD-9BCE-B86B1D4F3EE6}"/>
              </a:ext>
            </a:extLst>
          </p:cNvPr>
          <p:cNvGrpSpPr/>
          <p:nvPr userDrawn="1"/>
        </p:nvGrpSpPr>
        <p:grpSpPr>
          <a:xfrm>
            <a:off x="198999" y="3058814"/>
            <a:ext cx="6309295" cy="1270002"/>
            <a:chOff x="2292225" y="1577180"/>
            <a:chExt cx="6309295" cy="1270002"/>
          </a:xfrm>
        </p:grpSpPr>
        <p:sp>
          <p:nvSpPr>
            <p:cNvPr id="21" name="Right Triangle 53">
              <a:extLst>
                <a:ext uri="{FF2B5EF4-FFF2-40B4-BE49-F238E27FC236}">
                  <a16:creationId xmlns:a16="http://schemas.microsoft.com/office/drawing/2014/main" id="{1C8E2205-D133-4039-89A5-C18B5C8AEBF8}"/>
                </a:ext>
              </a:extLst>
            </p:cNvPr>
            <p:cNvSpPr/>
            <p:nvPr/>
          </p:nvSpPr>
          <p:spPr>
            <a:xfrm rot="5400000">
              <a:off x="7830343" y="2076004"/>
              <a:ext cx="1270001" cy="272353"/>
            </a:xfrm>
            <a:prstGeom prst="rtTriangle">
              <a:avLst/>
            </a:prstGeom>
            <a:gradFill>
              <a:gsLst>
                <a:gs pos="66000">
                  <a:schemeClr val="tx1">
                    <a:alpha val="0"/>
                  </a:schemeClr>
                </a:gs>
                <a:gs pos="100000">
                  <a:schemeClr val="tx1">
                    <a:alpha val="40000"/>
                  </a:schemeClr>
                </a:gs>
              </a:gsLst>
              <a:lin ang="60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noProof="0"/>
            </a:p>
          </p:txBody>
        </p:sp>
        <p:sp>
          <p:nvSpPr>
            <p:cNvPr id="22" name="Right Triangle 63">
              <a:extLst>
                <a:ext uri="{FF2B5EF4-FFF2-40B4-BE49-F238E27FC236}">
                  <a16:creationId xmlns:a16="http://schemas.microsoft.com/office/drawing/2014/main" id="{C3FC8BFC-CEA1-4B1F-8FB9-7D675F6C9F95}"/>
                </a:ext>
              </a:extLst>
            </p:cNvPr>
            <p:cNvSpPr/>
            <p:nvPr/>
          </p:nvSpPr>
          <p:spPr>
            <a:xfrm rot="16200000" flipH="1">
              <a:off x="1767842" y="2101564"/>
              <a:ext cx="1270001" cy="221236"/>
            </a:xfrm>
            <a:prstGeom prst="rtTriangle">
              <a:avLst/>
            </a:prstGeom>
            <a:gradFill>
              <a:gsLst>
                <a:gs pos="66000">
                  <a:schemeClr val="tx1">
                    <a:alpha val="0"/>
                  </a:schemeClr>
                </a:gs>
                <a:gs pos="100000">
                  <a:schemeClr val="tx1">
                    <a:alpha val="40000"/>
                  </a:schemeClr>
                </a:gs>
              </a:gsLst>
              <a:lin ang="60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noProof="0"/>
            </a:p>
          </p:txBody>
        </p:sp>
      </p:grpSp>
      <p:sp>
        <p:nvSpPr>
          <p:cNvPr id="23" name="Rectangle 175">
            <a:extLst>
              <a:ext uri="{FF2B5EF4-FFF2-40B4-BE49-F238E27FC236}">
                <a16:creationId xmlns:a16="http://schemas.microsoft.com/office/drawing/2014/main" id="{024A81C0-A5D1-432B-B914-2EAB4CE702AC}"/>
              </a:ext>
            </a:extLst>
          </p:cNvPr>
          <p:cNvSpPr/>
          <p:nvPr userDrawn="1"/>
        </p:nvSpPr>
        <p:spPr>
          <a:xfrm>
            <a:off x="420686" y="2347023"/>
            <a:ext cx="5809433" cy="2069553"/>
          </a:xfrm>
          <a:prstGeom prst="rect">
            <a:avLst/>
          </a:prstGeom>
          <a:solidFill>
            <a:schemeClr val="accent1"/>
          </a:solidFill>
          <a:ln w="9525">
            <a:solidFill>
              <a:srgbClr val="E2000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24" name="Title 1"/>
          <p:cNvSpPr>
            <a:spLocks noGrp="1"/>
          </p:cNvSpPr>
          <p:nvPr>
            <p:ph type="ctrTitle" hasCustomPrompt="1"/>
          </p:nvPr>
        </p:nvSpPr>
        <p:spPr>
          <a:xfrm>
            <a:off x="689994" y="3328497"/>
            <a:ext cx="4280039" cy="868034"/>
          </a:xfrm>
        </p:spPr>
        <p:txBody>
          <a:bodyPr anchor="b" anchorCtr="0"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sl-SI"/>
              <a:t>Insert </a:t>
            </a:r>
            <a:r>
              <a:rPr lang="sl-SI" err="1"/>
              <a:t>Presentation</a:t>
            </a:r>
            <a:br>
              <a:rPr lang="sl-SI"/>
            </a:br>
            <a:r>
              <a:rPr lang="en-GB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24104130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3" presetClass="path" presetSubtype="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66667E-6 2.59259E-6 L 0.79618 2.59259E-6 " pathEditMode="relative" rAng="0" ptsTypes="AA">
                                      <p:cBhvr>
                                        <p:cTn id="9" dur="1000" spd="-100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9809" y="0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42" presetClass="path" presetSubtype="0" decel="50000" fill="hold" grpId="1" nodeType="withEffect">
                                  <p:stCondLst>
                                    <p:cond delay="1250"/>
                                  </p:stCondLst>
                                  <p:childTnLst>
                                    <p:animMotion origin="layout" path="M 1.38889E-6 -1.48148E-6 L 1.38889E-6 -0.24167 " pathEditMode="relative" rAng="0" ptsTypes="AA">
                                      <p:cBhvr>
                                        <p:cTn id="20" dur="750" spd="-100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09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  <p:bldP spid="23" grpId="0" animBg="1"/>
      <p:bldP spid="23" grpId="1" animBg="1"/>
      <p:bldP spid="24" grpId="0"/>
      <p:bldP spid="24" grpId="1"/>
    </p:bldLst>
  </p:timing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ond Page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lede 3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31"/>
          <a:stretch/>
        </p:blipFill>
        <p:spPr>
          <a:xfrm>
            <a:off x="1079" y="0"/>
            <a:ext cx="9145017" cy="5143499"/>
          </a:xfrm>
          <a:prstGeom prst="rect">
            <a:avLst/>
          </a:prstGeom>
        </p:spPr>
      </p:pic>
      <p:grpSp>
        <p:nvGrpSpPr>
          <p:cNvPr id="7" name="Skupina 6"/>
          <p:cNvGrpSpPr/>
          <p:nvPr userDrawn="1"/>
        </p:nvGrpSpPr>
        <p:grpSpPr>
          <a:xfrm>
            <a:off x="5950383" y="140618"/>
            <a:ext cx="3193617" cy="672571"/>
            <a:chOff x="5950383" y="140618"/>
            <a:chExt cx="3193617" cy="672571"/>
          </a:xfrm>
        </p:grpSpPr>
        <p:pic>
          <p:nvPicPr>
            <p:cNvPr id="8" name="Slika 7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950383" y="140618"/>
              <a:ext cx="3193617" cy="672571"/>
            </a:xfrm>
            <a:prstGeom prst="rect">
              <a:avLst/>
            </a:prstGeom>
          </p:spPr>
        </p:pic>
        <p:pic>
          <p:nvPicPr>
            <p:cNvPr id="9" name="Picture 10">
              <a:hlinkClick r:id="rId4" action="ppaction://hlinksldjump"/>
            </p:cNvPr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79998" y="140618"/>
              <a:ext cx="1716911" cy="43894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73212224"/>
      </p:ext>
    </p:extLst>
  </p:cSld>
  <p:clrMapOvr>
    <a:masterClrMapping/>
  </p:clrMapOvr>
  <p:transition spd="slow">
    <p:push dir="u"/>
  </p:transition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i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lede 3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31"/>
          <a:stretch/>
        </p:blipFill>
        <p:spPr>
          <a:xfrm>
            <a:off x="1079" y="1"/>
            <a:ext cx="9145017" cy="4796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0445936"/>
      </p:ext>
    </p:extLst>
  </p:cSld>
  <p:clrMapOvr>
    <a:masterClrMapping/>
  </p:clrMapOvr>
  <p:transition spd="slow">
    <p:push dir="u"/>
  </p:transition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in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Slika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4" y="0"/>
            <a:ext cx="9141291" cy="48015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72931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in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30009447"/>
      </p:ext>
    </p:extLst>
  </p:cSld>
  <p:clrMapOvr>
    <a:masterClrMapping/>
  </p:clrMapOvr>
  <p:transition spd="slow">
    <p:push dir="u"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02952535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lain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10155" y="289237"/>
            <a:ext cx="8280000" cy="3265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cxnSp>
        <p:nvCxnSpPr>
          <p:cNvPr id="4" name="Lige forbindelse 4"/>
          <p:cNvCxnSpPr/>
          <p:nvPr userDrawn="1"/>
        </p:nvCxnSpPr>
        <p:spPr>
          <a:xfrm>
            <a:off x="410155" y="755806"/>
            <a:ext cx="828000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Označba mesta besedila 10"/>
          <p:cNvSpPr>
            <a:spLocks noGrp="1"/>
          </p:cNvSpPr>
          <p:nvPr>
            <p:ph type="body" sz="quarter" idx="10"/>
          </p:nvPr>
        </p:nvSpPr>
        <p:spPr>
          <a:xfrm>
            <a:off x="409575" y="963613"/>
            <a:ext cx="8280400" cy="3300412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sl-SI"/>
              <a:t>Uredite sloge besedila matrice</a:t>
            </a:r>
          </a:p>
          <a:p>
            <a:pPr lvl="1"/>
            <a:r>
              <a:rPr lang="sl-SI"/>
              <a:t>Druga raven</a:t>
            </a:r>
          </a:p>
          <a:p>
            <a:pPr lvl="2"/>
            <a:r>
              <a:rPr lang="sl-SI"/>
              <a:t>Tretja raven</a:t>
            </a:r>
          </a:p>
          <a:p>
            <a:pPr lvl="3"/>
            <a:r>
              <a:rPr lang="sl-SI"/>
              <a:t>Četrta raven</a:t>
            </a:r>
          </a:p>
          <a:p>
            <a:pPr lvl="4"/>
            <a:r>
              <a:rPr lang="sl-SI"/>
              <a:t>Peta rav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564610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4" presetClass="path" presetSubtype="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-2.96296E-6 L 5.55556E-7 -0.08271 " pathEditMode="relative" rAng="0" ptsTypes="AA">
                                      <p:cBhvr>
                                        <p:cTn id="9" dur="1000" spd="-100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4136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64" presetClass="path" presetSubtype="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-3.58025E-6 L 5.55556E-7 -0.08271 " pathEditMode="relative" rAng="0" ptsTypes="AA">
                                      <p:cBhvr>
                                        <p:cTn id="14" dur="1000" spd="-100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4136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64" presetClass="path" presetSubtype="0" decel="50000" fill="hold" grpId="1" nodeType="withEffect">
                                  <p:stCondLst>
                                    <p:cond delay="1250"/>
                                  </p:stCondLst>
                                  <p:childTnLst>
                                    <p:animMotion origin="layout" path="M -1.94444E-6 -1.85185E-6 L -1.94444E-6 -0.08271 " pathEditMode="relative" rAng="0" ptsTypes="AA">
                                      <p:cBhvr>
                                        <p:cTn id="19" dur="1000" spd="-100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413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2" grpId="1"/>
      <p:bldP spid="12" grpId="0">
        <p:tmplLst>
          <p:tmpl>
            <p:tnLst>
              <p:par>
                <p:cTn presetID="10" presetClass="entr" presetSubtype="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1"/>
    </p:bldLst>
  </p:timing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420687" y="982831"/>
            <a:ext cx="8307388" cy="868034"/>
          </a:xfrm>
        </p:spPr>
        <p:txBody>
          <a:bodyPr anchor="b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insert Presentation title in</a:t>
            </a:r>
            <a:br>
              <a:rPr lang="en-GB"/>
            </a:br>
            <a:r>
              <a:rPr lang="en-GB" b="1"/>
              <a:t>Verdana Bold </a:t>
            </a:r>
            <a:r>
              <a:rPr lang="en-GB"/>
              <a:t>and Verdana Regular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19101" y="1988689"/>
            <a:ext cx="8308975" cy="291820"/>
          </a:xfrm>
        </p:spPr>
        <p:txBody>
          <a:bodyPr/>
          <a:lstStyle>
            <a:lvl1pPr marL="0" indent="0" algn="l">
              <a:buNone/>
              <a:defRPr sz="14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insert name and title of presenter</a:t>
            </a:r>
          </a:p>
        </p:txBody>
      </p:sp>
      <p:pic>
        <p:nvPicPr>
          <p:cNvPr id="11" name="Picture 10">
            <a:hlinkClick r:id="" action="ppaction://noaction"/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0471" y="139228"/>
            <a:ext cx="1716911" cy="4389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47897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White background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noProof="0"/>
          </a:p>
        </p:txBody>
      </p:sp>
      <p:grpSp>
        <p:nvGrpSpPr>
          <p:cNvPr id="2" name="Gruppe 1"/>
          <p:cNvGrpSpPr/>
          <p:nvPr userDrawn="1"/>
        </p:nvGrpSpPr>
        <p:grpSpPr>
          <a:xfrm>
            <a:off x="3022895" y="1401078"/>
            <a:ext cx="3098211" cy="2341345"/>
            <a:chOff x="3009519" y="1350350"/>
            <a:chExt cx="3098210" cy="2341345"/>
          </a:xfrm>
        </p:grpSpPr>
        <p:pic>
          <p:nvPicPr>
            <p:cNvPr id="7" name="Boxlogo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09519" y="1350350"/>
              <a:ext cx="3098210" cy="13541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9" name="Picture 2"/>
            <p:cNvPicPr>
              <a:picLocks noChangeAspect="1" noChangeArrowheads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47864" y="3048390"/>
              <a:ext cx="2466000" cy="64330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717491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9101" y="1006079"/>
            <a:ext cx="8308975" cy="3495675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19105768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full slid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5326086B-962C-4A82-8878-AB515B735FC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" y="1"/>
            <a:ext cx="9143999" cy="4794647"/>
          </a:xfrm>
        </p:spPr>
        <p:txBody>
          <a:bodyPr tIns="612000" anchor="ctr" anchorCtr="0"/>
          <a:lstStyle>
            <a:lvl1pPr marL="0" indent="0" algn="ctr">
              <a:buNone/>
              <a:defRPr sz="1400"/>
            </a:lvl1pPr>
          </a:lstStyle>
          <a:p>
            <a:r>
              <a:rPr lang="da-DK" dirty="0" err="1"/>
              <a:t>Click</a:t>
            </a:r>
            <a:r>
              <a:rPr lang="da-DK" dirty="0"/>
              <a:t> </a:t>
            </a:r>
            <a:r>
              <a:rPr lang="da-DK" dirty="0" err="1"/>
              <a:t>icon</a:t>
            </a:r>
            <a:r>
              <a:rPr lang="da-DK" dirty="0"/>
              <a:t> to </a:t>
            </a:r>
            <a:br>
              <a:rPr lang="da-DK" dirty="0"/>
            </a:b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63226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s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5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702"/>
            <a:ext cx="12001310" cy="5146904"/>
          </a:xfrm>
          <a:prstGeom prst="rect">
            <a:avLst/>
          </a:prstGeom>
        </p:spPr>
      </p:pic>
      <p:sp>
        <p:nvSpPr>
          <p:cNvPr id="472" name="Naslov 1"/>
          <p:cNvSpPr txBox="1">
            <a:spLocks/>
          </p:cNvSpPr>
          <p:nvPr userDrawn="1"/>
        </p:nvSpPr>
        <p:spPr>
          <a:xfrm>
            <a:off x="3580271" y="1643827"/>
            <a:ext cx="5000342" cy="185584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l-SI" sz="3600" b="1" dirty="0">
                <a:solidFill>
                  <a:schemeClr val="bg1"/>
                </a:solidFill>
              </a:rPr>
              <a:t>Virtus. </a:t>
            </a:r>
            <a:br>
              <a:rPr lang="sl-SI" sz="3600" b="1" dirty="0">
                <a:solidFill>
                  <a:schemeClr val="bg1"/>
                </a:solidFill>
              </a:rPr>
            </a:br>
            <a:r>
              <a:rPr lang="sl-SI" sz="3600" dirty="0" err="1">
                <a:solidFill>
                  <a:schemeClr val="bg1"/>
                </a:solidFill>
              </a:rPr>
              <a:t>Shaped</a:t>
            </a:r>
            <a:r>
              <a:rPr lang="sl-SI" sz="3600" dirty="0">
                <a:solidFill>
                  <a:schemeClr val="bg1"/>
                </a:solidFill>
              </a:rPr>
              <a:t> </a:t>
            </a:r>
            <a:r>
              <a:rPr lang="sl-SI" sz="3600" dirty="0" err="1">
                <a:solidFill>
                  <a:schemeClr val="bg1"/>
                </a:solidFill>
              </a:rPr>
              <a:t>for</a:t>
            </a:r>
            <a:r>
              <a:rPr lang="sl-SI" sz="3600" dirty="0">
                <a:solidFill>
                  <a:schemeClr val="bg1"/>
                </a:solidFill>
              </a:rPr>
              <a:t> </a:t>
            </a:r>
            <a:r>
              <a:rPr lang="sl-SI" sz="3600" dirty="0" err="1">
                <a:solidFill>
                  <a:schemeClr val="bg1"/>
                </a:solidFill>
              </a:rPr>
              <a:t>the</a:t>
            </a:r>
            <a:r>
              <a:rPr lang="sl-SI" sz="3600" dirty="0">
                <a:solidFill>
                  <a:schemeClr val="bg1"/>
                </a:solidFill>
              </a:rPr>
              <a:t> future </a:t>
            </a:r>
          </a:p>
        </p:txBody>
      </p:sp>
      <p:grpSp>
        <p:nvGrpSpPr>
          <p:cNvPr id="478" name="Skupina 477"/>
          <p:cNvGrpSpPr/>
          <p:nvPr userDrawn="1"/>
        </p:nvGrpSpPr>
        <p:grpSpPr>
          <a:xfrm>
            <a:off x="5950383" y="140618"/>
            <a:ext cx="3193617" cy="672571"/>
            <a:chOff x="5950383" y="140618"/>
            <a:chExt cx="3193617" cy="672571"/>
          </a:xfrm>
        </p:grpSpPr>
        <p:pic>
          <p:nvPicPr>
            <p:cNvPr id="2" name="Slika 1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950383" y="140618"/>
              <a:ext cx="3193617" cy="672571"/>
            </a:xfrm>
            <a:prstGeom prst="rect">
              <a:avLst/>
            </a:prstGeom>
          </p:spPr>
        </p:pic>
        <p:pic>
          <p:nvPicPr>
            <p:cNvPr id="4" name="Picture 10">
              <a:hlinkClick r:id="" action="ppaction://noaction"/>
            </p:cNvPr>
            <p:cNvPicPr>
              <a:picLocks noChangeAspect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79998" y="140618"/>
              <a:ext cx="1716911" cy="43894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194920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5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022E-16 0 L -0.31163 0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48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5590" y="0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22" presetClass="entr" presetSubtype="8" fill="hold" grpId="0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" dur="1000"/>
                                        <p:tgtEl>
                                          <p:spTgt spid="4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72" grpId="0"/>
    </p:bldLst>
  </p:timing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ond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Slika 8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647"/>
          <a:stretch/>
        </p:blipFill>
        <p:spPr>
          <a:xfrm>
            <a:off x="0" y="137"/>
            <a:ext cx="9144000" cy="4801374"/>
          </a:xfrm>
          <a:prstGeom prst="rect">
            <a:avLst/>
          </a:prstGeom>
        </p:spPr>
      </p:pic>
      <p:pic>
        <p:nvPicPr>
          <p:cNvPr id="12" name="Picture 10">
            <a:hlinkClick r:id="" action="ppaction://noaction"/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0471" y="139228"/>
            <a:ext cx="1716911" cy="438944"/>
          </a:xfrm>
          <a:prstGeom prst="rect">
            <a:avLst/>
          </a:prstGeom>
        </p:spPr>
      </p:pic>
      <p:sp>
        <p:nvSpPr>
          <p:cNvPr id="6" name="Oval 174">
            <a:extLst>
              <a:ext uri="{FF2B5EF4-FFF2-40B4-BE49-F238E27FC236}">
                <a16:creationId xmlns:a16="http://schemas.microsoft.com/office/drawing/2014/main" id="{9CD57D47-37E1-4B1D-9304-8D342B129429}"/>
              </a:ext>
            </a:extLst>
          </p:cNvPr>
          <p:cNvSpPr/>
          <p:nvPr userDrawn="1"/>
        </p:nvSpPr>
        <p:spPr>
          <a:xfrm>
            <a:off x="76344" y="4366427"/>
            <a:ext cx="5502834" cy="335280"/>
          </a:xfrm>
          <a:prstGeom prst="ellipse">
            <a:avLst/>
          </a:prstGeom>
          <a:solidFill>
            <a:schemeClr val="tx1">
              <a:alpha val="15000"/>
            </a:schemeClr>
          </a:solidFill>
          <a:ln w="9525">
            <a:noFill/>
          </a:ln>
          <a:effectLst>
            <a:glow>
              <a:schemeClr val="accent1">
                <a:alpha val="40000"/>
              </a:schemeClr>
            </a:glow>
            <a:softEdge rad="889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 err="1"/>
          </a:p>
        </p:txBody>
      </p:sp>
      <p:pic>
        <p:nvPicPr>
          <p:cNvPr id="7" name="Picture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0498" r="40000" b="11619"/>
          <a:stretch/>
        </p:blipFill>
        <p:spPr>
          <a:xfrm>
            <a:off x="0" y="3111590"/>
            <a:ext cx="5486400" cy="1434095"/>
          </a:xfrm>
          <a:prstGeom prst="rect">
            <a:avLst/>
          </a:prstGeom>
        </p:spPr>
      </p:pic>
      <p:grpSp>
        <p:nvGrpSpPr>
          <p:cNvPr id="13" name="Group 2">
            <a:extLst>
              <a:ext uri="{FF2B5EF4-FFF2-40B4-BE49-F238E27FC236}">
                <a16:creationId xmlns:a16="http://schemas.microsoft.com/office/drawing/2014/main" id="{1EE0937C-0627-4EDD-9BCE-B86B1D4F3EE6}"/>
              </a:ext>
            </a:extLst>
          </p:cNvPr>
          <p:cNvGrpSpPr/>
          <p:nvPr userDrawn="1"/>
        </p:nvGrpSpPr>
        <p:grpSpPr>
          <a:xfrm>
            <a:off x="198999" y="3058814"/>
            <a:ext cx="5275537" cy="1270002"/>
            <a:chOff x="2292225" y="1577180"/>
            <a:chExt cx="5275537" cy="1270002"/>
          </a:xfrm>
        </p:grpSpPr>
        <p:sp>
          <p:nvSpPr>
            <p:cNvPr id="14" name="Right Triangle 53">
              <a:extLst>
                <a:ext uri="{FF2B5EF4-FFF2-40B4-BE49-F238E27FC236}">
                  <a16:creationId xmlns:a16="http://schemas.microsoft.com/office/drawing/2014/main" id="{1C8E2205-D133-4039-89A5-C18B5C8AEBF8}"/>
                </a:ext>
              </a:extLst>
            </p:cNvPr>
            <p:cNvSpPr/>
            <p:nvPr/>
          </p:nvSpPr>
          <p:spPr>
            <a:xfrm rot="5400000">
              <a:off x="6796585" y="2076004"/>
              <a:ext cx="1270001" cy="272353"/>
            </a:xfrm>
            <a:prstGeom prst="rtTriangle">
              <a:avLst/>
            </a:prstGeom>
            <a:gradFill>
              <a:gsLst>
                <a:gs pos="66000">
                  <a:schemeClr val="tx1">
                    <a:alpha val="0"/>
                  </a:schemeClr>
                </a:gs>
                <a:gs pos="100000">
                  <a:schemeClr val="tx1">
                    <a:alpha val="40000"/>
                  </a:schemeClr>
                </a:gs>
              </a:gsLst>
              <a:lin ang="60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noProof="0" dirty="0" err="1"/>
            </a:p>
          </p:txBody>
        </p:sp>
        <p:sp>
          <p:nvSpPr>
            <p:cNvPr id="15" name="Right Triangle 63">
              <a:extLst>
                <a:ext uri="{FF2B5EF4-FFF2-40B4-BE49-F238E27FC236}">
                  <a16:creationId xmlns:a16="http://schemas.microsoft.com/office/drawing/2014/main" id="{C3FC8BFC-CEA1-4B1F-8FB9-7D675F6C9F95}"/>
                </a:ext>
              </a:extLst>
            </p:cNvPr>
            <p:cNvSpPr/>
            <p:nvPr/>
          </p:nvSpPr>
          <p:spPr>
            <a:xfrm rot="16200000" flipH="1">
              <a:off x="1767842" y="2101564"/>
              <a:ext cx="1270001" cy="221236"/>
            </a:xfrm>
            <a:prstGeom prst="rtTriangle">
              <a:avLst/>
            </a:prstGeom>
            <a:gradFill>
              <a:gsLst>
                <a:gs pos="66000">
                  <a:schemeClr val="tx1">
                    <a:alpha val="0"/>
                  </a:schemeClr>
                </a:gs>
                <a:gs pos="100000">
                  <a:schemeClr val="tx1">
                    <a:alpha val="40000"/>
                  </a:schemeClr>
                </a:gs>
              </a:gsLst>
              <a:lin ang="60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noProof="0" dirty="0" err="1"/>
            </a:p>
          </p:txBody>
        </p:sp>
      </p:grpSp>
      <p:sp>
        <p:nvSpPr>
          <p:cNvPr id="16" name="Rectangle 175">
            <a:extLst>
              <a:ext uri="{FF2B5EF4-FFF2-40B4-BE49-F238E27FC236}">
                <a16:creationId xmlns:a16="http://schemas.microsoft.com/office/drawing/2014/main" id="{024A81C0-A5D1-432B-B914-2EAB4CE702AC}"/>
              </a:ext>
            </a:extLst>
          </p:cNvPr>
          <p:cNvSpPr/>
          <p:nvPr userDrawn="1"/>
        </p:nvSpPr>
        <p:spPr>
          <a:xfrm>
            <a:off x="420686" y="2347023"/>
            <a:ext cx="4773765" cy="2069553"/>
          </a:xfrm>
          <a:prstGeom prst="rect">
            <a:avLst/>
          </a:prstGeom>
          <a:solidFill>
            <a:schemeClr val="accent1"/>
          </a:solidFill>
          <a:ln w="9525">
            <a:solidFill>
              <a:srgbClr val="E2000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689994" y="3328497"/>
            <a:ext cx="4280039" cy="868034"/>
          </a:xfrm>
        </p:spPr>
        <p:txBody>
          <a:bodyPr anchor="b" anchorCtr="0"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sl-SI" dirty="0"/>
              <a:t>Insert </a:t>
            </a:r>
            <a:r>
              <a:rPr lang="sl-SI" dirty="0" err="1"/>
              <a:t>Presentation</a:t>
            </a:r>
            <a:br>
              <a:rPr lang="sl-SI" dirty="0"/>
            </a:br>
            <a:r>
              <a:rPr lang="en-GB" dirty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7641997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3" presetClass="path" presetSubtype="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44444E-6 2.59259E-6 L 0.79619 2.59259E-6 " pathEditMode="relative" rAng="0" ptsTypes="AA">
                                      <p:cBhvr>
                                        <p:cTn id="9" dur="1000" spd="-100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9809" y="0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42" presetClass="path" presetSubtype="0" decel="50000" fill="hold" grpId="1" nodeType="withEffect">
                                  <p:stCondLst>
                                    <p:cond delay="1250"/>
                                  </p:stCondLst>
                                  <p:childTnLst>
                                    <p:animMotion origin="layout" path="M 1.38889E-6 -1.48148E-6 L 1.38889E-6 -0.24167 " pathEditMode="relative" rAng="0" ptsTypes="AA">
                                      <p:cBhvr>
                                        <p:cTn id="20" dur="750" spd="-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09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16" grpId="0" animBg="1"/>
      <p:bldP spid="16" grpId="1" animBg="1"/>
      <p:bldP spid="10" grpId="0"/>
      <p:bldP spid="10" grpId="1"/>
    </p:bldLst>
  </p:timing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ond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Slika 8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647"/>
          <a:stretch/>
        </p:blipFill>
        <p:spPr>
          <a:xfrm>
            <a:off x="0" y="137"/>
            <a:ext cx="9144000" cy="4801374"/>
          </a:xfrm>
          <a:prstGeom prst="rect">
            <a:avLst/>
          </a:prstGeom>
        </p:spPr>
      </p:pic>
      <p:pic>
        <p:nvPicPr>
          <p:cNvPr id="12" name="Picture 10">
            <a:hlinkClick r:id="" action="ppaction://noaction"/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0471" y="139228"/>
            <a:ext cx="1716911" cy="4389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61829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ond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Slika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647"/>
          <a:stretch/>
        </p:blipFill>
        <p:spPr>
          <a:xfrm>
            <a:off x="0" y="137"/>
            <a:ext cx="9144000" cy="4801374"/>
          </a:xfrm>
          <a:prstGeom prst="rect">
            <a:avLst/>
          </a:prstGeom>
        </p:spPr>
      </p:pic>
      <p:pic>
        <p:nvPicPr>
          <p:cNvPr id="17" name="Picture 10">
            <a:hlinkClick r:id="" action="ppaction://noaction"/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0471" y="139228"/>
            <a:ext cx="1716911" cy="438944"/>
          </a:xfrm>
          <a:prstGeom prst="rect">
            <a:avLst/>
          </a:prstGeom>
        </p:spPr>
      </p:pic>
      <p:sp>
        <p:nvSpPr>
          <p:cNvPr id="18" name="Oval 174">
            <a:extLst>
              <a:ext uri="{FF2B5EF4-FFF2-40B4-BE49-F238E27FC236}">
                <a16:creationId xmlns:a16="http://schemas.microsoft.com/office/drawing/2014/main" id="{9CD57D47-37E1-4B1D-9304-8D342B129429}"/>
              </a:ext>
            </a:extLst>
          </p:cNvPr>
          <p:cNvSpPr/>
          <p:nvPr userDrawn="1"/>
        </p:nvSpPr>
        <p:spPr>
          <a:xfrm>
            <a:off x="-94004" y="4366427"/>
            <a:ext cx="6810998" cy="335280"/>
          </a:xfrm>
          <a:prstGeom prst="ellipse">
            <a:avLst/>
          </a:prstGeom>
          <a:solidFill>
            <a:schemeClr val="tx1">
              <a:alpha val="15000"/>
            </a:schemeClr>
          </a:solidFill>
          <a:ln w="9525">
            <a:noFill/>
          </a:ln>
          <a:effectLst>
            <a:glow>
              <a:schemeClr val="accent1">
                <a:alpha val="40000"/>
              </a:schemeClr>
            </a:glow>
            <a:softEdge rad="889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pic>
        <p:nvPicPr>
          <p:cNvPr id="19" name="Picture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0498" r="16542" b="11619"/>
          <a:stretch/>
        </p:blipFill>
        <p:spPr>
          <a:xfrm>
            <a:off x="0" y="3111590"/>
            <a:ext cx="7631394" cy="1434095"/>
          </a:xfrm>
          <a:prstGeom prst="rect">
            <a:avLst/>
          </a:prstGeom>
        </p:spPr>
      </p:pic>
      <p:grpSp>
        <p:nvGrpSpPr>
          <p:cNvPr id="20" name="Group 2">
            <a:extLst>
              <a:ext uri="{FF2B5EF4-FFF2-40B4-BE49-F238E27FC236}">
                <a16:creationId xmlns:a16="http://schemas.microsoft.com/office/drawing/2014/main" id="{1EE0937C-0627-4EDD-9BCE-B86B1D4F3EE6}"/>
              </a:ext>
            </a:extLst>
          </p:cNvPr>
          <p:cNvGrpSpPr/>
          <p:nvPr userDrawn="1"/>
        </p:nvGrpSpPr>
        <p:grpSpPr>
          <a:xfrm>
            <a:off x="198999" y="3058814"/>
            <a:ext cx="6309295" cy="1270002"/>
            <a:chOff x="2292225" y="1577180"/>
            <a:chExt cx="6309295" cy="1270002"/>
          </a:xfrm>
        </p:grpSpPr>
        <p:sp>
          <p:nvSpPr>
            <p:cNvPr id="21" name="Right Triangle 53">
              <a:extLst>
                <a:ext uri="{FF2B5EF4-FFF2-40B4-BE49-F238E27FC236}">
                  <a16:creationId xmlns:a16="http://schemas.microsoft.com/office/drawing/2014/main" id="{1C8E2205-D133-4039-89A5-C18B5C8AEBF8}"/>
                </a:ext>
              </a:extLst>
            </p:cNvPr>
            <p:cNvSpPr/>
            <p:nvPr/>
          </p:nvSpPr>
          <p:spPr>
            <a:xfrm rot="5400000">
              <a:off x="7830343" y="2076004"/>
              <a:ext cx="1270001" cy="272353"/>
            </a:xfrm>
            <a:prstGeom prst="rtTriangle">
              <a:avLst/>
            </a:prstGeom>
            <a:gradFill>
              <a:gsLst>
                <a:gs pos="66000">
                  <a:schemeClr val="tx1">
                    <a:alpha val="0"/>
                  </a:schemeClr>
                </a:gs>
                <a:gs pos="100000">
                  <a:schemeClr val="tx1">
                    <a:alpha val="40000"/>
                  </a:schemeClr>
                </a:gs>
              </a:gsLst>
              <a:lin ang="60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noProof="0" dirty="0"/>
            </a:p>
          </p:txBody>
        </p:sp>
        <p:sp>
          <p:nvSpPr>
            <p:cNvPr id="22" name="Right Triangle 63">
              <a:extLst>
                <a:ext uri="{FF2B5EF4-FFF2-40B4-BE49-F238E27FC236}">
                  <a16:creationId xmlns:a16="http://schemas.microsoft.com/office/drawing/2014/main" id="{C3FC8BFC-CEA1-4B1F-8FB9-7D675F6C9F95}"/>
                </a:ext>
              </a:extLst>
            </p:cNvPr>
            <p:cNvSpPr/>
            <p:nvPr/>
          </p:nvSpPr>
          <p:spPr>
            <a:xfrm rot="16200000" flipH="1">
              <a:off x="1767842" y="2101564"/>
              <a:ext cx="1270001" cy="221236"/>
            </a:xfrm>
            <a:prstGeom prst="rtTriangle">
              <a:avLst/>
            </a:prstGeom>
            <a:gradFill>
              <a:gsLst>
                <a:gs pos="66000">
                  <a:schemeClr val="tx1">
                    <a:alpha val="0"/>
                  </a:schemeClr>
                </a:gs>
                <a:gs pos="100000">
                  <a:schemeClr val="tx1">
                    <a:alpha val="40000"/>
                  </a:schemeClr>
                </a:gs>
              </a:gsLst>
              <a:lin ang="60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noProof="0" dirty="0"/>
            </a:p>
          </p:txBody>
        </p:sp>
      </p:grpSp>
      <p:sp>
        <p:nvSpPr>
          <p:cNvPr id="23" name="Rectangle 175">
            <a:extLst>
              <a:ext uri="{FF2B5EF4-FFF2-40B4-BE49-F238E27FC236}">
                <a16:creationId xmlns:a16="http://schemas.microsoft.com/office/drawing/2014/main" id="{024A81C0-A5D1-432B-B914-2EAB4CE702AC}"/>
              </a:ext>
            </a:extLst>
          </p:cNvPr>
          <p:cNvSpPr/>
          <p:nvPr userDrawn="1"/>
        </p:nvSpPr>
        <p:spPr>
          <a:xfrm>
            <a:off x="420686" y="2347023"/>
            <a:ext cx="5809433" cy="2069553"/>
          </a:xfrm>
          <a:prstGeom prst="rect">
            <a:avLst/>
          </a:prstGeom>
          <a:solidFill>
            <a:schemeClr val="accent1"/>
          </a:solidFill>
          <a:ln w="9525">
            <a:solidFill>
              <a:srgbClr val="E2000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sp>
        <p:nvSpPr>
          <p:cNvPr id="24" name="Title 1"/>
          <p:cNvSpPr>
            <a:spLocks noGrp="1"/>
          </p:cNvSpPr>
          <p:nvPr>
            <p:ph type="ctrTitle" hasCustomPrompt="1"/>
          </p:nvPr>
        </p:nvSpPr>
        <p:spPr>
          <a:xfrm>
            <a:off x="689994" y="3328497"/>
            <a:ext cx="4280039" cy="868034"/>
          </a:xfrm>
        </p:spPr>
        <p:txBody>
          <a:bodyPr anchor="b" anchorCtr="0"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sl-SI" dirty="0"/>
              <a:t>Insert </a:t>
            </a:r>
            <a:r>
              <a:rPr lang="sl-SI" dirty="0" err="1"/>
              <a:t>Presentation</a:t>
            </a:r>
            <a:br>
              <a:rPr lang="sl-SI" dirty="0"/>
            </a:br>
            <a:r>
              <a:rPr lang="en-GB" dirty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24943782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3" presetClass="path" presetSubtype="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66667E-6 2.59259E-6 L 0.79618 2.59259E-6 " pathEditMode="relative" rAng="0" ptsTypes="AA">
                                      <p:cBhvr>
                                        <p:cTn id="9" dur="1000" spd="-100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9809" y="0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42" presetClass="path" presetSubtype="0" decel="50000" fill="hold" grpId="1" nodeType="withEffect">
                                  <p:stCondLst>
                                    <p:cond delay="1250"/>
                                  </p:stCondLst>
                                  <p:childTnLst>
                                    <p:animMotion origin="layout" path="M 1.38889E-6 -1.48148E-6 L 1.38889E-6 -0.24167 " pathEditMode="relative" rAng="0" ptsTypes="AA">
                                      <p:cBhvr>
                                        <p:cTn id="20" dur="750" spd="-100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09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  <p:bldP spid="23" grpId="0" animBg="1"/>
      <p:bldP spid="23" grpId="1" animBg="1"/>
      <p:bldP spid="24" grpId="0"/>
      <p:bldP spid="24" grpId="1"/>
    </p:bldLst>
  </p:timing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ond Page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lede 3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31"/>
          <a:stretch/>
        </p:blipFill>
        <p:spPr>
          <a:xfrm>
            <a:off x="1079" y="0"/>
            <a:ext cx="9145017" cy="5143499"/>
          </a:xfrm>
          <a:prstGeom prst="rect">
            <a:avLst/>
          </a:prstGeom>
        </p:spPr>
      </p:pic>
      <p:grpSp>
        <p:nvGrpSpPr>
          <p:cNvPr id="7" name="Skupina 6"/>
          <p:cNvGrpSpPr/>
          <p:nvPr userDrawn="1"/>
        </p:nvGrpSpPr>
        <p:grpSpPr>
          <a:xfrm>
            <a:off x="5950383" y="140618"/>
            <a:ext cx="3193617" cy="672571"/>
            <a:chOff x="5950383" y="140618"/>
            <a:chExt cx="3193617" cy="672571"/>
          </a:xfrm>
        </p:grpSpPr>
        <p:pic>
          <p:nvPicPr>
            <p:cNvPr id="8" name="Slika 7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950383" y="140618"/>
              <a:ext cx="3193617" cy="672571"/>
            </a:xfrm>
            <a:prstGeom prst="rect">
              <a:avLst/>
            </a:prstGeom>
          </p:spPr>
        </p:pic>
        <p:pic>
          <p:nvPicPr>
            <p:cNvPr id="9" name="Picture 10">
              <a:hlinkClick r:id="" action="ppaction://noaction"/>
            </p:cNvPr>
            <p:cNvPicPr>
              <a:picLocks noChangeAspect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79998" y="140618"/>
              <a:ext cx="1716911" cy="43894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39294271"/>
      </p:ext>
    </p:extLst>
  </p:cSld>
  <p:clrMapOvr>
    <a:masterClrMapping/>
  </p:clrMapOvr>
  <p:transition spd="slow">
    <p:push dir="u"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ackdrop single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0"/>
            <a:ext cx="9144000" cy="8748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-</a:t>
            </a:r>
          </a:p>
        </p:txBody>
      </p:sp>
      <p:sp>
        <p:nvSpPr>
          <p:cNvPr id="22" name="Logo top"/>
          <p:cNvSpPr>
            <a:spLocks noGrp="1"/>
          </p:cNvSpPr>
          <p:nvPr>
            <p:ph type="body" sz="quarter" idx="15" hasCustomPrompt="1"/>
          </p:nvPr>
        </p:nvSpPr>
        <p:spPr>
          <a:xfrm>
            <a:off x="7070400" y="0"/>
            <a:ext cx="2073600" cy="84240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-</a:t>
            </a: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420687" y="982831"/>
            <a:ext cx="8307388" cy="868034"/>
          </a:xfrm>
        </p:spPr>
        <p:txBody>
          <a:bodyPr anchor="b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insert Presentation title in</a:t>
            </a:r>
            <a:br>
              <a:rPr lang="en-GB" dirty="0"/>
            </a:br>
            <a:r>
              <a:rPr lang="en-GB" b="1" dirty="0"/>
              <a:t>Verdana Bold </a:t>
            </a:r>
            <a:r>
              <a:rPr lang="en-GB" dirty="0"/>
              <a:t>and Verdana Regular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19099" y="1988689"/>
            <a:ext cx="8308975" cy="291820"/>
          </a:xfrm>
        </p:spPr>
        <p:txBody>
          <a:bodyPr/>
          <a:lstStyle>
            <a:lvl1pPr marL="0" indent="0" algn="l">
              <a:buNone/>
              <a:defRPr sz="14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insert name and title of presenter</a:t>
            </a:r>
          </a:p>
        </p:txBody>
      </p:sp>
    </p:spTree>
    <p:extLst>
      <p:ext uri="{BB962C8B-B14F-4D97-AF65-F5344CB8AC3E}">
        <p14:creationId xmlns:p14="http://schemas.microsoft.com/office/powerpoint/2010/main" val="4160955570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i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lede 3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31"/>
          <a:stretch/>
        </p:blipFill>
        <p:spPr>
          <a:xfrm>
            <a:off x="1079" y="1"/>
            <a:ext cx="9145017" cy="4796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6490791"/>
      </p:ext>
    </p:extLst>
  </p:cSld>
  <p:clrMapOvr>
    <a:masterClrMapping/>
  </p:clrMapOvr>
  <p:transition spd="slow">
    <p:push dir="u"/>
  </p:transition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in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Slika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4" y="0"/>
            <a:ext cx="9141291" cy="48015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09900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in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05481966"/>
      </p:ext>
    </p:extLst>
  </p:cSld>
  <p:clrMapOvr>
    <a:masterClrMapping/>
  </p:clrMapOvr>
  <p:transition spd="slow">
    <p:push dir="u"/>
  </p:transition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lain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10155" y="289237"/>
            <a:ext cx="8280000" cy="3265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cxnSp>
        <p:nvCxnSpPr>
          <p:cNvPr id="4" name="Lige forbindelse 4"/>
          <p:cNvCxnSpPr/>
          <p:nvPr userDrawn="1"/>
        </p:nvCxnSpPr>
        <p:spPr>
          <a:xfrm>
            <a:off x="410155" y="755806"/>
            <a:ext cx="828000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Označba mesta besedila 10"/>
          <p:cNvSpPr>
            <a:spLocks noGrp="1"/>
          </p:cNvSpPr>
          <p:nvPr>
            <p:ph type="body" sz="quarter" idx="10"/>
          </p:nvPr>
        </p:nvSpPr>
        <p:spPr>
          <a:xfrm>
            <a:off x="409575" y="963613"/>
            <a:ext cx="8280400" cy="3300412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sl-SI" dirty="0"/>
              <a:t>Uredite sloge besedila matrice</a:t>
            </a:r>
          </a:p>
          <a:p>
            <a:pPr lvl="1"/>
            <a:r>
              <a:rPr lang="sl-SI" dirty="0"/>
              <a:t>Druga raven</a:t>
            </a:r>
          </a:p>
          <a:p>
            <a:pPr lvl="2"/>
            <a:r>
              <a:rPr lang="sl-SI" dirty="0"/>
              <a:t>Tretja raven</a:t>
            </a:r>
          </a:p>
          <a:p>
            <a:pPr lvl="3"/>
            <a:r>
              <a:rPr lang="sl-SI" dirty="0"/>
              <a:t>Četrta raven</a:t>
            </a:r>
          </a:p>
          <a:p>
            <a:pPr lvl="4"/>
            <a:r>
              <a:rPr lang="sl-SI" dirty="0"/>
              <a:t>Peta rav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7999466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4" presetClass="path" presetSubtype="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-2.96296E-6 L 5.55556E-7 -0.08271 " pathEditMode="relative" rAng="0" ptsTypes="AA">
                                      <p:cBhvr>
                                        <p:cTn id="9" dur="1000" spd="-100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4136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64" presetClass="path" presetSubtype="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-3.58025E-6 L 5.55556E-7 -0.08271 " pathEditMode="relative" rAng="0" ptsTypes="AA">
                                      <p:cBhvr>
                                        <p:cTn id="14" dur="1000" spd="-100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4136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64" presetClass="path" presetSubtype="0" decel="50000" fill="hold" grpId="1" nodeType="withEffect">
                                  <p:stCondLst>
                                    <p:cond delay="1250"/>
                                  </p:stCondLst>
                                  <p:childTnLst>
                                    <p:animMotion origin="layout" path="M -1.94444E-6 -1.85185E-6 L -1.94444E-6 -0.08271 " pathEditMode="relative" rAng="0" ptsTypes="AA">
                                      <p:cBhvr>
                                        <p:cTn id="19" dur="1000" spd="-100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413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2" grpId="1"/>
      <p:bldP spid="12" grpId="0">
        <p:tmplLst>
          <p:tmpl>
            <p:tnLst>
              <p:par>
                <p:cTn presetID="10" presetClass="entr" presetSubtype="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1"/>
    </p:bldLst>
  </p:timing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420687" y="982831"/>
            <a:ext cx="8307388" cy="868034"/>
          </a:xfrm>
        </p:spPr>
        <p:txBody>
          <a:bodyPr anchor="b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insert Presentation title in</a:t>
            </a:r>
            <a:br>
              <a:rPr lang="en-GB" dirty="0"/>
            </a:br>
            <a:r>
              <a:rPr lang="en-GB" b="1" dirty="0"/>
              <a:t>Verdana Bold </a:t>
            </a:r>
            <a:r>
              <a:rPr lang="en-GB" dirty="0"/>
              <a:t>and Verdana Regular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19101" y="1988689"/>
            <a:ext cx="8308975" cy="291820"/>
          </a:xfrm>
        </p:spPr>
        <p:txBody>
          <a:bodyPr/>
          <a:lstStyle>
            <a:lvl1pPr marL="0" indent="0" algn="l">
              <a:buNone/>
              <a:defRPr sz="14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insert name and title of presenter</a:t>
            </a:r>
          </a:p>
        </p:txBody>
      </p:sp>
      <p:pic>
        <p:nvPicPr>
          <p:cNvPr id="11" name="Picture 10">
            <a:hlinkClick r:id="" action="ppaction://noaction"/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0471" y="139228"/>
            <a:ext cx="1716911" cy="4389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56152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White background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noProof="0" dirty="0"/>
          </a:p>
        </p:txBody>
      </p:sp>
      <p:grpSp>
        <p:nvGrpSpPr>
          <p:cNvPr id="2" name="Gruppe 1"/>
          <p:cNvGrpSpPr/>
          <p:nvPr userDrawn="1"/>
        </p:nvGrpSpPr>
        <p:grpSpPr>
          <a:xfrm>
            <a:off x="3022895" y="1401078"/>
            <a:ext cx="3098211" cy="2341345"/>
            <a:chOff x="3009519" y="1350350"/>
            <a:chExt cx="3098210" cy="2341345"/>
          </a:xfrm>
        </p:grpSpPr>
        <p:pic>
          <p:nvPicPr>
            <p:cNvPr id="7" name="Boxlogo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09519" y="1350350"/>
              <a:ext cx="3098210" cy="13541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9" name="Picture 2"/>
            <p:cNvPicPr>
              <a:picLocks noChangeAspect="1" noChangeArrowheads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47864" y="3048390"/>
              <a:ext cx="2466000" cy="64330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0020472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 II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Slika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8402" y="-26126"/>
            <a:ext cx="9171870" cy="5447212"/>
          </a:xfrm>
          <a:prstGeom prst="rect">
            <a:avLst/>
          </a:prstGeom>
        </p:spPr>
      </p:pic>
      <p:pic>
        <p:nvPicPr>
          <p:cNvPr id="7" name="Slika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8402" y="-26126"/>
            <a:ext cx="9171869" cy="5447212"/>
          </a:xfrm>
          <a:prstGeom prst="rect">
            <a:avLst/>
          </a:prstGeom>
        </p:spPr>
      </p:pic>
      <p:pic>
        <p:nvPicPr>
          <p:cNvPr id="8" name="Slika 7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041" y="161638"/>
            <a:ext cx="3245590" cy="481053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420687" y="982831"/>
            <a:ext cx="2759483" cy="2942368"/>
          </a:xfrm>
        </p:spPr>
        <p:txBody>
          <a:bodyPr anchor="b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insert Presentation title in</a:t>
            </a:r>
            <a:br>
              <a:rPr lang="en-GB" dirty="0"/>
            </a:br>
            <a:r>
              <a:rPr lang="en-GB" b="1" dirty="0"/>
              <a:t>Verdana Bold </a:t>
            </a:r>
            <a:r>
              <a:rPr lang="en-GB" dirty="0"/>
              <a:t>and Verdana Regular</a:t>
            </a: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419099" y="4154320"/>
            <a:ext cx="2825807" cy="585910"/>
          </a:xfrm>
        </p:spPr>
        <p:txBody>
          <a:bodyPr/>
          <a:lstStyle>
            <a:lvl1pPr marL="0" indent="0" algn="l">
              <a:buNone/>
              <a:defRPr sz="14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insert name and title of presenter</a:t>
            </a:r>
          </a:p>
        </p:txBody>
      </p:sp>
      <p:pic>
        <p:nvPicPr>
          <p:cNvPr id="23" name="Slika 22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958" y="316820"/>
            <a:ext cx="3282673" cy="691326"/>
          </a:xfrm>
          <a:prstGeom prst="rect">
            <a:avLst/>
          </a:prstGeom>
        </p:spPr>
      </p:pic>
      <p:pic>
        <p:nvPicPr>
          <p:cNvPr id="24" name="Picture 10">
            <a:hlinkClick r:id="" action="ppaction://noaction"/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6650" y="316820"/>
            <a:ext cx="1764788" cy="451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07926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2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5" presetClass="path" presetSubtype="0" accel="50000" decel="5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-0.39271 -4.07407E-6 L -0.00018 -4.07407E-6 " pathEditMode="relative" rAng="0" ptsTypes="AA">
                                      <p:cBhvr>
                                        <p:cTn id="12" dur="12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9635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2250"/>
                            </p:stCondLst>
                            <p:childTnLst>
                              <p:par>
                                <p:cTn id="1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2750"/>
                            </p:stCondLst>
                            <p:childTnLst>
                              <p:par>
                                <p:cTn id="18" presetID="21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20" dur="2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65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7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>
        <p:tmplLst>
          <p:tmpl>
            <p:tnLst>
              <p:par>
                <p:cTn presetID="10" presetClass="entr" presetSubtype="0" fill="hold" nodeType="withEffect">
                  <p:stCondLst>
                    <p:cond delay="6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75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2836794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45" imgH="245" progId="TCLayout.ActiveDocument.1">
                  <p:embed/>
                </p:oleObj>
              </mc:Choice>
              <mc:Fallback>
                <p:oleObj name="think-cell Slide" r:id="rId4" imgW="245" imgH="24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D94DC1C-B7FA-40FA-9753-FFE536FBEAF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60A11"/>
          </a:solidFill>
          <a:ln w="9525">
            <a:solidFill>
              <a:srgbClr val="E60A1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100" b="0" i="0" baseline="0" noProof="0" dirty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3" name="Rectangle 2"/>
          <p:cNvSpPr/>
          <p:nvPr userDrawn="1"/>
        </p:nvSpPr>
        <p:spPr>
          <a:xfrm>
            <a:off x="0" y="3"/>
            <a:ext cx="9144000" cy="4855028"/>
          </a:xfrm>
          <a:prstGeom prst="rect">
            <a:avLst/>
          </a:prstGeom>
          <a:gradFill flip="none" rotWithShape="1">
            <a:gsLst>
              <a:gs pos="0">
                <a:srgbClr val="CFCFCF"/>
              </a:gs>
              <a:gs pos="50000">
                <a:schemeClr val="bg1"/>
              </a:gs>
              <a:gs pos="100000">
                <a:srgbClr val="E4E4E4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6400" y="266401"/>
            <a:ext cx="8229600" cy="62077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6401" y="987425"/>
            <a:ext cx="8445500" cy="366712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71676070"/>
      </p:ext>
    </p:extLst>
  </p:cSld>
  <p:clrMapOvr>
    <a:masterClrMapping/>
  </p:clrMapOvr>
  <p:transition spd="med">
    <p:fade/>
  </p:transition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19101" y="1222375"/>
            <a:ext cx="8308975" cy="3279378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4110530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, white">
    <p:bg>
      <p:bgPr>
        <a:solidFill>
          <a:schemeClr val="bg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9104" y="1222375"/>
            <a:ext cx="8308975" cy="3279378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4542805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9100" y="1222375"/>
            <a:ext cx="8308975" cy="3279378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68981000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2B12546C-A2BF-4562-89C1-D900CB8E140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9144000" cy="51435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825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icon to change picture</a:t>
            </a:r>
            <a:endParaRPr lang="en-GB" dirty="0"/>
          </a:p>
        </p:txBody>
      </p:sp>
      <p:sp>
        <p:nvSpPr>
          <p:cNvPr id="10" name="Backdrop single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0"/>
            <a:ext cx="9144000" cy="231840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-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20687" y="982831"/>
            <a:ext cx="8307388" cy="868034"/>
          </a:xfrm>
        </p:spPr>
        <p:txBody>
          <a:bodyPr anchor="b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insert Presentation title in</a:t>
            </a:r>
            <a:br>
              <a:rPr lang="en-GB" dirty="0"/>
            </a:br>
            <a:r>
              <a:rPr lang="en-GB" b="1" dirty="0"/>
              <a:t>Verdana Bold </a:t>
            </a:r>
            <a:r>
              <a:rPr lang="en-GB" dirty="0"/>
              <a:t>and Verdana Regular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19099" y="1988690"/>
            <a:ext cx="8308975" cy="291820"/>
          </a:xfrm>
        </p:spPr>
        <p:txBody>
          <a:bodyPr/>
          <a:lstStyle>
            <a:lvl1pPr marL="0" indent="0" algn="l">
              <a:buNone/>
              <a:defRPr sz="1400" baseline="0">
                <a:solidFill>
                  <a:schemeClr val="bg1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insert name and title of presenter</a:t>
            </a:r>
          </a:p>
        </p:txBody>
      </p:sp>
      <p:sp>
        <p:nvSpPr>
          <p:cNvPr id="8" name="Pladsholder til tekst 18">
            <a:extLst>
              <a:ext uri="{FF2B5EF4-FFF2-40B4-BE49-F238E27FC236}">
                <a16:creationId xmlns:a16="http://schemas.microsoft.com/office/drawing/2014/main" id="{C5A05979-A0A9-924C-B238-F2333E5C385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125089" y="290448"/>
            <a:ext cx="1722600" cy="440100"/>
          </a:xfrm>
          <a:blipFill>
            <a:blip r:embed="rId4" cstate="print"/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/>
            </a:lvl1pPr>
            <a:lvl2pPr marL="188909" indent="0">
              <a:buFontTx/>
              <a:buNone/>
              <a:defRPr/>
            </a:lvl2pPr>
            <a:lvl3pPr marL="360353" indent="0">
              <a:buFontTx/>
              <a:buNone/>
              <a:defRPr/>
            </a:lvl3pPr>
            <a:lvl4pPr marL="542912" indent="0"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da-DK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900842836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1367492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0" y="1707204"/>
            <a:ext cx="2283714" cy="1714500"/>
          </a:xfrm>
          <a:ln>
            <a:noFill/>
          </a:ln>
        </p:spPr>
        <p:txBody>
          <a:bodyPr>
            <a:normAutofit/>
          </a:bodyPr>
          <a:lstStyle>
            <a:lvl1pPr>
              <a:defRPr sz="1125">
                <a:solidFill>
                  <a:srgbClr val="00B0F0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id-ID"/>
          </a:p>
        </p:txBody>
      </p:sp>
      <p:sp>
        <p:nvSpPr>
          <p:cNvPr id="20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0" y="3421704"/>
            <a:ext cx="2283714" cy="1714500"/>
          </a:xfrm>
          <a:ln>
            <a:noFill/>
          </a:ln>
        </p:spPr>
        <p:txBody>
          <a:bodyPr>
            <a:normAutofit/>
          </a:bodyPr>
          <a:lstStyle>
            <a:lvl1pPr>
              <a:defRPr sz="1125">
                <a:solidFill>
                  <a:srgbClr val="00B0F0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id-ID"/>
          </a:p>
        </p:txBody>
      </p:sp>
      <p:sp>
        <p:nvSpPr>
          <p:cNvPr id="21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2281133" y="-7296"/>
            <a:ext cx="2283714" cy="1714500"/>
          </a:xfrm>
          <a:ln>
            <a:noFill/>
          </a:ln>
        </p:spPr>
        <p:txBody>
          <a:bodyPr>
            <a:normAutofit/>
          </a:bodyPr>
          <a:lstStyle>
            <a:lvl1pPr>
              <a:defRPr sz="1125">
                <a:solidFill>
                  <a:srgbClr val="00B0F0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id-ID"/>
          </a:p>
        </p:txBody>
      </p:sp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2281133" y="1707204"/>
            <a:ext cx="2283714" cy="1714500"/>
          </a:xfrm>
          <a:ln>
            <a:noFill/>
          </a:ln>
        </p:spPr>
        <p:txBody>
          <a:bodyPr>
            <a:normAutofit/>
          </a:bodyPr>
          <a:lstStyle>
            <a:lvl1pPr>
              <a:defRPr sz="1125">
                <a:solidFill>
                  <a:srgbClr val="00B0F0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id-ID"/>
          </a:p>
        </p:txBody>
      </p:sp>
      <p:sp>
        <p:nvSpPr>
          <p:cNvPr id="23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2281133" y="3421704"/>
            <a:ext cx="2283714" cy="1714500"/>
          </a:xfrm>
          <a:ln>
            <a:noFill/>
          </a:ln>
        </p:spPr>
        <p:txBody>
          <a:bodyPr>
            <a:normAutofit/>
          </a:bodyPr>
          <a:lstStyle>
            <a:lvl1pPr>
              <a:defRPr sz="1125">
                <a:solidFill>
                  <a:srgbClr val="00B0F0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id-ID"/>
          </a:p>
        </p:txBody>
      </p:sp>
      <p:sp>
        <p:nvSpPr>
          <p:cNvPr id="24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4569563" y="-7296"/>
            <a:ext cx="2283714" cy="1714500"/>
          </a:xfrm>
          <a:ln>
            <a:noFill/>
          </a:ln>
        </p:spPr>
        <p:txBody>
          <a:bodyPr>
            <a:normAutofit/>
          </a:bodyPr>
          <a:lstStyle>
            <a:lvl1pPr>
              <a:defRPr sz="1125">
                <a:solidFill>
                  <a:srgbClr val="00B0F0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id-ID"/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4569563" y="1707204"/>
            <a:ext cx="2283714" cy="1714500"/>
          </a:xfrm>
          <a:ln>
            <a:noFill/>
          </a:ln>
        </p:spPr>
        <p:txBody>
          <a:bodyPr>
            <a:normAutofit/>
          </a:bodyPr>
          <a:lstStyle>
            <a:lvl1pPr>
              <a:defRPr sz="1125">
                <a:solidFill>
                  <a:srgbClr val="00B0F0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id-ID"/>
          </a:p>
        </p:txBody>
      </p:sp>
      <p:sp>
        <p:nvSpPr>
          <p:cNvPr id="26" name="Picture Placeholder 2"/>
          <p:cNvSpPr>
            <a:spLocks noGrp="1"/>
          </p:cNvSpPr>
          <p:nvPr>
            <p:ph type="pic" sz="quarter" idx="18"/>
          </p:nvPr>
        </p:nvSpPr>
        <p:spPr>
          <a:xfrm>
            <a:off x="4569563" y="3421704"/>
            <a:ext cx="2283714" cy="1714500"/>
          </a:xfrm>
          <a:ln>
            <a:noFill/>
          </a:ln>
        </p:spPr>
        <p:txBody>
          <a:bodyPr>
            <a:normAutofit/>
          </a:bodyPr>
          <a:lstStyle>
            <a:lvl1pPr>
              <a:defRPr sz="1125">
                <a:solidFill>
                  <a:srgbClr val="00B0F0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id-ID"/>
          </a:p>
        </p:txBody>
      </p:sp>
      <p:sp>
        <p:nvSpPr>
          <p:cNvPr id="27" name="Picture Placeholder 2"/>
          <p:cNvSpPr>
            <a:spLocks noGrp="1"/>
          </p:cNvSpPr>
          <p:nvPr>
            <p:ph type="pic" sz="quarter" idx="19"/>
          </p:nvPr>
        </p:nvSpPr>
        <p:spPr>
          <a:xfrm>
            <a:off x="6850696" y="-7296"/>
            <a:ext cx="2283714" cy="1714500"/>
          </a:xfrm>
          <a:ln>
            <a:noFill/>
          </a:ln>
        </p:spPr>
        <p:txBody>
          <a:bodyPr>
            <a:normAutofit/>
          </a:bodyPr>
          <a:lstStyle>
            <a:lvl1pPr>
              <a:defRPr sz="1125">
                <a:solidFill>
                  <a:srgbClr val="00B0F0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id-ID"/>
          </a:p>
        </p:txBody>
      </p:sp>
      <p:sp>
        <p:nvSpPr>
          <p:cNvPr id="28" name="Picture Placeholder 2"/>
          <p:cNvSpPr>
            <a:spLocks noGrp="1"/>
          </p:cNvSpPr>
          <p:nvPr>
            <p:ph type="pic" sz="quarter" idx="20"/>
          </p:nvPr>
        </p:nvSpPr>
        <p:spPr>
          <a:xfrm>
            <a:off x="6850696" y="1707204"/>
            <a:ext cx="2283714" cy="1714500"/>
          </a:xfrm>
          <a:ln>
            <a:noFill/>
          </a:ln>
        </p:spPr>
        <p:txBody>
          <a:bodyPr>
            <a:normAutofit/>
          </a:bodyPr>
          <a:lstStyle>
            <a:lvl1pPr>
              <a:defRPr sz="1125">
                <a:solidFill>
                  <a:srgbClr val="00B0F0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id-ID"/>
          </a:p>
        </p:txBody>
      </p:sp>
      <p:sp>
        <p:nvSpPr>
          <p:cNvPr id="29" name="Picture Placeholder 2"/>
          <p:cNvSpPr>
            <a:spLocks noGrp="1"/>
          </p:cNvSpPr>
          <p:nvPr>
            <p:ph type="pic" sz="quarter" idx="21"/>
          </p:nvPr>
        </p:nvSpPr>
        <p:spPr>
          <a:xfrm>
            <a:off x="6850696" y="3421704"/>
            <a:ext cx="2283714" cy="1714500"/>
          </a:xfrm>
          <a:ln>
            <a:noFill/>
          </a:ln>
        </p:spPr>
        <p:txBody>
          <a:bodyPr>
            <a:normAutofit/>
          </a:bodyPr>
          <a:lstStyle>
            <a:lvl1pPr>
              <a:defRPr sz="1125">
                <a:solidFill>
                  <a:srgbClr val="00B0F0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id-ID"/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22"/>
          </p:nvPr>
        </p:nvSpPr>
        <p:spPr>
          <a:xfrm>
            <a:off x="-7296" y="-7296"/>
            <a:ext cx="2283714" cy="1714500"/>
          </a:xfrm>
          <a:ln>
            <a:noFill/>
          </a:ln>
        </p:spPr>
        <p:txBody>
          <a:bodyPr>
            <a:normAutofit/>
          </a:bodyPr>
          <a:lstStyle>
            <a:lvl1pPr>
              <a:defRPr sz="1125">
                <a:solidFill>
                  <a:srgbClr val="00B0F0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693106794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406401" y="210883"/>
            <a:ext cx="7566659" cy="323165"/>
          </a:xfrm>
        </p:spPr>
        <p:txBody>
          <a:bodyPr lIns="0" tIns="0" rIns="0" bIns="0"/>
          <a:lstStyle>
            <a:lvl1pPr>
              <a:defRPr sz="2100" b="1" i="0">
                <a:solidFill>
                  <a:schemeClr val="tx1"/>
                </a:solidFill>
                <a:latin typeface="Verdana"/>
                <a:cs typeface="Verdan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77748" y="1163002"/>
            <a:ext cx="5111115" cy="207749"/>
          </a:xfrm>
        </p:spPr>
        <p:txBody>
          <a:bodyPr lIns="0" tIns="0" rIns="0" bIns="0"/>
          <a:lstStyle>
            <a:lvl1pPr>
              <a:defRPr sz="1350" b="0" i="0">
                <a:solidFill>
                  <a:schemeClr val="tx1"/>
                </a:solidFill>
                <a:latin typeface="Verdana"/>
                <a:cs typeface="Verdan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26/2025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600" b="0" i="0">
                <a:solidFill>
                  <a:schemeClr val="bg1"/>
                </a:solidFill>
                <a:latin typeface="Verdana"/>
                <a:cs typeface="Verdana"/>
              </a:defRPr>
            </a:lvl1pPr>
          </a:lstStyle>
          <a:p>
            <a:pPr marL="19050">
              <a:spcBef>
                <a:spcPts val="90"/>
              </a:spcBef>
            </a:pPr>
            <a:fld id="{81D60167-4931-47E6-BA6A-407CBD079E47}" type="slidenum">
              <a:rPr lang="sr-Latn-BA" b="1" smtClean="0"/>
              <a:pPr marL="19050">
                <a:spcBef>
                  <a:spcPts val="90"/>
                </a:spcBef>
              </a:pPr>
              <a:t>‹#›</a:t>
            </a:fld>
            <a:r>
              <a:rPr lang="sr-Latn-BA" b="1"/>
              <a:t> </a:t>
            </a:r>
            <a:r>
              <a:rPr lang="sr-Latn-BA" sz="675"/>
              <a:t>| </a:t>
            </a:r>
            <a:r>
              <a:rPr lang="sr-Latn-BA" spc="-4"/>
              <a:t>Department (slide</a:t>
            </a:r>
            <a:r>
              <a:rPr lang="sr-Latn-BA" spc="-19"/>
              <a:t> </a:t>
            </a:r>
            <a:r>
              <a:rPr lang="sr-Latn-BA"/>
              <a:t>master)</a:t>
            </a:r>
            <a:endParaRPr lang="sr-Latn-BA" sz="675"/>
          </a:p>
        </p:txBody>
      </p:sp>
    </p:spTree>
    <p:extLst>
      <p:ext uri="{BB962C8B-B14F-4D97-AF65-F5344CB8AC3E}">
        <p14:creationId xmlns:p14="http://schemas.microsoft.com/office/powerpoint/2010/main" val="876832803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3"/>
            <a:ext cx="9144000" cy="4794647"/>
          </a:xfrm>
        </p:spPr>
        <p:txBody>
          <a:bodyPr tIns="900000" anchor="ctr" anchorCtr="0"/>
          <a:lstStyle>
            <a:lvl1pPr marL="0" indent="0" algn="ctr">
              <a:buNone/>
              <a:defRPr sz="1400"/>
            </a:lvl1pPr>
          </a:lstStyle>
          <a:p>
            <a:r>
              <a:rPr lang="da-DK" err="1"/>
              <a:t>Click</a:t>
            </a:r>
            <a:r>
              <a:rPr lang="da-DK"/>
              <a:t> </a:t>
            </a:r>
            <a:r>
              <a:rPr lang="da-DK" err="1"/>
              <a:t>icon</a:t>
            </a:r>
            <a:r>
              <a:rPr lang="da-DK"/>
              <a:t> to </a:t>
            </a:r>
            <a:br>
              <a:rPr lang="da-DK"/>
            </a:b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picture</a:t>
            </a:r>
            <a:endParaRPr lang="en-US"/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9641179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2" name="对象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Click to edit Master title style</a:t>
            </a:r>
            <a:endParaRPr lang="en-GB"/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3"/>
          </p:nvPr>
        </p:nvSpPr>
        <p:spPr>
          <a:xfrm>
            <a:off x="4659315" y="4966387"/>
            <a:ext cx="1488568" cy="91800"/>
          </a:xfrm>
          <a:prstGeom prst="rect">
            <a:avLst/>
          </a:prstGeom>
        </p:spPr>
        <p:txBody>
          <a:bodyPr/>
          <a:lstStyle/>
          <a:p>
            <a:fld id="{B8A7D54C-D54F-43B1-99F6-F18074A4CDBC}" type="datetimeFigureOut">
              <a:rPr lang="en-GB" smtClean="0"/>
              <a:pPr/>
              <a:t>26/05/202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64902300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05233A6-B55C-4391-0588-BC525BD032E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" y="0"/>
            <a:ext cx="9144000" cy="51435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424D036-FB76-754A-3B83-A26ACBF6960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40044" y="1307916"/>
            <a:ext cx="2209864" cy="2003213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Picture Placeholder 7">
            <a:extLst>
              <a:ext uri="{FF2B5EF4-FFF2-40B4-BE49-F238E27FC236}">
                <a16:creationId xmlns:a16="http://schemas.microsoft.com/office/drawing/2014/main" id="{ED729ECD-1F71-DD87-623D-0E36E1AB59A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468515" y="1307917"/>
            <a:ext cx="2209864" cy="2003213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548C4790-0E60-2BFA-B6E8-4A6B84AA1B6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94093" y="1307916"/>
            <a:ext cx="2209864" cy="2003213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13B167C-4FE0-9D33-CB39-2DA91685D9C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1" y="294586"/>
            <a:ext cx="8217452" cy="507815"/>
          </a:xfrm>
        </p:spPr>
        <p:txBody>
          <a:bodyPr vert="horz" lIns="121899" tIns="60949" rIns="121899" bIns="60949" rtlCol="0" anchor="ctr">
            <a:normAutofit/>
          </a:bodyPr>
          <a:lstStyle>
            <a:lvl1pPr marL="0" indent="0" algn="l">
              <a:buNone/>
              <a:defRPr lang="en-US" b="0" dirty="0">
                <a:solidFill>
                  <a:schemeClr val="bg1"/>
                </a:solidFill>
                <a:latin typeface="+mj-lt"/>
                <a:ea typeface="+mj-ea"/>
                <a:cs typeface="Segoe UI" panose="020B0502040204020203" pitchFamily="34" charset="0"/>
              </a:defRPr>
            </a:lvl1pPr>
          </a:lstStyle>
          <a:p>
            <a:pPr marL="85785" lvl="0" indent="-428625">
              <a:spcBef>
                <a:spcPct val="0"/>
              </a:spcBef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14318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39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drop single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0"/>
            <a:ext cx="9144000" cy="23184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-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20687" y="982831"/>
            <a:ext cx="8307388" cy="868034"/>
          </a:xfrm>
        </p:spPr>
        <p:txBody>
          <a:bodyPr anchor="b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insert Presentation title in</a:t>
            </a:r>
            <a:br>
              <a:rPr lang="en-GB" dirty="0"/>
            </a:br>
            <a:r>
              <a:rPr lang="en-GB" b="1" dirty="0"/>
              <a:t>Verdana Bold </a:t>
            </a:r>
            <a:r>
              <a:rPr lang="en-GB" dirty="0"/>
              <a:t>and Verdana Regular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19099" y="1988689"/>
            <a:ext cx="8308975" cy="291820"/>
          </a:xfrm>
        </p:spPr>
        <p:txBody>
          <a:bodyPr/>
          <a:lstStyle>
            <a:lvl1pPr marL="0" indent="0" algn="l">
              <a:buNone/>
              <a:defRPr sz="14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insert name and title of presenter</a:t>
            </a:r>
          </a:p>
        </p:txBody>
      </p:sp>
      <p:sp>
        <p:nvSpPr>
          <p:cNvPr id="12" name="Logo top"/>
          <p:cNvSpPr>
            <a:spLocks noGrp="1"/>
          </p:cNvSpPr>
          <p:nvPr>
            <p:ph type="body" sz="quarter" idx="15" hasCustomPrompt="1"/>
          </p:nvPr>
        </p:nvSpPr>
        <p:spPr>
          <a:xfrm>
            <a:off x="7070400" y="0"/>
            <a:ext cx="2073600" cy="84240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20162846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ond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Slika 8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647"/>
          <a:stretch/>
        </p:blipFill>
        <p:spPr>
          <a:xfrm>
            <a:off x="0" y="0"/>
            <a:ext cx="9144000" cy="4801374"/>
          </a:xfrm>
          <a:prstGeom prst="rect">
            <a:avLst/>
          </a:prstGeom>
        </p:spPr>
      </p:pic>
      <p:sp>
        <p:nvSpPr>
          <p:cNvPr id="6" name="Oval 174">
            <a:extLst>
              <a:ext uri="{FF2B5EF4-FFF2-40B4-BE49-F238E27FC236}">
                <a16:creationId xmlns:a16="http://schemas.microsoft.com/office/drawing/2014/main" id="{9CD57D47-37E1-4B1D-9304-8D342B129429}"/>
              </a:ext>
            </a:extLst>
          </p:cNvPr>
          <p:cNvSpPr/>
          <p:nvPr userDrawn="1"/>
        </p:nvSpPr>
        <p:spPr>
          <a:xfrm>
            <a:off x="76344" y="4366427"/>
            <a:ext cx="5502834" cy="335280"/>
          </a:xfrm>
          <a:prstGeom prst="ellipse">
            <a:avLst/>
          </a:prstGeom>
          <a:solidFill>
            <a:schemeClr val="tx1">
              <a:alpha val="15000"/>
            </a:schemeClr>
          </a:solidFill>
          <a:ln w="9525">
            <a:noFill/>
          </a:ln>
          <a:effectLst>
            <a:glow>
              <a:schemeClr val="accent1">
                <a:alpha val="40000"/>
              </a:schemeClr>
            </a:glow>
            <a:softEdge rad="889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 err="1"/>
          </a:p>
        </p:txBody>
      </p:sp>
      <p:pic>
        <p:nvPicPr>
          <p:cNvPr id="7" name="Picture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0498" r="40000" b="11619"/>
          <a:stretch/>
        </p:blipFill>
        <p:spPr>
          <a:xfrm>
            <a:off x="0" y="3111590"/>
            <a:ext cx="5486400" cy="1434095"/>
          </a:xfrm>
          <a:prstGeom prst="rect">
            <a:avLst/>
          </a:prstGeom>
        </p:spPr>
      </p:pic>
      <p:grpSp>
        <p:nvGrpSpPr>
          <p:cNvPr id="13" name="Group 2">
            <a:extLst>
              <a:ext uri="{FF2B5EF4-FFF2-40B4-BE49-F238E27FC236}">
                <a16:creationId xmlns:a16="http://schemas.microsoft.com/office/drawing/2014/main" id="{1EE0937C-0627-4EDD-9BCE-B86B1D4F3EE6}"/>
              </a:ext>
            </a:extLst>
          </p:cNvPr>
          <p:cNvGrpSpPr/>
          <p:nvPr userDrawn="1"/>
        </p:nvGrpSpPr>
        <p:grpSpPr>
          <a:xfrm>
            <a:off x="198999" y="3058814"/>
            <a:ext cx="5275537" cy="1270002"/>
            <a:chOff x="2292225" y="1577180"/>
            <a:chExt cx="5275537" cy="1270002"/>
          </a:xfrm>
        </p:grpSpPr>
        <p:sp>
          <p:nvSpPr>
            <p:cNvPr id="14" name="Right Triangle 53">
              <a:extLst>
                <a:ext uri="{FF2B5EF4-FFF2-40B4-BE49-F238E27FC236}">
                  <a16:creationId xmlns:a16="http://schemas.microsoft.com/office/drawing/2014/main" id="{1C8E2205-D133-4039-89A5-C18B5C8AEBF8}"/>
                </a:ext>
              </a:extLst>
            </p:cNvPr>
            <p:cNvSpPr/>
            <p:nvPr/>
          </p:nvSpPr>
          <p:spPr>
            <a:xfrm rot="5400000">
              <a:off x="6796585" y="2076004"/>
              <a:ext cx="1270001" cy="272353"/>
            </a:xfrm>
            <a:prstGeom prst="rtTriangle">
              <a:avLst/>
            </a:prstGeom>
            <a:gradFill>
              <a:gsLst>
                <a:gs pos="66000">
                  <a:schemeClr val="tx1">
                    <a:alpha val="0"/>
                  </a:schemeClr>
                </a:gs>
                <a:gs pos="100000">
                  <a:schemeClr val="tx1">
                    <a:alpha val="40000"/>
                  </a:schemeClr>
                </a:gs>
              </a:gsLst>
              <a:lin ang="60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noProof="0" dirty="0" err="1"/>
            </a:p>
          </p:txBody>
        </p:sp>
        <p:sp>
          <p:nvSpPr>
            <p:cNvPr id="15" name="Right Triangle 63">
              <a:extLst>
                <a:ext uri="{FF2B5EF4-FFF2-40B4-BE49-F238E27FC236}">
                  <a16:creationId xmlns:a16="http://schemas.microsoft.com/office/drawing/2014/main" id="{C3FC8BFC-CEA1-4B1F-8FB9-7D675F6C9F95}"/>
                </a:ext>
              </a:extLst>
            </p:cNvPr>
            <p:cNvSpPr/>
            <p:nvPr/>
          </p:nvSpPr>
          <p:spPr>
            <a:xfrm rot="16200000" flipH="1">
              <a:off x="1767842" y="2101564"/>
              <a:ext cx="1270001" cy="221236"/>
            </a:xfrm>
            <a:prstGeom prst="rtTriangle">
              <a:avLst/>
            </a:prstGeom>
            <a:gradFill>
              <a:gsLst>
                <a:gs pos="66000">
                  <a:schemeClr val="tx1">
                    <a:alpha val="0"/>
                  </a:schemeClr>
                </a:gs>
                <a:gs pos="100000">
                  <a:schemeClr val="tx1">
                    <a:alpha val="40000"/>
                  </a:schemeClr>
                </a:gs>
              </a:gsLst>
              <a:lin ang="60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noProof="0" dirty="0" err="1"/>
            </a:p>
          </p:txBody>
        </p:sp>
      </p:grpSp>
      <p:sp>
        <p:nvSpPr>
          <p:cNvPr id="16" name="Rectangle 175">
            <a:extLst>
              <a:ext uri="{FF2B5EF4-FFF2-40B4-BE49-F238E27FC236}">
                <a16:creationId xmlns:a16="http://schemas.microsoft.com/office/drawing/2014/main" id="{024A81C0-A5D1-432B-B914-2EAB4CE702AC}"/>
              </a:ext>
            </a:extLst>
          </p:cNvPr>
          <p:cNvSpPr/>
          <p:nvPr userDrawn="1"/>
        </p:nvSpPr>
        <p:spPr>
          <a:xfrm>
            <a:off x="420686" y="2347023"/>
            <a:ext cx="4773765" cy="2069553"/>
          </a:xfrm>
          <a:prstGeom prst="rect">
            <a:avLst/>
          </a:prstGeom>
          <a:solidFill>
            <a:schemeClr val="accent1"/>
          </a:solidFill>
          <a:ln w="9525">
            <a:solidFill>
              <a:srgbClr val="E2000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689994" y="3328497"/>
            <a:ext cx="4280039" cy="868034"/>
          </a:xfrm>
        </p:spPr>
        <p:txBody>
          <a:bodyPr anchor="b" anchorCtr="0"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sl-SI" dirty="0"/>
              <a:t>Insert </a:t>
            </a:r>
            <a:r>
              <a:rPr lang="sl-SI" dirty="0" err="1"/>
              <a:t>Presentation</a:t>
            </a:r>
            <a:br>
              <a:rPr lang="sl-SI" dirty="0"/>
            </a:br>
            <a:r>
              <a:rPr lang="en-GB" dirty="0"/>
              <a:t>titl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7F14FB6-9DF3-6412-9633-E712FC31C47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075454" y="113595"/>
            <a:ext cx="3068546" cy="738893"/>
          </a:xfrm>
          <a:prstGeom prst="rect">
            <a:avLst/>
          </a:prstGeom>
        </p:spPr>
      </p:pic>
      <p:pic>
        <p:nvPicPr>
          <p:cNvPr id="2" name="Picture 1" descr="A red sign with white text&#10;&#10;AI-generated content may be incorrect.">
            <a:extLst>
              <a:ext uri="{FF2B5EF4-FFF2-40B4-BE49-F238E27FC236}">
                <a16:creationId xmlns:a16="http://schemas.microsoft.com/office/drawing/2014/main" id="{CE50E278-A44A-AE98-9CFC-BFFEC0B8ECE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4100" y="113595"/>
            <a:ext cx="1203205" cy="527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1098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3" presetClass="path" presetSubtype="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44444E-6 2.59259E-6 L 0.79619 2.59259E-6 " pathEditMode="relative" rAng="0" ptsTypes="AA">
                                      <p:cBhvr>
                                        <p:cTn id="9" dur="1000" spd="-100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9809" y="0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42" presetClass="path" presetSubtype="0" decel="50000" fill="hold" grpId="1" nodeType="withEffect">
                                  <p:stCondLst>
                                    <p:cond delay="1250"/>
                                  </p:stCondLst>
                                  <p:childTnLst>
                                    <p:animMotion origin="layout" path="M 1.38889E-6 -1.48148E-6 L 1.38889E-6 -0.24167 " pathEditMode="relative" rAng="0" ptsTypes="AA">
                                      <p:cBhvr>
                                        <p:cTn id="20" dur="750" spd="-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09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16" grpId="0" animBg="1"/>
      <p:bldP spid="16" grpId="1" animBg="1"/>
      <p:bldP spid="10" grpId="0"/>
      <p:bldP spid="10" grpId="1"/>
    </p:bld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Content Placeholder 2"/>
          <p:cNvSpPr>
            <a:spLocks noGrp="1"/>
          </p:cNvSpPr>
          <p:nvPr>
            <p:ph sz="quarter" idx="14"/>
          </p:nvPr>
        </p:nvSpPr>
        <p:spPr>
          <a:xfrm>
            <a:off x="419100" y="1222375"/>
            <a:ext cx="4067175" cy="329366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/>
          </p:nvPr>
        </p:nvSpPr>
        <p:spPr>
          <a:xfrm>
            <a:off x="4659314" y="1222375"/>
            <a:ext cx="4068761" cy="329366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3850121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medium picture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19100" y="221455"/>
            <a:ext cx="4067176" cy="8711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19100" y="1222375"/>
            <a:ext cx="4067175" cy="3293665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4659313" y="0"/>
            <a:ext cx="4484686" cy="4794647"/>
          </a:xfrm>
        </p:spPr>
        <p:txBody>
          <a:bodyPr tIns="612000" anchor="ctr" anchorCtr="0"/>
          <a:lstStyle>
            <a:lvl1pPr marL="0" indent="0" algn="ctr">
              <a:buNone/>
              <a:defRPr sz="1400"/>
            </a:lvl1pPr>
          </a:lstStyle>
          <a:p>
            <a:r>
              <a:rPr lang="da-DK" dirty="0" err="1"/>
              <a:t>Click</a:t>
            </a:r>
            <a:r>
              <a:rPr lang="da-DK" dirty="0"/>
              <a:t> </a:t>
            </a:r>
            <a:r>
              <a:rPr lang="da-DK" dirty="0" err="1"/>
              <a:t>icon</a:t>
            </a:r>
            <a:r>
              <a:rPr lang="da-DK" dirty="0"/>
              <a:t> to </a:t>
            </a:r>
            <a:br>
              <a:rPr lang="da-DK" dirty="0"/>
            </a:b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127532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dium picture and text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4659314" y="221456"/>
            <a:ext cx="4068761" cy="70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4653871" y="1222375"/>
            <a:ext cx="4067855" cy="329366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0"/>
            <a:ext cx="4486275" cy="4794647"/>
          </a:xfrm>
        </p:spPr>
        <p:txBody>
          <a:bodyPr tIns="612000" anchor="ctr" anchorCtr="0"/>
          <a:lstStyle>
            <a:lvl1pPr marL="0" indent="0" algn="ctr">
              <a:buNone/>
              <a:defRPr sz="1400"/>
            </a:lvl1pPr>
          </a:lstStyle>
          <a:p>
            <a:r>
              <a:rPr lang="da-DK" dirty="0" err="1"/>
              <a:t>Click</a:t>
            </a:r>
            <a:r>
              <a:rPr lang="da-DK" dirty="0"/>
              <a:t> </a:t>
            </a:r>
            <a:r>
              <a:rPr lang="da-DK" dirty="0" err="1"/>
              <a:t>icon</a:t>
            </a:r>
            <a:r>
              <a:rPr lang="da-DK" dirty="0"/>
              <a:t> to </a:t>
            </a:r>
            <a:br>
              <a:rPr lang="da-DK" dirty="0"/>
            </a:b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874690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small picture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19100" y="1222375"/>
            <a:ext cx="5160962" cy="329366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5747275" y="1222374"/>
            <a:ext cx="2980800" cy="3293667"/>
          </a:xfrm>
        </p:spPr>
        <p:txBody>
          <a:bodyPr tIns="756000" anchor="ctr" anchorCtr="0"/>
          <a:lstStyle>
            <a:lvl1pPr marL="0" indent="0" algn="ctr">
              <a:buNone/>
              <a:defRPr sz="1400"/>
            </a:lvl1pPr>
          </a:lstStyle>
          <a:p>
            <a:r>
              <a:rPr lang="da-DK" dirty="0" err="1"/>
              <a:t>Click</a:t>
            </a:r>
            <a:r>
              <a:rPr lang="da-DK" dirty="0"/>
              <a:t> </a:t>
            </a:r>
            <a:r>
              <a:rPr lang="da-DK" dirty="0" err="1"/>
              <a:t>icon</a:t>
            </a:r>
            <a:r>
              <a:rPr lang="da-DK" dirty="0"/>
              <a:t> to </a:t>
            </a:r>
            <a:br>
              <a:rPr lang="da-DK" dirty="0"/>
            </a:b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777593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picture and text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3567601" y="1222375"/>
            <a:ext cx="5160475" cy="329366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419100" y="1222374"/>
            <a:ext cx="2980800" cy="3293667"/>
          </a:xfrm>
        </p:spPr>
        <p:txBody>
          <a:bodyPr tIns="756000" anchor="ctr" anchorCtr="0"/>
          <a:lstStyle>
            <a:lvl1pPr marL="0" indent="0" algn="ctr">
              <a:buNone/>
              <a:defRPr sz="1400"/>
            </a:lvl1pPr>
          </a:lstStyle>
          <a:p>
            <a:r>
              <a:rPr lang="da-DK" dirty="0" err="1"/>
              <a:t>Click</a:t>
            </a:r>
            <a:r>
              <a:rPr lang="da-DK" dirty="0"/>
              <a:t> </a:t>
            </a:r>
            <a:r>
              <a:rPr lang="da-DK" dirty="0" err="1"/>
              <a:t>icon</a:t>
            </a:r>
            <a:r>
              <a:rPr lang="da-DK" dirty="0"/>
              <a:t> to </a:t>
            </a:r>
            <a:br>
              <a:rPr lang="da-DK" dirty="0"/>
            </a:b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340110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content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0688" y="1222375"/>
            <a:ext cx="8301037" cy="367075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Page#"/>
          <p:cNvSpPr txBox="1">
            <a:spLocks noChangeArrowheads="1"/>
          </p:cNvSpPr>
          <p:nvPr userDrawn="1"/>
        </p:nvSpPr>
        <p:spPr bwMode="auto">
          <a:xfrm>
            <a:off x="64431" y="4966381"/>
            <a:ext cx="381042" cy="91800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lIns="0" tIns="0" rIns="0" bIns="0" anchor="b" anchorCtr="0"/>
          <a:lstStyle/>
          <a:p>
            <a:pPr algn="r" fontAlgn="base">
              <a:spcBef>
                <a:spcPct val="20000"/>
              </a:spcBef>
              <a:spcAft>
                <a:spcPct val="0"/>
              </a:spcAft>
              <a:buClr>
                <a:srgbClr val="808080"/>
              </a:buClr>
            </a:pPr>
            <a:fld id="{21B19618-E8F0-4C5A-87AE-B0CCB4D6BB5E}" type="slidenum">
              <a:rPr lang="en-GB" sz="800" b="1" smtClean="0">
                <a:solidFill>
                  <a:schemeClr val="tx1"/>
                </a:solidFill>
                <a:ea typeface="SimHei"/>
                <a:cs typeface="Arial" charset="0"/>
              </a:rPr>
              <a:pPr algn="r" fontAlgn="base">
                <a:spcBef>
                  <a:spcPct val="20000"/>
                </a:spcBef>
                <a:spcAft>
                  <a:spcPct val="0"/>
                </a:spcAft>
                <a:buClr>
                  <a:srgbClr val="808080"/>
                </a:buClr>
              </a:pPr>
              <a:t>‹#›</a:t>
            </a:fld>
            <a:r>
              <a:rPr lang="en-GB" sz="800" dirty="0">
                <a:solidFill>
                  <a:schemeClr val="tx1"/>
                </a:solidFill>
                <a:ea typeface="SimHei"/>
                <a:cs typeface="Arial" charset="0"/>
              </a:rPr>
              <a:t> |</a:t>
            </a:r>
          </a:p>
        </p:txBody>
      </p:sp>
    </p:spTree>
    <p:extLst>
      <p:ext uri="{BB962C8B-B14F-4D97-AF65-F5344CB8AC3E}">
        <p14:creationId xmlns:p14="http://schemas.microsoft.com/office/powerpoint/2010/main" val="51532416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,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4794647"/>
          </a:xfrm>
          <a:prstGeom prst="rect">
            <a:avLst/>
          </a:prstGeom>
          <a:gradFill flip="none" rotWithShape="1">
            <a:gsLst>
              <a:gs pos="0">
                <a:srgbClr val="C7C7C7"/>
              </a:gs>
              <a:gs pos="50000">
                <a:schemeClr val="bg1"/>
              </a:gs>
              <a:gs pos="100000">
                <a:srgbClr val="CDCDCD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9100" y="1222375"/>
            <a:ext cx="8308975" cy="3293666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8689836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4794647"/>
          </a:xfrm>
          <a:prstGeom prst="rect">
            <a:avLst/>
          </a:prstGeom>
          <a:gradFill flip="none" rotWithShape="1">
            <a:gsLst>
              <a:gs pos="0">
                <a:srgbClr val="C7C7C7"/>
              </a:gs>
              <a:gs pos="50000">
                <a:schemeClr val="bg1"/>
              </a:gs>
              <a:gs pos="100000">
                <a:srgbClr val="CDCDCD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Content Placeholder 2"/>
          <p:cNvSpPr>
            <a:spLocks noGrp="1"/>
          </p:cNvSpPr>
          <p:nvPr>
            <p:ph sz="quarter" idx="14"/>
          </p:nvPr>
        </p:nvSpPr>
        <p:spPr>
          <a:xfrm>
            <a:off x="419100" y="1222375"/>
            <a:ext cx="4068000" cy="329366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/>
          </p:nvPr>
        </p:nvSpPr>
        <p:spPr>
          <a:xfrm>
            <a:off x="4654800" y="1222375"/>
            <a:ext cx="4068000" cy="329366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0120537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medium picture,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4794647"/>
          </a:xfrm>
          <a:prstGeom prst="rect">
            <a:avLst/>
          </a:prstGeom>
          <a:gradFill flip="none" rotWithShape="1">
            <a:gsLst>
              <a:gs pos="0">
                <a:srgbClr val="C7C7C7"/>
              </a:gs>
              <a:gs pos="50000">
                <a:schemeClr val="bg1"/>
              </a:gs>
              <a:gs pos="100000">
                <a:srgbClr val="CDCDCD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19100" y="221455"/>
            <a:ext cx="4067176" cy="8634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19100" y="1222375"/>
            <a:ext cx="4067175" cy="3293665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4659313" y="0"/>
            <a:ext cx="4484686" cy="4794647"/>
          </a:xfrm>
          <a:solidFill>
            <a:schemeClr val="bg1"/>
          </a:solidFill>
        </p:spPr>
        <p:txBody>
          <a:bodyPr tIns="612000" anchor="ctr" anchorCtr="0"/>
          <a:lstStyle>
            <a:lvl1pPr marL="0" indent="0" algn="ctr">
              <a:buNone/>
              <a:defRPr sz="1400"/>
            </a:lvl1pPr>
          </a:lstStyle>
          <a:p>
            <a:r>
              <a:rPr lang="da-DK" dirty="0" err="1"/>
              <a:t>Click</a:t>
            </a:r>
            <a:r>
              <a:rPr lang="da-DK" dirty="0"/>
              <a:t> </a:t>
            </a:r>
            <a:r>
              <a:rPr lang="da-DK" dirty="0" err="1"/>
              <a:t>icon</a:t>
            </a:r>
            <a:r>
              <a:rPr lang="da-DK" dirty="0"/>
              <a:t> to </a:t>
            </a:r>
            <a:br>
              <a:rPr lang="da-DK" dirty="0"/>
            </a:b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194922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dium picture and text,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9144000" cy="4794647"/>
          </a:xfrm>
          <a:prstGeom prst="rect">
            <a:avLst/>
          </a:prstGeom>
          <a:gradFill flip="none" rotWithShape="1">
            <a:gsLst>
              <a:gs pos="0">
                <a:srgbClr val="C7C7C7"/>
              </a:gs>
              <a:gs pos="50000">
                <a:schemeClr val="bg1"/>
              </a:gs>
              <a:gs pos="100000">
                <a:srgbClr val="CDCDCD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4659314" y="221456"/>
            <a:ext cx="4068761" cy="70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4653871" y="1222375"/>
            <a:ext cx="4067855" cy="329366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0"/>
            <a:ext cx="4486275" cy="4794647"/>
          </a:xfrm>
          <a:solidFill>
            <a:schemeClr val="bg1"/>
          </a:solidFill>
        </p:spPr>
        <p:txBody>
          <a:bodyPr tIns="612000" anchor="ctr" anchorCtr="0"/>
          <a:lstStyle>
            <a:lvl1pPr marL="0" indent="0" algn="ctr">
              <a:buNone/>
              <a:defRPr sz="1400"/>
            </a:lvl1pPr>
          </a:lstStyle>
          <a:p>
            <a:r>
              <a:rPr lang="da-DK" dirty="0" err="1"/>
              <a:t>Click</a:t>
            </a:r>
            <a:r>
              <a:rPr lang="da-DK" dirty="0"/>
              <a:t> </a:t>
            </a:r>
            <a:r>
              <a:rPr lang="da-DK" dirty="0" err="1"/>
              <a:t>icon</a:t>
            </a:r>
            <a:r>
              <a:rPr lang="da-DK" dirty="0"/>
              <a:t> to </a:t>
            </a:r>
            <a:br>
              <a:rPr lang="da-DK" dirty="0"/>
            </a:b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7651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ond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Slika 8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647"/>
          <a:stretch/>
        </p:blipFill>
        <p:spPr>
          <a:xfrm>
            <a:off x="0" y="137"/>
            <a:ext cx="9144000" cy="4801374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2BFA2F15-8B9C-2BAE-2226-F0B414BE9C0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075454" y="113595"/>
            <a:ext cx="3068546" cy="738893"/>
          </a:xfrm>
          <a:prstGeom prst="rect">
            <a:avLst/>
          </a:prstGeom>
        </p:spPr>
      </p:pic>
      <p:pic>
        <p:nvPicPr>
          <p:cNvPr id="3" name="Picture 2" descr="A red sign with white text&#10;&#10;AI-generated content may be incorrect.">
            <a:extLst>
              <a:ext uri="{FF2B5EF4-FFF2-40B4-BE49-F238E27FC236}">
                <a16:creationId xmlns:a16="http://schemas.microsoft.com/office/drawing/2014/main" id="{4AE5BFAA-2449-F5E6-3D12-30407D2D16F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4100" y="113595"/>
            <a:ext cx="1203205" cy="527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5439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small picture,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9144000" cy="4794647"/>
          </a:xfrm>
          <a:prstGeom prst="rect">
            <a:avLst/>
          </a:prstGeom>
          <a:gradFill flip="none" rotWithShape="1">
            <a:gsLst>
              <a:gs pos="0">
                <a:srgbClr val="C7C7C7"/>
              </a:gs>
              <a:gs pos="50000">
                <a:schemeClr val="bg1"/>
              </a:gs>
              <a:gs pos="100000">
                <a:srgbClr val="CDCDCD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19100" y="1222375"/>
            <a:ext cx="5160962" cy="329366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5747275" y="1222375"/>
            <a:ext cx="2980800" cy="3293667"/>
          </a:xfrm>
          <a:solidFill>
            <a:schemeClr val="bg1"/>
          </a:solidFill>
        </p:spPr>
        <p:txBody>
          <a:bodyPr tIns="756000" anchor="ctr" anchorCtr="0"/>
          <a:lstStyle>
            <a:lvl1pPr marL="0" indent="0" algn="ctr">
              <a:buNone/>
              <a:defRPr sz="1400"/>
            </a:lvl1pPr>
          </a:lstStyle>
          <a:p>
            <a:r>
              <a:rPr lang="da-DK" dirty="0" err="1"/>
              <a:t>Click</a:t>
            </a:r>
            <a:r>
              <a:rPr lang="da-DK" dirty="0"/>
              <a:t> </a:t>
            </a:r>
            <a:r>
              <a:rPr lang="da-DK" dirty="0" err="1"/>
              <a:t>icon</a:t>
            </a:r>
            <a:r>
              <a:rPr lang="da-DK" dirty="0"/>
              <a:t> to </a:t>
            </a:r>
            <a:br>
              <a:rPr lang="da-DK" dirty="0"/>
            </a:b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523786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picture and text,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9144000" cy="4794647"/>
          </a:xfrm>
          <a:prstGeom prst="rect">
            <a:avLst/>
          </a:prstGeom>
          <a:gradFill flip="none" rotWithShape="1">
            <a:gsLst>
              <a:gs pos="0">
                <a:srgbClr val="C7C7C7"/>
              </a:gs>
              <a:gs pos="50000">
                <a:schemeClr val="bg1"/>
              </a:gs>
              <a:gs pos="100000">
                <a:srgbClr val="CDCDCD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3567601" y="1222375"/>
            <a:ext cx="5160475" cy="329366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419100" y="1222374"/>
            <a:ext cx="2980800" cy="3293667"/>
          </a:xfrm>
          <a:solidFill>
            <a:schemeClr val="bg1"/>
          </a:solidFill>
        </p:spPr>
        <p:txBody>
          <a:bodyPr tIns="900000" anchor="ctr" anchorCtr="0"/>
          <a:lstStyle>
            <a:lvl1pPr marL="0" indent="0" algn="ctr">
              <a:buNone/>
              <a:defRPr sz="1400"/>
            </a:lvl1pPr>
          </a:lstStyle>
          <a:p>
            <a:r>
              <a:rPr lang="da-DK" dirty="0" err="1"/>
              <a:t>Click</a:t>
            </a:r>
            <a:r>
              <a:rPr lang="da-DK" dirty="0"/>
              <a:t> </a:t>
            </a:r>
            <a:r>
              <a:rPr lang="da-DK" dirty="0" err="1"/>
              <a:t>icon</a:t>
            </a:r>
            <a:r>
              <a:rPr lang="da-DK" dirty="0"/>
              <a:t> to </a:t>
            </a:r>
            <a:br>
              <a:rPr lang="da-DK" dirty="0"/>
            </a:b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764050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content,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gradFill flip="none" rotWithShape="1">
            <a:gsLst>
              <a:gs pos="0">
                <a:srgbClr val="C7C7C7"/>
              </a:gs>
              <a:gs pos="50000">
                <a:schemeClr val="bg1"/>
              </a:gs>
              <a:gs pos="100000">
                <a:srgbClr val="CDCDCD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0688" y="1222375"/>
            <a:ext cx="8301037" cy="367075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Page#"/>
          <p:cNvSpPr txBox="1">
            <a:spLocks noChangeArrowheads="1"/>
          </p:cNvSpPr>
          <p:nvPr userDrawn="1"/>
        </p:nvSpPr>
        <p:spPr bwMode="auto">
          <a:xfrm>
            <a:off x="64431" y="4966381"/>
            <a:ext cx="381042" cy="91800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lIns="0" tIns="0" rIns="0" bIns="0" anchor="b" anchorCtr="0"/>
          <a:lstStyle/>
          <a:p>
            <a:pPr algn="r" fontAlgn="base">
              <a:spcBef>
                <a:spcPct val="20000"/>
              </a:spcBef>
              <a:spcAft>
                <a:spcPct val="0"/>
              </a:spcAft>
              <a:buClr>
                <a:srgbClr val="808080"/>
              </a:buClr>
            </a:pPr>
            <a:fld id="{21B19618-E8F0-4C5A-87AE-B0CCB4D6BB5E}" type="slidenum">
              <a:rPr lang="en-GB" sz="800" b="1" smtClean="0">
                <a:solidFill>
                  <a:schemeClr val="tx1"/>
                </a:solidFill>
                <a:ea typeface="SimHei"/>
                <a:cs typeface="Arial" charset="0"/>
              </a:rPr>
              <a:pPr algn="r" fontAlgn="base">
                <a:spcBef>
                  <a:spcPct val="20000"/>
                </a:spcBef>
                <a:spcAft>
                  <a:spcPct val="0"/>
                </a:spcAft>
                <a:buClr>
                  <a:srgbClr val="808080"/>
                </a:buClr>
              </a:pPr>
              <a:t>‹#›</a:t>
            </a:fld>
            <a:r>
              <a:rPr lang="en-GB" sz="800" dirty="0">
                <a:solidFill>
                  <a:schemeClr val="tx1"/>
                </a:solidFill>
                <a:ea typeface="SimHei"/>
                <a:cs typeface="Arial" charset="0"/>
              </a:rPr>
              <a:t> |</a:t>
            </a:r>
          </a:p>
        </p:txBody>
      </p:sp>
    </p:spTree>
    <p:extLst>
      <p:ext uri="{BB962C8B-B14F-4D97-AF65-F5344CB8AC3E}">
        <p14:creationId xmlns:p14="http://schemas.microsoft.com/office/powerpoint/2010/main" val="26519317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9144000" cy="4794647"/>
          </a:xfrm>
        </p:spPr>
        <p:txBody>
          <a:bodyPr tIns="900000" anchor="ctr" anchorCtr="0"/>
          <a:lstStyle>
            <a:lvl1pPr marL="0" indent="0" algn="ctr">
              <a:buNone/>
              <a:defRPr sz="1400"/>
            </a:lvl1pPr>
          </a:lstStyle>
          <a:p>
            <a:r>
              <a:rPr lang="da-DK" dirty="0" err="1"/>
              <a:t>Click</a:t>
            </a:r>
            <a:r>
              <a:rPr lang="da-DK" dirty="0"/>
              <a:t> </a:t>
            </a:r>
            <a:r>
              <a:rPr lang="da-DK" dirty="0" err="1"/>
              <a:t>icon</a:t>
            </a:r>
            <a:r>
              <a:rPr lang="da-DK" dirty="0"/>
              <a:t> to </a:t>
            </a:r>
            <a:br>
              <a:rPr lang="da-DK" dirty="0"/>
            </a:b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picture</a:t>
            </a:r>
            <a:endParaRPr lang="en-US" dirty="0"/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2576818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7" name="Picture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51192" y="3402"/>
            <a:ext cx="1892808" cy="720090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420687" y="982831"/>
            <a:ext cx="8307388" cy="868034"/>
          </a:xfrm>
        </p:spPr>
        <p:txBody>
          <a:bodyPr anchor="b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insert Presentation title in</a:t>
            </a:r>
            <a:br>
              <a:rPr lang="en-GB" dirty="0"/>
            </a:br>
            <a:r>
              <a:rPr lang="en-GB" b="1" dirty="0"/>
              <a:t>Verdana Bold </a:t>
            </a:r>
            <a:r>
              <a:rPr lang="en-GB" dirty="0"/>
              <a:t>and Verdana Regular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19099" y="1988689"/>
            <a:ext cx="8308975" cy="291820"/>
          </a:xfrm>
        </p:spPr>
        <p:txBody>
          <a:bodyPr/>
          <a:lstStyle>
            <a:lvl1pPr marL="0" indent="0" algn="l">
              <a:buNone/>
              <a:defRPr sz="14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insert name and title of presenter</a:t>
            </a:r>
          </a:p>
        </p:txBody>
      </p:sp>
    </p:spTree>
    <p:extLst>
      <p:ext uri="{BB962C8B-B14F-4D97-AF65-F5344CB8AC3E}">
        <p14:creationId xmlns:p14="http://schemas.microsoft.com/office/powerpoint/2010/main" val="144124626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White background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grpSp>
        <p:nvGrpSpPr>
          <p:cNvPr id="2" name="Gruppe 1"/>
          <p:cNvGrpSpPr/>
          <p:nvPr userDrawn="1"/>
        </p:nvGrpSpPr>
        <p:grpSpPr>
          <a:xfrm>
            <a:off x="3022895" y="1401078"/>
            <a:ext cx="3098210" cy="2341345"/>
            <a:chOff x="3009519" y="1350350"/>
            <a:chExt cx="3098210" cy="2341345"/>
          </a:xfrm>
        </p:grpSpPr>
        <p:pic>
          <p:nvPicPr>
            <p:cNvPr id="7" name="Boxlogo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09519" y="1350350"/>
              <a:ext cx="3098210" cy="13541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9" name="Picture 2"/>
            <p:cNvPicPr>
              <a:picLocks noChangeAspect="1" noChangeArrowheads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47864" y="3048390"/>
              <a:ext cx="2466000" cy="64330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47462434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52785" y="657935"/>
            <a:ext cx="7495746" cy="618604"/>
          </a:xfrm>
        </p:spPr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edit</a:t>
            </a:r>
            <a:r>
              <a:rPr lang="da-DK" dirty="0"/>
              <a:t> Master </a:t>
            </a:r>
            <a:r>
              <a:rPr lang="da-DK" dirty="0" err="1"/>
              <a:t>title</a:t>
            </a:r>
            <a:r>
              <a:rPr lang="da-DK" dirty="0"/>
              <a:t> </a:t>
            </a:r>
            <a:r>
              <a:rPr lang="da-DK" dirty="0" err="1"/>
              <a:t>style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552785" y="1432711"/>
            <a:ext cx="8063776" cy="2714861"/>
          </a:xfrm>
        </p:spPr>
        <p:txBody>
          <a:bodyPr>
            <a:normAutofit/>
          </a:bodyPr>
          <a:lstStyle>
            <a:lvl1pPr>
              <a:defRPr sz="2800">
                <a:latin typeface="+mj-lt"/>
              </a:defRPr>
            </a:lvl1pPr>
            <a:lvl2pPr>
              <a:defRPr sz="24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1800">
                <a:latin typeface="+mj-lt"/>
              </a:defRPr>
            </a:lvl4pPr>
            <a:lvl5pPr>
              <a:defRPr sz="1800">
                <a:latin typeface="+mj-lt"/>
              </a:defRPr>
            </a:lvl5pPr>
          </a:lstStyle>
          <a:p>
            <a:pPr lvl="0"/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edit</a:t>
            </a:r>
            <a:r>
              <a:rPr lang="da-DK" dirty="0"/>
              <a:t> Master </a:t>
            </a:r>
            <a:r>
              <a:rPr lang="da-DK" dirty="0" err="1"/>
              <a:t>text</a:t>
            </a:r>
            <a:r>
              <a:rPr lang="da-DK" dirty="0"/>
              <a:t> </a:t>
            </a:r>
            <a:r>
              <a:rPr lang="da-DK" dirty="0" err="1"/>
              <a:t>styles</a:t>
            </a:r>
            <a:endParaRPr lang="da-DK" dirty="0"/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51754830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ktangel 10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 noProof="0" dirty="0"/>
          </a:p>
        </p:txBody>
      </p:sp>
      <p:sp>
        <p:nvSpPr>
          <p:cNvPr id="15" name="Pladsholder til billede 14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5143500"/>
          </a:xfrm>
        </p:spPr>
        <p:txBody>
          <a:bodyPr tIns="4320000"/>
          <a:lstStyle>
            <a:lvl1pPr marL="0" indent="0" algn="ctr">
              <a:buNone/>
              <a:defRPr sz="105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20688" y="1270982"/>
            <a:ext cx="8307387" cy="1102519"/>
          </a:xfrm>
        </p:spPr>
        <p:txBody>
          <a:bodyPr anchor="b" anchorCtr="0"/>
          <a:lstStyle>
            <a:lvl1pPr>
              <a:defRPr/>
            </a:lvl1pPr>
          </a:lstStyle>
          <a:p>
            <a:r>
              <a:rPr lang="en-GB" dirty="0"/>
              <a:t>Click to insert Presentation title in</a:t>
            </a:r>
            <a:br>
              <a:rPr lang="en-GB" dirty="0"/>
            </a:br>
            <a:r>
              <a:rPr lang="en-GB" b="1" dirty="0"/>
              <a:t>Verdana Bold </a:t>
            </a:r>
            <a:r>
              <a:rPr lang="en-GB" dirty="0"/>
              <a:t>and Verdana Regular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19099" y="2711053"/>
            <a:ext cx="8308975" cy="407396"/>
          </a:xfrm>
        </p:spPr>
        <p:txBody>
          <a:bodyPr/>
          <a:lstStyle>
            <a:lvl1pPr marL="0" indent="0" algn="l">
              <a:buNone/>
              <a:defRPr sz="1050" baseline="0">
                <a:solidFill>
                  <a:schemeClr val="tx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insert name and title of presenter</a:t>
            </a:r>
          </a:p>
        </p:txBody>
      </p:sp>
      <p:sp>
        <p:nvSpPr>
          <p:cNvPr id="5" name="Backdrop single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0"/>
            <a:ext cx="9144000" cy="8694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7" name="Logo top"/>
          <p:cNvSpPr>
            <a:spLocks noGrp="1"/>
          </p:cNvSpPr>
          <p:nvPr>
            <p:ph type="body" sz="quarter" idx="11" hasCustomPrompt="1"/>
          </p:nvPr>
        </p:nvSpPr>
        <p:spPr>
          <a:xfrm>
            <a:off x="6465600" y="286200"/>
            <a:ext cx="2289600" cy="44010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907692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9101" y="1006079"/>
            <a:ext cx="8308975" cy="3495675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B8A7D54C-D54F-43B1-99F6-F18074A4CDBC}" type="datetimeFigureOut">
              <a:rPr lang="en-GB" smtClean="0"/>
              <a:pPr/>
              <a:t>26/05/202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2205599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ktangel 10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 noProof="0" dirty="0"/>
          </a:p>
        </p:txBody>
      </p:sp>
      <p:sp>
        <p:nvSpPr>
          <p:cNvPr id="15" name="Pladsholder til billede 14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5143500"/>
          </a:xfrm>
        </p:spPr>
        <p:txBody>
          <a:bodyPr tIns="720000" anchor="ctr" anchorCtr="0"/>
          <a:lstStyle>
            <a:lvl1pPr marL="0" indent="0" algn="ctr">
              <a:buNone/>
              <a:defRPr sz="105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Backdrop single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5400"/>
            <a:ext cx="9144000" cy="23193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20687" y="1006078"/>
            <a:ext cx="8307388" cy="868034"/>
          </a:xfrm>
        </p:spPr>
        <p:txBody>
          <a:bodyPr anchor="b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insert Presentation title in</a:t>
            </a:r>
            <a:br>
              <a:rPr lang="en-GB" dirty="0"/>
            </a:br>
            <a:r>
              <a:rPr lang="en-GB" b="1" dirty="0"/>
              <a:t>Verdana Bold </a:t>
            </a:r>
            <a:r>
              <a:rPr lang="en-GB" dirty="0"/>
              <a:t>and Verdana Regular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19099" y="2011937"/>
            <a:ext cx="8308975" cy="291820"/>
          </a:xfrm>
        </p:spPr>
        <p:txBody>
          <a:bodyPr/>
          <a:lstStyle>
            <a:lvl1pPr marL="0" indent="0" algn="l">
              <a:buNone/>
              <a:defRPr sz="1050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insert name and title of presenter</a:t>
            </a:r>
          </a:p>
        </p:txBody>
      </p:sp>
      <p:sp>
        <p:nvSpPr>
          <p:cNvPr id="13" name="Logo top"/>
          <p:cNvSpPr>
            <a:spLocks noGrp="1"/>
          </p:cNvSpPr>
          <p:nvPr>
            <p:ph type="body" sz="quarter" idx="11" hasCustomPrompt="1"/>
          </p:nvPr>
        </p:nvSpPr>
        <p:spPr>
          <a:xfrm>
            <a:off x="6465600" y="286200"/>
            <a:ext cx="2289600" cy="44010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1213308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ond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Slika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647"/>
          <a:stretch/>
        </p:blipFill>
        <p:spPr>
          <a:xfrm>
            <a:off x="0" y="137"/>
            <a:ext cx="9144000" cy="4801374"/>
          </a:xfrm>
          <a:prstGeom prst="rect">
            <a:avLst/>
          </a:prstGeom>
        </p:spPr>
      </p:pic>
      <p:pic>
        <p:nvPicPr>
          <p:cNvPr id="17" name="Picture 10">
            <a:hlinkClick r:id="" action="ppaction://noaction"/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0471" y="139228"/>
            <a:ext cx="1716911" cy="438944"/>
          </a:xfrm>
          <a:prstGeom prst="rect">
            <a:avLst/>
          </a:prstGeom>
        </p:spPr>
      </p:pic>
      <p:sp>
        <p:nvSpPr>
          <p:cNvPr id="18" name="Oval 174">
            <a:extLst>
              <a:ext uri="{FF2B5EF4-FFF2-40B4-BE49-F238E27FC236}">
                <a16:creationId xmlns:a16="http://schemas.microsoft.com/office/drawing/2014/main" id="{9CD57D47-37E1-4B1D-9304-8D342B129429}"/>
              </a:ext>
            </a:extLst>
          </p:cNvPr>
          <p:cNvSpPr/>
          <p:nvPr userDrawn="1"/>
        </p:nvSpPr>
        <p:spPr>
          <a:xfrm>
            <a:off x="-94004" y="4366427"/>
            <a:ext cx="6810998" cy="335280"/>
          </a:xfrm>
          <a:prstGeom prst="ellipse">
            <a:avLst/>
          </a:prstGeom>
          <a:solidFill>
            <a:schemeClr val="tx1">
              <a:alpha val="15000"/>
            </a:schemeClr>
          </a:solidFill>
          <a:ln w="9525">
            <a:noFill/>
          </a:ln>
          <a:effectLst>
            <a:glow>
              <a:schemeClr val="accent1">
                <a:alpha val="40000"/>
              </a:schemeClr>
            </a:glow>
            <a:softEdge rad="889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pic>
        <p:nvPicPr>
          <p:cNvPr id="19" name="Picture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0498" r="16542" b="11619"/>
          <a:stretch/>
        </p:blipFill>
        <p:spPr>
          <a:xfrm>
            <a:off x="0" y="3111590"/>
            <a:ext cx="7631394" cy="1434095"/>
          </a:xfrm>
          <a:prstGeom prst="rect">
            <a:avLst/>
          </a:prstGeom>
        </p:spPr>
      </p:pic>
      <p:grpSp>
        <p:nvGrpSpPr>
          <p:cNvPr id="20" name="Group 2">
            <a:extLst>
              <a:ext uri="{FF2B5EF4-FFF2-40B4-BE49-F238E27FC236}">
                <a16:creationId xmlns:a16="http://schemas.microsoft.com/office/drawing/2014/main" id="{1EE0937C-0627-4EDD-9BCE-B86B1D4F3EE6}"/>
              </a:ext>
            </a:extLst>
          </p:cNvPr>
          <p:cNvGrpSpPr/>
          <p:nvPr userDrawn="1"/>
        </p:nvGrpSpPr>
        <p:grpSpPr>
          <a:xfrm>
            <a:off x="198999" y="3058814"/>
            <a:ext cx="6309295" cy="1270002"/>
            <a:chOff x="2292225" y="1577180"/>
            <a:chExt cx="6309295" cy="1270002"/>
          </a:xfrm>
        </p:grpSpPr>
        <p:sp>
          <p:nvSpPr>
            <p:cNvPr id="21" name="Right Triangle 53">
              <a:extLst>
                <a:ext uri="{FF2B5EF4-FFF2-40B4-BE49-F238E27FC236}">
                  <a16:creationId xmlns:a16="http://schemas.microsoft.com/office/drawing/2014/main" id="{1C8E2205-D133-4039-89A5-C18B5C8AEBF8}"/>
                </a:ext>
              </a:extLst>
            </p:cNvPr>
            <p:cNvSpPr/>
            <p:nvPr/>
          </p:nvSpPr>
          <p:spPr>
            <a:xfrm rot="5400000">
              <a:off x="7830343" y="2076004"/>
              <a:ext cx="1270001" cy="272353"/>
            </a:xfrm>
            <a:prstGeom prst="rtTriangle">
              <a:avLst/>
            </a:prstGeom>
            <a:gradFill>
              <a:gsLst>
                <a:gs pos="66000">
                  <a:schemeClr val="tx1">
                    <a:alpha val="0"/>
                  </a:schemeClr>
                </a:gs>
                <a:gs pos="100000">
                  <a:schemeClr val="tx1">
                    <a:alpha val="40000"/>
                  </a:schemeClr>
                </a:gs>
              </a:gsLst>
              <a:lin ang="60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noProof="0" dirty="0"/>
            </a:p>
          </p:txBody>
        </p:sp>
        <p:sp>
          <p:nvSpPr>
            <p:cNvPr id="22" name="Right Triangle 63">
              <a:extLst>
                <a:ext uri="{FF2B5EF4-FFF2-40B4-BE49-F238E27FC236}">
                  <a16:creationId xmlns:a16="http://schemas.microsoft.com/office/drawing/2014/main" id="{C3FC8BFC-CEA1-4B1F-8FB9-7D675F6C9F95}"/>
                </a:ext>
              </a:extLst>
            </p:cNvPr>
            <p:cNvSpPr/>
            <p:nvPr/>
          </p:nvSpPr>
          <p:spPr>
            <a:xfrm rot="16200000" flipH="1">
              <a:off x="1767842" y="2101564"/>
              <a:ext cx="1270001" cy="221236"/>
            </a:xfrm>
            <a:prstGeom prst="rtTriangle">
              <a:avLst/>
            </a:prstGeom>
            <a:gradFill>
              <a:gsLst>
                <a:gs pos="66000">
                  <a:schemeClr val="tx1">
                    <a:alpha val="0"/>
                  </a:schemeClr>
                </a:gs>
                <a:gs pos="100000">
                  <a:schemeClr val="tx1">
                    <a:alpha val="40000"/>
                  </a:schemeClr>
                </a:gs>
              </a:gsLst>
              <a:lin ang="60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noProof="0" dirty="0"/>
            </a:p>
          </p:txBody>
        </p:sp>
      </p:grpSp>
      <p:sp>
        <p:nvSpPr>
          <p:cNvPr id="23" name="Rectangle 175">
            <a:extLst>
              <a:ext uri="{FF2B5EF4-FFF2-40B4-BE49-F238E27FC236}">
                <a16:creationId xmlns:a16="http://schemas.microsoft.com/office/drawing/2014/main" id="{024A81C0-A5D1-432B-B914-2EAB4CE702AC}"/>
              </a:ext>
            </a:extLst>
          </p:cNvPr>
          <p:cNvSpPr/>
          <p:nvPr userDrawn="1"/>
        </p:nvSpPr>
        <p:spPr>
          <a:xfrm>
            <a:off x="420686" y="2347023"/>
            <a:ext cx="5809433" cy="2069553"/>
          </a:xfrm>
          <a:prstGeom prst="rect">
            <a:avLst/>
          </a:prstGeom>
          <a:solidFill>
            <a:schemeClr val="accent1"/>
          </a:solidFill>
          <a:ln w="9525">
            <a:solidFill>
              <a:srgbClr val="E2000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sp>
        <p:nvSpPr>
          <p:cNvPr id="24" name="Title 1"/>
          <p:cNvSpPr>
            <a:spLocks noGrp="1"/>
          </p:cNvSpPr>
          <p:nvPr>
            <p:ph type="ctrTitle" hasCustomPrompt="1"/>
          </p:nvPr>
        </p:nvSpPr>
        <p:spPr>
          <a:xfrm>
            <a:off x="689994" y="3328497"/>
            <a:ext cx="4280039" cy="868034"/>
          </a:xfrm>
        </p:spPr>
        <p:txBody>
          <a:bodyPr anchor="b" anchorCtr="0"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sl-SI" dirty="0"/>
              <a:t>Insert </a:t>
            </a:r>
            <a:r>
              <a:rPr lang="sl-SI" dirty="0" err="1"/>
              <a:t>Presentation</a:t>
            </a:r>
            <a:br>
              <a:rPr lang="sl-SI" dirty="0"/>
            </a:br>
            <a:r>
              <a:rPr lang="en-GB" dirty="0"/>
              <a:t>titl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1A3CF98-EEFD-11F8-F32F-F9F63DF5BDF6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6075454" y="113595"/>
            <a:ext cx="3068546" cy="738893"/>
          </a:xfrm>
          <a:prstGeom prst="rect">
            <a:avLst/>
          </a:prstGeom>
        </p:spPr>
      </p:pic>
      <p:pic>
        <p:nvPicPr>
          <p:cNvPr id="3" name="Picture 2" descr="A red sign with white text&#10;&#10;AI-generated content may be incorrect.">
            <a:extLst>
              <a:ext uri="{FF2B5EF4-FFF2-40B4-BE49-F238E27FC236}">
                <a16:creationId xmlns:a16="http://schemas.microsoft.com/office/drawing/2014/main" id="{3EF33158-614E-88AF-1252-0AE5E6EA83E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4100" y="113595"/>
            <a:ext cx="1203205" cy="527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29686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3" presetClass="path" presetSubtype="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66667E-6 2.59259E-6 L 0.79618 2.59259E-6 " pathEditMode="relative" rAng="0" ptsTypes="AA">
                                      <p:cBhvr>
                                        <p:cTn id="9" dur="1000" spd="-100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9809" y="0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42" presetClass="path" presetSubtype="0" decel="50000" fill="hold" grpId="1" nodeType="withEffect">
                                  <p:stCondLst>
                                    <p:cond delay="1250"/>
                                  </p:stCondLst>
                                  <p:childTnLst>
                                    <p:animMotion origin="layout" path="M 1.38889E-6 -1.48148E-6 L 1.38889E-6 -0.24167 " pathEditMode="relative" rAng="0" ptsTypes="AA">
                                      <p:cBhvr>
                                        <p:cTn id="20" dur="750" spd="-100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09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  <p:bldP spid="23" grpId="0" animBg="1"/>
      <p:bldP spid="23" grpId="1" animBg="1"/>
      <p:bldP spid="24" grpId="0"/>
      <p:bldP spid="24" grpId="1"/>
    </p:bld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Content Placeholder 2"/>
          <p:cNvSpPr>
            <a:spLocks noGrp="1"/>
          </p:cNvSpPr>
          <p:nvPr>
            <p:ph sz="quarter" idx="14"/>
          </p:nvPr>
        </p:nvSpPr>
        <p:spPr>
          <a:xfrm>
            <a:off x="419101" y="1006080"/>
            <a:ext cx="4067175" cy="35099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/>
          </p:nvPr>
        </p:nvSpPr>
        <p:spPr>
          <a:xfrm>
            <a:off x="4659314" y="1006080"/>
            <a:ext cx="4068761" cy="35099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B8A7D54C-D54F-43B1-99F6-F18074A4CDBC}" type="datetimeFigureOut">
              <a:rPr lang="en-GB" smtClean="0"/>
              <a:pPr/>
              <a:t>26/05/202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6863026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medium picture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19100" y="221456"/>
            <a:ext cx="4067176" cy="70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19101" y="1006080"/>
            <a:ext cx="4067175" cy="3509962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659314" y="1"/>
            <a:ext cx="4484686" cy="4794647"/>
          </a:xfrm>
        </p:spPr>
        <p:txBody>
          <a:bodyPr tIns="900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B8A7D54C-D54F-43B1-99F6-F18074A4CDBC}" type="datetimeFigureOut">
              <a:rPr lang="en-GB" smtClean="0"/>
              <a:pPr/>
              <a:t>26/05/202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0086503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dium picture and text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4659314" y="221456"/>
            <a:ext cx="4068761" cy="70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4653871" y="1006078"/>
            <a:ext cx="4067855" cy="35099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1" y="1"/>
            <a:ext cx="4486275" cy="4794647"/>
          </a:xfrm>
        </p:spPr>
        <p:txBody>
          <a:bodyPr tIns="900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B8A7D54C-D54F-43B1-99F6-F18074A4CDBC}" type="datetimeFigureOut">
              <a:rPr lang="en-GB" smtClean="0"/>
              <a:pPr/>
              <a:t>26/05/202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2277713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small picture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19101" y="1006078"/>
            <a:ext cx="5160962" cy="35099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5747275" y="1006079"/>
            <a:ext cx="2980800" cy="3509963"/>
          </a:xfrm>
        </p:spPr>
        <p:txBody>
          <a:bodyPr tIns="900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8A7D54C-D54F-43B1-99F6-F18074A4CDBC}" type="datetimeFigureOut">
              <a:rPr lang="en-GB" smtClean="0"/>
              <a:pPr/>
              <a:t>26/05/202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9124862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picture and text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3567601" y="1006078"/>
            <a:ext cx="5160475" cy="35099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19100" y="1006079"/>
            <a:ext cx="2980800" cy="3509963"/>
          </a:xfrm>
        </p:spPr>
        <p:txBody>
          <a:bodyPr tIns="900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8A7D54C-D54F-43B1-99F6-F18074A4CDBC}" type="datetimeFigureOut">
              <a:rPr lang="en-GB" smtClean="0"/>
              <a:pPr/>
              <a:t>26/05/202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2123014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content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0689" y="1006078"/>
            <a:ext cx="8301037" cy="38870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bmkFldAdditionalInfo"/>
          <p:cNvSpPr txBox="1">
            <a:spLocks noChangeArrowheads="1"/>
          </p:cNvSpPr>
          <p:nvPr userDrawn="1"/>
        </p:nvSpPr>
        <p:spPr bwMode="auto">
          <a:xfrm>
            <a:off x="64431" y="4966381"/>
            <a:ext cx="381042" cy="91800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lIns="0" tIns="0" rIns="0" bIns="0" anchor="b" anchorCtr="0"/>
          <a:lstStyle/>
          <a:p>
            <a:pPr algn="r" fontAlgn="base">
              <a:spcBef>
                <a:spcPct val="20000"/>
              </a:spcBef>
              <a:spcAft>
                <a:spcPct val="0"/>
              </a:spcAft>
              <a:buClr>
                <a:srgbClr val="808080"/>
              </a:buClr>
            </a:pPr>
            <a:fld id="{21B19618-E8F0-4C5A-87AE-B0CCB4D6BB5E}" type="slidenum">
              <a:rPr lang="en-GB" sz="600" b="1" smtClean="0">
                <a:solidFill>
                  <a:schemeClr val="tx1"/>
                </a:solidFill>
                <a:ea typeface="SimHei"/>
                <a:cs typeface="Arial" charset="0"/>
              </a:rPr>
              <a:pPr algn="r" fontAlgn="base">
                <a:spcBef>
                  <a:spcPct val="20000"/>
                </a:spcBef>
                <a:spcAft>
                  <a:spcPct val="0"/>
                </a:spcAft>
                <a:buClr>
                  <a:srgbClr val="808080"/>
                </a:buClr>
              </a:pPr>
              <a:t>‹#›</a:t>
            </a:fld>
            <a:r>
              <a:rPr lang="en-GB" sz="600" dirty="0">
                <a:solidFill>
                  <a:schemeClr val="tx1"/>
                </a:solidFill>
                <a:ea typeface="SimHei"/>
                <a:cs typeface="Arial" charset="0"/>
              </a:rPr>
              <a:t> |</a:t>
            </a:r>
          </a:p>
        </p:txBody>
      </p:sp>
    </p:spTree>
    <p:extLst>
      <p:ext uri="{BB962C8B-B14F-4D97-AF65-F5344CB8AC3E}">
        <p14:creationId xmlns:p14="http://schemas.microsoft.com/office/powerpoint/2010/main" val="210571706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0" y="1"/>
            <a:ext cx="9144000" cy="4794647"/>
          </a:xfrm>
        </p:spPr>
        <p:txBody>
          <a:bodyPr tIns="900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B8A7D54C-D54F-43B1-99F6-F18074A4CDBC}" type="datetimeFigureOut">
              <a:rPr lang="en-GB" smtClean="0"/>
              <a:pPr/>
              <a:t>26/05/202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0701054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U:\Danfoss\Jobs\5123_Hjaelp til PowerPoint skabeloner\Received\Nyeste grafikker\Ny Grafik til SD\Ny Grafik til SD\PPT_frontpage_4-3_full_red_backdrop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20688" y="1270982"/>
            <a:ext cx="8307387" cy="1102519"/>
          </a:xfrm>
        </p:spPr>
        <p:txBody>
          <a:bodyPr anchor="b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insert Presentation title in</a:t>
            </a:r>
            <a:br>
              <a:rPr lang="en-GB" dirty="0"/>
            </a:br>
            <a:r>
              <a:rPr lang="en-GB" b="1" dirty="0"/>
              <a:t>Verdana Bold </a:t>
            </a:r>
            <a:r>
              <a:rPr lang="en-GB" dirty="0"/>
              <a:t>and Verdana Regular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19099" y="2711053"/>
            <a:ext cx="8308975" cy="407396"/>
          </a:xfrm>
        </p:spPr>
        <p:txBody>
          <a:bodyPr/>
          <a:lstStyle>
            <a:lvl1pPr marL="0" indent="0" algn="l">
              <a:buNone/>
              <a:defRPr sz="1050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insert text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7532" y="141581"/>
            <a:ext cx="2289048" cy="4389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292709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White background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 noProof="0" dirty="0"/>
          </a:p>
        </p:txBody>
      </p:sp>
      <p:pic>
        <p:nvPicPr>
          <p:cNvPr id="2051" name="Boxlogo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09520" y="1642116"/>
            <a:ext cx="3098210" cy="10156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47864" y="2915646"/>
            <a:ext cx="2466000" cy="4824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35622761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nd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7532" y="141581"/>
            <a:ext cx="2289048" cy="438912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420688" y="1270982"/>
            <a:ext cx="8307387" cy="1102519"/>
          </a:xfrm>
        </p:spPr>
        <p:txBody>
          <a:bodyPr anchor="b" anchorCtr="0"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Presentation divider in</a:t>
            </a:r>
            <a:br>
              <a:rPr lang="en-GB" dirty="0"/>
            </a:br>
            <a:r>
              <a:rPr lang="en-GB" b="1" dirty="0"/>
              <a:t>Verdana Bold </a:t>
            </a:r>
            <a:r>
              <a:rPr lang="en-GB" dirty="0"/>
              <a:t>and Verdana Regular</a:t>
            </a:r>
          </a:p>
        </p:txBody>
      </p:sp>
    </p:spTree>
    <p:extLst>
      <p:ext uri="{BB962C8B-B14F-4D97-AF65-F5344CB8AC3E}">
        <p14:creationId xmlns:p14="http://schemas.microsoft.com/office/powerpoint/2010/main" val="290253661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ond Page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lede 3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31"/>
          <a:stretch/>
        </p:blipFill>
        <p:spPr>
          <a:xfrm>
            <a:off x="1079" y="0"/>
            <a:ext cx="9145017" cy="5143499"/>
          </a:xfrm>
          <a:prstGeom prst="rect">
            <a:avLst/>
          </a:prstGeom>
        </p:spPr>
      </p:pic>
      <p:pic>
        <p:nvPicPr>
          <p:cNvPr id="5" name="Picture 4" descr="A red sign with white text&#10;&#10;AI-generated content may be incorrect.">
            <a:extLst>
              <a:ext uri="{FF2B5EF4-FFF2-40B4-BE49-F238E27FC236}">
                <a16:creationId xmlns:a16="http://schemas.microsoft.com/office/drawing/2014/main" id="{9F1C818E-2190-117A-A72D-6B9E294A1A6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4100" y="113595"/>
            <a:ext cx="1203205" cy="527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0655020"/>
      </p:ext>
    </p:extLst>
  </p:cSld>
  <p:clrMapOvr>
    <a:masterClrMapping/>
  </p:clrMapOvr>
  <p:transition spd="slow">
    <p:push dir="u"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End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7532" y="141581"/>
            <a:ext cx="2289048" cy="438912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420688" y="1270982"/>
            <a:ext cx="8307387" cy="1102519"/>
          </a:xfrm>
        </p:spPr>
        <p:txBody>
          <a:bodyPr anchor="b" anchorCtr="0"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Presentation divider in</a:t>
            </a:r>
            <a:br>
              <a:rPr lang="en-GB" dirty="0"/>
            </a:br>
            <a:r>
              <a:rPr lang="en-GB" b="1" dirty="0"/>
              <a:t>Verdana Bold </a:t>
            </a:r>
            <a:r>
              <a:rPr lang="en-GB" dirty="0"/>
              <a:t>and Verdana Regular</a:t>
            </a:r>
          </a:p>
        </p:txBody>
      </p:sp>
    </p:spTree>
    <p:extLst>
      <p:ext uri="{BB962C8B-B14F-4D97-AF65-F5344CB8AC3E}">
        <p14:creationId xmlns:p14="http://schemas.microsoft.com/office/powerpoint/2010/main" val="427163461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End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7532" y="141581"/>
            <a:ext cx="2289048" cy="438912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420688" y="1270982"/>
            <a:ext cx="8307387" cy="1102519"/>
          </a:xfrm>
        </p:spPr>
        <p:txBody>
          <a:bodyPr anchor="b" anchorCtr="0"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Presentation divider in</a:t>
            </a:r>
            <a:br>
              <a:rPr lang="en-GB" dirty="0"/>
            </a:br>
            <a:r>
              <a:rPr lang="en-GB" b="1" dirty="0"/>
              <a:t>Verdana Bold </a:t>
            </a:r>
            <a:r>
              <a:rPr lang="en-GB" dirty="0"/>
              <a:t>and Verdana Regular</a:t>
            </a:r>
          </a:p>
        </p:txBody>
      </p:sp>
    </p:spTree>
    <p:extLst>
      <p:ext uri="{BB962C8B-B14F-4D97-AF65-F5344CB8AC3E}">
        <p14:creationId xmlns:p14="http://schemas.microsoft.com/office/powerpoint/2010/main" val="149611433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End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7532" y="141581"/>
            <a:ext cx="2289048" cy="438912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420688" y="1270982"/>
            <a:ext cx="8307387" cy="1102519"/>
          </a:xfrm>
        </p:spPr>
        <p:txBody>
          <a:bodyPr anchor="b" anchorCtr="0"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Presentation divider in</a:t>
            </a:r>
            <a:br>
              <a:rPr lang="en-GB" dirty="0"/>
            </a:br>
            <a:r>
              <a:rPr lang="en-GB" b="1" dirty="0"/>
              <a:t>Verdana Bold </a:t>
            </a:r>
            <a:r>
              <a:rPr lang="en-GB" dirty="0"/>
              <a:t>and Verdana Regular</a:t>
            </a:r>
          </a:p>
        </p:txBody>
      </p:sp>
    </p:spTree>
    <p:extLst>
      <p:ext uri="{BB962C8B-B14F-4D97-AF65-F5344CB8AC3E}">
        <p14:creationId xmlns:p14="http://schemas.microsoft.com/office/powerpoint/2010/main" val="1334231882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End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7532" y="141581"/>
            <a:ext cx="2289048" cy="438912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420688" y="1270982"/>
            <a:ext cx="8307387" cy="1102519"/>
          </a:xfrm>
        </p:spPr>
        <p:txBody>
          <a:bodyPr anchor="b" anchorCtr="0"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Presentation divider in</a:t>
            </a:r>
            <a:br>
              <a:rPr lang="en-GB" dirty="0"/>
            </a:br>
            <a:r>
              <a:rPr lang="en-GB" b="1" dirty="0"/>
              <a:t>Verdana Bold </a:t>
            </a:r>
            <a:r>
              <a:rPr lang="en-GB" dirty="0"/>
              <a:t>and Verdana Regular</a:t>
            </a:r>
          </a:p>
        </p:txBody>
      </p:sp>
    </p:spTree>
    <p:extLst>
      <p:ext uri="{BB962C8B-B14F-4D97-AF65-F5344CB8AC3E}">
        <p14:creationId xmlns:p14="http://schemas.microsoft.com/office/powerpoint/2010/main" val="228610974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End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7532" y="141581"/>
            <a:ext cx="2289048" cy="438912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420688" y="1270982"/>
            <a:ext cx="8307387" cy="1102519"/>
          </a:xfrm>
        </p:spPr>
        <p:txBody>
          <a:bodyPr anchor="b" anchorCtr="0"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Presentation divider in</a:t>
            </a:r>
            <a:br>
              <a:rPr lang="en-GB" dirty="0"/>
            </a:br>
            <a:r>
              <a:rPr lang="en-GB" b="1" dirty="0"/>
              <a:t>Verdana Bold </a:t>
            </a:r>
            <a:r>
              <a:rPr lang="en-GB" dirty="0"/>
              <a:t>and Verdana Regular</a:t>
            </a:r>
          </a:p>
        </p:txBody>
      </p:sp>
    </p:spTree>
    <p:extLst>
      <p:ext uri="{BB962C8B-B14F-4D97-AF65-F5344CB8AC3E}">
        <p14:creationId xmlns:p14="http://schemas.microsoft.com/office/powerpoint/2010/main" val="4637623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End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7532" y="141581"/>
            <a:ext cx="2289048" cy="438912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420688" y="1270982"/>
            <a:ext cx="8307387" cy="1102519"/>
          </a:xfrm>
        </p:spPr>
        <p:txBody>
          <a:bodyPr anchor="b" anchorCtr="0"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Presentation divider in</a:t>
            </a:r>
            <a:br>
              <a:rPr lang="en-GB" dirty="0"/>
            </a:br>
            <a:r>
              <a:rPr lang="en-GB" b="1" dirty="0"/>
              <a:t>Verdana Bold </a:t>
            </a:r>
            <a:r>
              <a:rPr lang="en-GB" dirty="0"/>
              <a:t>and Verdana Regular</a:t>
            </a:r>
          </a:p>
        </p:txBody>
      </p:sp>
    </p:spTree>
    <p:extLst>
      <p:ext uri="{BB962C8B-B14F-4D97-AF65-F5344CB8AC3E}">
        <p14:creationId xmlns:p14="http://schemas.microsoft.com/office/powerpoint/2010/main" val="2016537145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End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7532" y="141581"/>
            <a:ext cx="2289048" cy="438912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420688" y="1270982"/>
            <a:ext cx="8307387" cy="1102519"/>
          </a:xfrm>
        </p:spPr>
        <p:txBody>
          <a:bodyPr anchor="b" anchorCtr="0"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Presentation divider in</a:t>
            </a:r>
            <a:br>
              <a:rPr lang="en-GB" dirty="0"/>
            </a:br>
            <a:r>
              <a:rPr lang="en-GB" b="1" dirty="0"/>
              <a:t>Verdana Bold </a:t>
            </a:r>
            <a:r>
              <a:rPr lang="en-GB" dirty="0"/>
              <a:t>and Verdana Regular</a:t>
            </a:r>
          </a:p>
        </p:txBody>
      </p:sp>
    </p:spTree>
    <p:extLst>
      <p:ext uri="{BB962C8B-B14F-4D97-AF65-F5344CB8AC3E}">
        <p14:creationId xmlns:p14="http://schemas.microsoft.com/office/powerpoint/2010/main" val="409926513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End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7532" y="141581"/>
            <a:ext cx="2289048" cy="438912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420688" y="1270982"/>
            <a:ext cx="8307387" cy="1102519"/>
          </a:xfrm>
        </p:spPr>
        <p:txBody>
          <a:bodyPr anchor="b" anchorCtr="0"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Presentation divider in</a:t>
            </a:r>
            <a:br>
              <a:rPr lang="en-GB" dirty="0"/>
            </a:br>
            <a:r>
              <a:rPr lang="en-GB" b="1" dirty="0"/>
              <a:t>Verdana Bold </a:t>
            </a:r>
            <a:r>
              <a:rPr lang="en-GB" dirty="0"/>
              <a:t>and Verdana Regular</a:t>
            </a:r>
          </a:p>
        </p:txBody>
      </p:sp>
    </p:spTree>
    <p:extLst>
      <p:ext uri="{BB962C8B-B14F-4D97-AF65-F5344CB8AC3E}">
        <p14:creationId xmlns:p14="http://schemas.microsoft.com/office/powerpoint/2010/main" val="2942620814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0_End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7532" y="141581"/>
            <a:ext cx="2289048" cy="438912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420688" y="1270982"/>
            <a:ext cx="8307387" cy="1102519"/>
          </a:xfrm>
        </p:spPr>
        <p:txBody>
          <a:bodyPr anchor="b" anchorCtr="0"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Presentation divider in</a:t>
            </a:r>
            <a:br>
              <a:rPr lang="en-GB" dirty="0"/>
            </a:br>
            <a:r>
              <a:rPr lang="en-GB" b="1" dirty="0"/>
              <a:t>Verdana Bold </a:t>
            </a:r>
            <a:r>
              <a:rPr lang="en-GB" dirty="0"/>
              <a:t>and Verdana Regular</a:t>
            </a:r>
          </a:p>
        </p:txBody>
      </p:sp>
    </p:spTree>
    <p:extLst>
      <p:ext uri="{BB962C8B-B14F-4D97-AF65-F5344CB8AC3E}">
        <p14:creationId xmlns:p14="http://schemas.microsoft.com/office/powerpoint/2010/main" val="289779217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1_End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7532" y="141581"/>
            <a:ext cx="2289048" cy="438912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420688" y="1270982"/>
            <a:ext cx="8307387" cy="1102519"/>
          </a:xfrm>
        </p:spPr>
        <p:txBody>
          <a:bodyPr anchor="b" anchorCtr="0"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Presentation divider in</a:t>
            </a:r>
            <a:br>
              <a:rPr lang="en-GB" dirty="0"/>
            </a:br>
            <a:r>
              <a:rPr lang="en-GB" b="1" dirty="0"/>
              <a:t>Verdana Bold </a:t>
            </a:r>
            <a:r>
              <a:rPr lang="en-GB" dirty="0"/>
              <a:t>and Verdana Regular</a:t>
            </a:r>
          </a:p>
        </p:txBody>
      </p:sp>
    </p:spTree>
    <p:extLst>
      <p:ext uri="{BB962C8B-B14F-4D97-AF65-F5344CB8AC3E}">
        <p14:creationId xmlns:p14="http://schemas.microsoft.com/office/powerpoint/2010/main" val="89628191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i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lede 3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31"/>
          <a:stretch/>
        </p:blipFill>
        <p:spPr>
          <a:xfrm>
            <a:off x="1079" y="1"/>
            <a:ext cx="9145017" cy="4796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8530635"/>
      </p:ext>
    </p:extLst>
  </p:cSld>
  <p:clrMapOvr>
    <a:masterClrMapping/>
  </p:clrMapOvr>
  <p:transition spd="slow">
    <p:push dir="u"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2_End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7532" y="141581"/>
            <a:ext cx="2289048" cy="438912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420688" y="1270982"/>
            <a:ext cx="8307387" cy="1102519"/>
          </a:xfrm>
        </p:spPr>
        <p:txBody>
          <a:bodyPr anchor="b" anchorCtr="0"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Presentation divider in</a:t>
            </a:r>
            <a:br>
              <a:rPr lang="en-GB" dirty="0"/>
            </a:br>
            <a:r>
              <a:rPr lang="en-GB" b="1" dirty="0"/>
              <a:t>Verdana Bold </a:t>
            </a:r>
            <a:r>
              <a:rPr lang="en-GB" dirty="0"/>
              <a:t>and Verdana Regular</a:t>
            </a:r>
          </a:p>
        </p:txBody>
      </p:sp>
    </p:spTree>
    <p:extLst>
      <p:ext uri="{BB962C8B-B14F-4D97-AF65-F5344CB8AC3E}">
        <p14:creationId xmlns:p14="http://schemas.microsoft.com/office/powerpoint/2010/main" val="2707057714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3_End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7532" y="141581"/>
            <a:ext cx="2289048" cy="438912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420688" y="1270982"/>
            <a:ext cx="8307387" cy="1102519"/>
          </a:xfrm>
        </p:spPr>
        <p:txBody>
          <a:bodyPr anchor="b" anchorCtr="0"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Presentation divider in</a:t>
            </a:r>
            <a:br>
              <a:rPr lang="en-GB" dirty="0"/>
            </a:br>
            <a:r>
              <a:rPr lang="en-GB" b="1" dirty="0"/>
              <a:t>Verdana Bold </a:t>
            </a:r>
            <a:r>
              <a:rPr lang="en-GB" dirty="0"/>
              <a:t>and Verdana Regular</a:t>
            </a:r>
          </a:p>
        </p:txBody>
      </p:sp>
    </p:spTree>
    <p:extLst>
      <p:ext uri="{BB962C8B-B14F-4D97-AF65-F5344CB8AC3E}">
        <p14:creationId xmlns:p14="http://schemas.microsoft.com/office/powerpoint/2010/main" val="99389272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U:\Danfoss\Jobs\5123_Hjaelp til PowerPoint skabeloner\Received\Nyeste grafikker\Ny Grafik til SD\Ny Grafik til SD\PPT_frontpage_4-3_full_red_backdrop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7532" y="141581"/>
            <a:ext cx="2289048" cy="438912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20688" y="1270982"/>
            <a:ext cx="8307387" cy="1102519"/>
          </a:xfrm>
        </p:spPr>
        <p:txBody>
          <a:bodyPr anchor="b" anchorCtr="0"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Presentation divider in</a:t>
            </a:r>
            <a:br>
              <a:rPr lang="en-GB" dirty="0"/>
            </a:br>
            <a:r>
              <a:rPr lang="en-GB" b="1" dirty="0"/>
              <a:t>Verdana Bold </a:t>
            </a:r>
            <a:r>
              <a:rPr lang="en-GB" dirty="0"/>
              <a:t>and Verdana Regular</a:t>
            </a:r>
          </a:p>
        </p:txBody>
      </p:sp>
    </p:spTree>
    <p:extLst>
      <p:ext uri="{BB962C8B-B14F-4D97-AF65-F5344CB8AC3E}">
        <p14:creationId xmlns:p14="http://schemas.microsoft.com/office/powerpoint/2010/main" val="78510466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ktangel 10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 noProof="0" dirty="0"/>
          </a:p>
        </p:txBody>
      </p:sp>
      <p:pic>
        <p:nvPicPr>
          <p:cNvPr id="1026" name="Picture 2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414" b="-40"/>
          <a:stretch/>
        </p:blipFill>
        <p:spPr bwMode="auto">
          <a:xfrm>
            <a:off x="-8021" y="1"/>
            <a:ext cx="9208168" cy="51457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Backdrop single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0"/>
            <a:ext cx="9144000" cy="86940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7" name="Logo top"/>
          <p:cNvSpPr>
            <a:spLocks noGrp="1"/>
          </p:cNvSpPr>
          <p:nvPr>
            <p:ph type="body" sz="quarter" idx="11" hasCustomPrompt="1"/>
          </p:nvPr>
        </p:nvSpPr>
        <p:spPr>
          <a:xfrm>
            <a:off x="6465600" y="286200"/>
            <a:ext cx="2289600" cy="440100"/>
          </a:xfrm>
          <a:blipFill>
            <a:blip r:embed="rId4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0" name="Title 7"/>
          <p:cNvSpPr>
            <a:spLocks noGrp="1"/>
          </p:cNvSpPr>
          <p:nvPr>
            <p:ph type="ctrTitle" hasCustomPrompt="1"/>
          </p:nvPr>
        </p:nvSpPr>
        <p:spPr>
          <a:xfrm>
            <a:off x="420687" y="1006078"/>
            <a:ext cx="8307388" cy="868034"/>
          </a:xfrm>
        </p:spPr>
        <p:txBody>
          <a:bodyPr anchor="b" anchorCtr="0"/>
          <a:lstStyle/>
          <a:p>
            <a:r>
              <a:rPr lang="en-GB" dirty="0"/>
              <a:t>Click to insert Presentation title in</a:t>
            </a:r>
            <a:br>
              <a:rPr lang="en-GB" dirty="0"/>
            </a:br>
            <a:r>
              <a:rPr lang="en-GB" b="1" dirty="0"/>
              <a:t>Verdana Bold </a:t>
            </a:r>
            <a:r>
              <a:rPr lang="en-GB" dirty="0"/>
              <a:t>and Verdana Regular</a:t>
            </a:r>
          </a:p>
        </p:txBody>
      </p:sp>
      <p:sp>
        <p:nvSpPr>
          <p:cNvPr id="12" name="Subtitle 8"/>
          <p:cNvSpPr>
            <a:spLocks noGrp="1"/>
          </p:cNvSpPr>
          <p:nvPr>
            <p:ph type="subTitle" idx="1" hasCustomPrompt="1"/>
          </p:nvPr>
        </p:nvSpPr>
        <p:spPr>
          <a:xfrm>
            <a:off x="419099" y="2011936"/>
            <a:ext cx="8308975" cy="291820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tx1">
                  <a:lumMod val="50000"/>
                  <a:lumOff val="50000"/>
                </a:schemeClr>
              </a:buClr>
              <a:buSzTx/>
              <a:buFont typeface="Verdana" panose="020B0604030504040204" pitchFamily="34" charset="0"/>
              <a:buNone/>
              <a:tabLst/>
              <a:defRPr sz="1050"/>
            </a:lvl1pPr>
          </a:lstStyle>
          <a:p>
            <a:r>
              <a:rPr lang="en-GB" dirty="0"/>
              <a:t>Click to insert name and title of presenter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69175859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9101" y="1006079"/>
            <a:ext cx="8308975" cy="3495675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51656785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ktangel 10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 noProof="0" dirty="0"/>
          </a:p>
        </p:txBody>
      </p:sp>
      <p:sp>
        <p:nvSpPr>
          <p:cNvPr id="15" name="Pladsholder til billede 14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5143500"/>
          </a:xfrm>
        </p:spPr>
        <p:txBody>
          <a:bodyPr tIns="720000" anchor="ctr" anchorCtr="0"/>
          <a:lstStyle>
            <a:lvl1pPr marL="0" indent="0" algn="ctr">
              <a:buNone/>
              <a:defRPr sz="1050"/>
            </a:lvl1pPr>
          </a:lstStyle>
          <a:p>
            <a:r>
              <a:rPr lang="da-DK" dirty="0" err="1"/>
              <a:t>Click</a:t>
            </a:r>
            <a:r>
              <a:rPr lang="da-DK" dirty="0"/>
              <a:t> </a:t>
            </a:r>
            <a:r>
              <a:rPr lang="da-DK" dirty="0" err="1"/>
              <a:t>icon</a:t>
            </a:r>
            <a:r>
              <a:rPr lang="da-DK" dirty="0"/>
              <a:t> to </a:t>
            </a:r>
            <a:br>
              <a:rPr lang="da-DK" dirty="0"/>
            </a:b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picture</a:t>
            </a:r>
            <a:endParaRPr lang="en-US" dirty="0"/>
          </a:p>
        </p:txBody>
      </p:sp>
      <p:pic>
        <p:nvPicPr>
          <p:cNvPr id="2050" name="Picture 2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07" b="7331"/>
          <a:stretch/>
        </p:blipFill>
        <p:spPr bwMode="auto">
          <a:xfrm>
            <a:off x="-32084" y="-1"/>
            <a:ext cx="9250948" cy="52036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Backdrop single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5400"/>
            <a:ext cx="9144000" cy="231930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20687" y="1006078"/>
            <a:ext cx="8307388" cy="868034"/>
          </a:xfrm>
        </p:spPr>
        <p:txBody>
          <a:bodyPr anchor="b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insert Presentation title in</a:t>
            </a:r>
            <a:br>
              <a:rPr lang="en-GB" dirty="0"/>
            </a:br>
            <a:r>
              <a:rPr lang="en-GB" b="1" dirty="0"/>
              <a:t>Verdana Bold </a:t>
            </a:r>
            <a:r>
              <a:rPr lang="en-GB" dirty="0"/>
              <a:t>and Verdana Regular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19099" y="2011936"/>
            <a:ext cx="8308975" cy="291820"/>
          </a:xfrm>
        </p:spPr>
        <p:txBody>
          <a:bodyPr/>
          <a:lstStyle>
            <a:lvl1pPr marL="0" indent="0" algn="l">
              <a:buNone/>
              <a:defRPr sz="1050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insert name and title of presenter</a:t>
            </a:r>
          </a:p>
        </p:txBody>
      </p:sp>
      <p:sp>
        <p:nvSpPr>
          <p:cNvPr id="13" name="Logo top"/>
          <p:cNvSpPr>
            <a:spLocks noGrp="1"/>
          </p:cNvSpPr>
          <p:nvPr>
            <p:ph type="body" sz="quarter" idx="11" hasCustomPrompt="1"/>
          </p:nvPr>
        </p:nvSpPr>
        <p:spPr>
          <a:xfrm>
            <a:off x="6465600" y="286200"/>
            <a:ext cx="2289600" cy="440100"/>
          </a:xfrm>
          <a:blipFill>
            <a:blip r:embed="rId4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194318256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Content Placeholder 2"/>
          <p:cNvSpPr>
            <a:spLocks noGrp="1"/>
          </p:cNvSpPr>
          <p:nvPr>
            <p:ph sz="quarter" idx="14"/>
          </p:nvPr>
        </p:nvSpPr>
        <p:spPr>
          <a:xfrm>
            <a:off x="419101" y="1006079"/>
            <a:ext cx="4067175" cy="350996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/>
          </p:nvPr>
        </p:nvSpPr>
        <p:spPr>
          <a:xfrm>
            <a:off x="4659314" y="1006079"/>
            <a:ext cx="4068761" cy="350996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3206462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medium picture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19100" y="221456"/>
            <a:ext cx="4067176" cy="70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19101" y="1006079"/>
            <a:ext cx="4067175" cy="3509962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4659313" y="1"/>
            <a:ext cx="4484686" cy="4794647"/>
          </a:xfrm>
        </p:spPr>
        <p:txBody>
          <a:bodyPr tIns="900000" anchor="ctr" anchorCtr="0"/>
          <a:lstStyle>
            <a:lvl1pPr marL="0" indent="0" algn="ctr">
              <a:buNone/>
              <a:defRPr sz="1050"/>
            </a:lvl1pPr>
          </a:lstStyle>
          <a:p>
            <a:r>
              <a:rPr lang="da-DK" dirty="0" err="1"/>
              <a:t>Click</a:t>
            </a:r>
            <a:r>
              <a:rPr lang="da-DK" dirty="0"/>
              <a:t> </a:t>
            </a:r>
            <a:r>
              <a:rPr lang="da-DK" dirty="0" err="1"/>
              <a:t>icon</a:t>
            </a:r>
            <a:r>
              <a:rPr lang="da-DK" dirty="0"/>
              <a:t> to </a:t>
            </a:r>
            <a:br>
              <a:rPr lang="da-DK" dirty="0"/>
            </a:b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573668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dium picture and text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4659314" y="221456"/>
            <a:ext cx="4068761" cy="70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4653871" y="1006078"/>
            <a:ext cx="4067855" cy="350996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1"/>
            <a:ext cx="4486275" cy="4794647"/>
          </a:xfrm>
        </p:spPr>
        <p:txBody>
          <a:bodyPr tIns="900000" anchor="ctr" anchorCtr="0"/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</a:t>
            </a:r>
            <a:br>
              <a:rPr lang="en-US" dirty="0"/>
            </a:br>
            <a:r>
              <a:rPr lang="en-US" dirty="0"/>
              <a:t>add picture</a:t>
            </a:r>
          </a:p>
        </p:txBody>
      </p:sp>
    </p:spTree>
    <p:extLst>
      <p:ext uri="{BB962C8B-B14F-4D97-AF65-F5344CB8AC3E}">
        <p14:creationId xmlns:p14="http://schemas.microsoft.com/office/powerpoint/2010/main" val="3125012482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small picture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19100" y="1006078"/>
            <a:ext cx="5160962" cy="350996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5747275" y="1006079"/>
            <a:ext cx="2980800" cy="3509963"/>
          </a:xfrm>
        </p:spPr>
        <p:txBody>
          <a:bodyPr tIns="900000" anchor="ctr" anchorCtr="0"/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</a:t>
            </a:r>
            <a:br>
              <a:rPr lang="en-US" dirty="0"/>
            </a:br>
            <a:r>
              <a:rPr lang="en-US" dirty="0"/>
              <a:t>add picture</a:t>
            </a:r>
          </a:p>
        </p:txBody>
      </p:sp>
    </p:spTree>
    <p:extLst>
      <p:ext uri="{BB962C8B-B14F-4D97-AF65-F5344CB8AC3E}">
        <p14:creationId xmlns:p14="http://schemas.microsoft.com/office/powerpoint/2010/main" val="168135512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in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Slika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4" y="0"/>
            <a:ext cx="9141291" cy="48015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8517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picture and text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3567601" y="1006078"/>
            <a:ext cx="5160475" cy="350996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419100" y="1006079"/>
            <a:ext cx="2980800" cy="3509963"/>
          </a:xfrm>
        </p:spPr>
        <p:txBody>
          <a:bodyPr tIns="900000" anchor="ctr" anchorCtr="0"/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</a:t>
            </a:r>
            <a:br>
              <a:rPr lang="en-US" dirty="0"/>
            </a:br>
            <a:r>
              <a:rPr lang="en-US" dirty="0"/>
              <a:t>add picture</a:t>
            </a:r>
          </a:p>
        </p:txBody>
      </p:sp>
    </p:spTree>
    <p:extLst>
      <p:ext uri="{BB962C8B-B14F-4D97-AF65-F5344CB8AC3E}">
        <p14:creationId xmlns:p14="http://schemas.microsoft.com/office/powerpoint/2010/main" val="3603119933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content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0689" y="1006078"/>
            <a:ext cx="8301037" cy="388705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Page#"/>
          <p:cNvSpPr txBox="1">
            <a:spLocks noChangeArrowheads="1"/>
          </p:cNvSpPr>
          <p:nvPr userDrawn="1"/>
        </p:nvSpPr>
        <p:spPr bwMode="auto">
          <a:xfrm>
            <a:off x="64431" y="4966381"/>
            <a:ext cx="381042" cy="91800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lIns="0" tIns="0" rIns="0" bIns="0" anchor="b" anchorCtr="0"/>
          <a:lstStyle/>
          <a:p>
            <a:pPr algn="r" fontAlgn="base">
              <a:spcBef>
                <a:spcPct val="20000"/>
              </a:spcBef>
              <a:spcAft>
                <a:spcPct val="0"/>
              </a:spcAft>
              <a:buClr>
                <a:srgbClr val="808080"/>
              </a:buClr>
            </a:pPr>
            <a:fld id="{21B19618-E8F0-4C5A-87AE-B0CCB4D6BB5E}" type="slidenum">
              <a:rPr lang="en-GB" sz="600" b="1" smtClean="0">
                <a:solidFill>
                  <a:schemeClr val="tx1"/>
                </a:solidFill>
                <a:ea typeface="SimHei"/>
                <a:cs typeface="Arial" charset="0"/>
              </a:rPr>
              <a:pPr algn="r" fontAlgn="base">
                <a:spcBef>
                  <a:spcPct val="20000"/>
                </a:spcBef>
                <a:spcAft>
                  <a:spcPct val="0"/>
                </a:spcAft>
                <a:buClr>
                  <a:srgbClr val="808080"/>
                </a:buClr>
              </a:pPr>
              <a:t>‹#›</a:t>
            </a:fld>
            <a:r>
              <a:rPr lang="en-GB" sz="600" dirty="0">
                <a:solidFill>
                  <a:schemeClr val="tx1"/>
                </a:solidFill>
                <a:ea typeface="SimHei"/>
                <a:cs typeface="Arial" charset="0"/>
              </a:rPr>
              <a:t> |</a:t>
            </a:r>
          </a:p>
        </p:txBody>
      </p:sp>
    </p:spTree>
    <p:extLst>
      <p:ext uri="{BB962C8B-B14F-4D97-AF65-F5344CB8AC3E}">
        <p14:creationId xmlns:p14="http://schemas.microsoft.com/office/powerpoint/2010/main" val="1721075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,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1"/>
            <a:ext cx="9144000" cy="4794647"/>
          </a:xfrm>
          <a:prstGeom prst="rect">
            <a:avLst/>
          </a:prstGeom>
          <a:gradFill flip="none" rotWithShape="1">
            <a:gsLst>
              <a:gs pos="0">
                <a:srgbClr val="C7C7C7"/>
              </a:gs>
              <a:gs pos="50000">
                <a:schemeClr val="bg1"/>
              </a:gs>
              <a:gs pos="100000">
                <a:srgbClr val="CDCDCD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9101" y="1006078"/>
            <a:ext cx="8308975" cy="3509963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37995974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1"/>
            <a:ext cx="9144000" cy="4794647"/>
          </a:xfrm>
          <a:prstGeom prst="rect">
            <a:avLst/>
          </a:prstGeom>
          <a:gradFill flip="none" rotWithShape="1">
            <a:gsLst>
              <a:gs pos="0">
                <a:srgbClr val="C7C7C7"/>
              </a:gs>
              <a:gs pos="50000">
                <a:schemeClr val="bg1"/>
              </a:gs>
              <a:gs pos="100000">
                <a:srgbClr val="CDCDCD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 dirty="0"/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Content Placeholder 2"/>
          <p:cNvSpPr>
            <a:spLocks noGrp="1"/>
          </p:cNvSpPr>
          <p:nvPr>
            <p:ph sz="quarter" idx="14"/>
          </p:nvPr>
        </p:nvSpPr>
        <p:spPr>
          <a:xfrm>
            <a:off x="419100" y="1006079"/>
            <a:ext cx="4068000" cy="350996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/>
          </p:nvPr>
        </p:nvSpPr>
        <p:spPr>
          <a:xfrm>
            <a:off x="4654800" y="1006079"/>
            <a:ext cx="4068000" cy="350996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54794390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medium picture,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1"/>
            <a:ext cx="9144000" cy="4794647"/>
          </a:xfrm>
          <a:prstGeom prst="rect">
            <a:avLst/>
          </a:prstGeom>
          <a:gradFill flip="none" rotWithShape="1">
            <a:gsLst>
              <a:gs pos="0">
                <a:srgbClr val="C7C7C7"/>
              </a:gs>
              <a:gs pos="50000">
                <a:schemeClr val="bg1"/>
              </a:gs>
              <a:gs pos="100000">
                <a:srgbClr val="CDCDCD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19100" y="221456"/>
            <a:ext cx="4067176" cy="70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19101" y="1006079"/>
            <a:ext cx="4067175" cy="3509962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4659313" y="1"/>
            <a:ext cx="4484686" cy="4794647"/>
          </a:xfrm>
          <a:solidFill>
            <a:schemeClr val="bg1"/>
          </a:solidFill>
        </p:spPr>
        <p:txBody>
          <a:bodyPr tIns="900000" anchor="ctr" anchorCtr="0"/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</a:t>
            </a:r>
            <a:br>
              <a:rPr lang="en-US" dirty="0"/>
            </a:br>
            <a:r>
              <a:rPr lang="en-US" dirty="0"/>
              <a:t>add picture</a:t>
            </a:r>
          </a:p>
        </p:txBody>
      </p:sp>
    </p:spTree>
    <p:extLst>
      <p:ext uri="{BB962C8B-B14F-4D97-AF65-F5344CB8AC3E}">
        <p14:creationId xmlns:p14="http://schemas.microsoft.com/office/powerpoint/2010/main" val="416536885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dium picture and text,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1"/>
            <a:ext cx="9144000" cy="4794647"/>
          </a:xfrm>
          <a:prstGeom prst="rect">
            <a:avLst/>
          </a:prstGeom>
          <a:gradFill flip="none" rotWithShape="1">
            <a:gsLst>
              <a:gs pos="0">
                <a:srgbClr val="C7C7C7"/>
              </a:gs>
              <a:gs pos="50000">
                <a:schemeClr val="bg1"/>
              </a:gs>
              <a:gs pos="100000">
                <a:srgbClr val="CDCDCD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 dirty="0"/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4659314" y="221456"/>
            <a:ext cx="4068761" cy="70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4653871" y="1006078"/>
            <a:ext cx="4067855" cy="350996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1"/>
            <a:ext cx="4486275" cy="4794647"/>
          </a:xfrm>
          <a:solidFill>
            <a:schemeClr val="bg1"/>
          </a:solidFill>
        </p:spPr>
        <p:txBody>
          <a:bodyPr tIns="900000" anchor="ctr" anchorCtr="0"/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</a:t>
            </a:r>
            <a:br>
              <a:rPr lang="en-US" dirty="0"/>
            </a:br>
            <a:r>
              <a:rPr lang="en-US" dirty="0"/>
              <a:t>add picture</a:t>
            </a:r>
          </a:p>
        </p:txBody>
      </p:sp>
    </p:spTree>
    <p:extLst>
      <p:ext uri="{BB962C8B-B14F-4D97-AF65-F5344CB8AC3E}">
        <p14:creationId xmlns:p14="http://schemas.microsoft.com/office/powerpoint/2010/main" val="2624733417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small picture,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1"/>
            <a:ext cx="9144000" cy="4794647"/>
          </a:xfrm>
          <a:prstGeom prst="rect">
            <a:avLst/>
          </a:prstGeom>
          <a:gradFill flip="none" rotWithShape="1">
            <a:gsLst>
              <a:gs pos="0">
                <a:srgbClr val="C7C7C7"/>
              </a:gs>
              <a:gs pos="50000">
                <a:schemeClr val="bg1"/>
              </a:gs>
              <a:gs pos="100000">
                <a:srgbClr val="CDCDCD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 dirty="0"/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19100" y="1006078"/>
            <a:ext cx="5160962" cy="350996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5747275" y="1006079"/>
            <a:ext cx="2980800" cy="3509963"/>
          </a:xfrm>
          <a:solidFill>
            <a:schemeClr val="bg1"/>
          </a:solidFill>
        </p:spPr>
        <p:txBody>
          <a:bodyPr tIns="900000" anchor="ctr" anchorCtr="0"/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</a:t>
            </a:r>
            <a:br>
              <a:rPr lang="en-US" dirty="0"/>
            </a:br>
            <a:r>
              <a:rPr lang="en-US" dirty="0"/>
              <a:t>add picture</a:t>
            </a:r>
          </a:p>
        </p:txBody>
      </p:sp>
    </p:spTree>
    <p:extLst>
      <p:ext uri="{BB962C8B-B14F-4D97-AF65-F5344CB8AC3E}">
        <p14:creationId xmlns:p14="http://schemas.microsoft.com/office/powerpoint/2010/main" val="1740625310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picture and text,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1"/>
            <a:ext cx="9144000" cy="4794647"/>
          </a:xfrm>
          <a:prstGeom prst="rect">
            <a:avLst/>
          </a:prstGeom>
          <a:gradFill flip="none" rotWithShape="1">
            <a:gsLst>
              <a:gs pos="0">
                <a:srgbClr val="C7C7C7"/>
              </a:gs>
              <a:gs pos="50000">
                <a:schemeClr val="bg1"/>
              </a:gs>
              <a:gs pos="100000">
                <a:srgbClr val="CDCDCD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3567601" y="1006078"/>
            <a:ext cx="5160475" cy="350996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419100" y="1006079"/>
            <a:ext cx="2980800" cy="3509963"/>
          </a:xfrm>
          <a:solidFill>
            <a:schemeClr val="bg1"/>
          </a:solidFill>
        </p:spPr>
        <p:txBody>
          <a:bodyPr tIns="900000" anchor="ctr" anchorCtr="0"/>
          <a:lstStyle>
            <a:lvl1pPr marL="0" indent="0" algn="ctr">
              <a:buNone/>
              <a:defRPr sz="1050"/>
            </a:lvl1pPr>
          </a:lstStyle>
          <a:p>
            <a:r>
              <a:rPr lang="en-US" dirty="0"/>
              <a:t>Click icon to </a:t>
            </a:r>
            <a:br>
              <a:rPr lang="en-US" dirty="0"/>
            </a:br>
            <a:r>
              <a:rPr lang="en-US" dirty="0"/>
              <a:t>add picture</a:t>
            </a:r>
          </a:p>
        </p:txBody>
      </p:sp>
    </p:spTree>
    <p:extLst>
      <p:ext uri="{BB962C8B-B14F-4D97-AF65-F5344CB8AC3E}">
        <p14:creationId xmlns:p14="http://schemas.microsoft.com/office/powerpoint/2010/main" val="3576992369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content,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gradFill flip="none" rotWithShape="1">
            <a:gsLst>
              <a:gs pos="0">
                <a:srgbClr val="C7C7C7"/>
              </a:gs>
              <a:gs pos="50000">
                <a:schemeClr val="bg1"/>
              </a:gs>
              <a:gs pos="100000">
                <a:srgbClr val="CDCDCD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0689" y="1006078"/>
            <a:ext cx="8301037" cy="388705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Page#"/>
          <p:cNvSpPr txBox="1">
            <a:spLocks noChangeArrowheads="1"/>
          </p:cNvSpPr>
          <p:nvPr userDrawn="1"/>
        </p:nvSpPr>
        <p:spPr bwMode="auto">
          <a:xfrm>
            <a:off x="64431" y="4966381"/>
            <a:ext cx="381042" cy="91800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lIns="0" tIns="0" rIns="0" bIns="0" anchor="b" anchorCtr="0"/>
          <a:lstStyle/>
          <a:p>
            <a:pPr algn="r" fontAlgn="base">
              <a:spcBef>
                <a:spcPct val="20000"/>
              </a:spcBef>
              <a:spcAft>
                <a:spcPct val="0"/>
              </a:spcAft>
              <a:buClr>
                <a:srgbClr val="808080"/>
              </a:buClr>
            </a:pPr>
            <a:fld id="{21B19618-E8F0-4C5A-87AE-B0CCB4D6BB5E}" type="slidenum">
              <a:rPr lang="en-GB" sz="600" b="1" smtClean="0">
                <a:solidFill>
                  <a:schemeClr val="tx1"/>
                </a:solidFill>
                <a:ea typeface="SimHei"/>
                <a:cs typeface="Arial" charset="0"/>
              </a:rPr>
              <a:pPr algn="r" fontAlgn="base">
                <a:spcBef>
                  <a:spcPct val="20000"/>
                </a:spcBef>
                <a:spcAft>
                  <a:spcPct val="0"/>
                </a:spcAft>
                <a:buClr>
                  <a:srgbClr val="808080"/>
                </a:buClr>
              </a:pPr>
              <a:t>‹#›</a:t>
            </a:fld>
            <a:r>
              <a:rPr lang="en-GB" sz="600" dirty="0">
                <a:solidFill>
                  <a:schemeClr val="tx1"/>
                </a:solidFill>
                <a:ea typeface="SimHei"/>
                <a:cs typeface="Arial" charset="0"/>
              </a:rPr>
              <a:t> |</a:t>
            </a:r>
          </a:p>
        </p:txBody>
      </p:sp>
    </p:spTree>
    <p:extLst>
      <p:ext uri="{BB962C8B-B14F-4D97-AF65-F5344CB8AC3E}">
        <p14:creationId xmlns:p14="http://schemas.microsoft.com/office/powerpoint/2010/main" val="2537185995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2794718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in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25999843"/>
      </p:ext>
    </p:extLst>
  </p:cSld>
  <p:clrMapOvr>
    <a:masterClrMapping/>
  </p:clrMapOvr>
  <p:transition spd="slow">
    <p:push dir="u"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U:\Danfoss\Jobs\5123_Hjaelp til PowerPoint skabeloner\Received\Nyeste grafikker\Ny Grafik til SD\Ny Grafik til SD\PPT_frontpage_4-3_full_red_backdrop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7532" y="141581"/>
            <a:ext cx="2289048" cy="438912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420687" y="1006078"/>
            <a:ext cx="8307388" cy="868034"/>
          </a:xfrm>
        </p:spPr>
        <p:txBody>
          <a:bodyPr anchor="b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insert Presentation title in</a:t>
            </a:r>
            <a:br>
              <a:rPr lang="en-GB" dirty="0"/>
            </a:br>
            <a:r>
              <a:rPr lang="en-GB" b="1" dirty="0"/>
              <a:t>Verdana Bold </a:t>
            </a:r>
            <a:r>
              <a:rPr lang="en-GB" dirty="0"/>
              <a:t>and Verdana Regular</a:t>
            </a:r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19099" y="2011936"/>
            <a:ext cx="8308975" cy="291820"/>
          </a:xfrm>
        </p:spPr>
        <p:txBody>
          <a:bodyPr/>
          <a:lstStyle>
            <a:lvl1pPr marL="0" indent="0" algn="l">
              <a:buNone/>
              <a:defRPr sz="1050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insert name and title of presenter</a:t>
            </a:r>
          </a:p>
        </p:txBody>
      </p:sp>
    </p:spTree>
    <p:extLst>
      <p:ext uri="{BB962C8B-B14F-4D97-AF65-F5344CB8AC3E}">
        <p14:creationId xmlns:p14="http://schemas.microsoft.com/office/powerpoint/2010/main" val="3966329940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White background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 noProof="0" dirty="0"/>
          </a:p>
        </p:txBody>
      </p:sp>
      <p:pic>
        <p:nvPicPr>
          <p:cNvPr id="2051" name="Boxlogo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09519" y="1642115"/>
            <a:ext cx="3098210" cy="10156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47864" y="2915645"/>
            <a:ext cx="2466000" cy="4824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366462335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ktangel 10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noProof="0" dirty="0"/>
          </a:p>
        </p:txBody>
      </p:sp>
      <p:sp>
        <p:nvSpPr>
          <p:cNvPr id="15" name="Pladsholder til billede 14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5143500"/>
          </a:xfrm>
        </p:spPr>
        <p:txBody>
          <a:bodyPr tIns="3672000"/>
          <a:lstStyle>
            <a:lvl1pPr marL="0" indent="0" algn="ctr">
              <a:buNone/>
              <a:defRPr sz="1400" baseline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Backdrop single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0"/>
            <a:ext cx="9144000" cy="8748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-</a:t>
            </a:r>
          </a:p>
        </p:txBody>
      </p:sp>
      <p:sp>
        <p:nvSpPr>
          <p:cNvPr id="22" name="Logo top"/>
          <p:cNvSpPr>
            <a:spLocks noGrp="1"/>
          </p:cNvSpPr>
          <p:nvPr>
            <p:ph type="body" sz="quarter" idx="15" hasCustomPrompt="1"/>
          </p:nvPr>
        </p:nvSpPr>
        <p:spPr>
          <a:xfrm>
            <a:off x="7070400" y="0"/>
            <a:ext cx="2073600" cy="84240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-</a:t>
            </a: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420687" y="982831"/>
            <a:ext cx="8307388" cy="868034"/>
          </a:xfrm>
        </p:spPr>
        <p:txBody>
          <a:bodyPr anchor="b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insert Presentation title in</a:t>
            </a:r>
            <a:br>
              <a:rPr lang="en-GB" dirty="0"/>
            </a:br>
            <a:r>
              <a:rPr lang="en-GB" b="1" dirty="0"/>
              <a:t>Verdana Bold </a:t>
            </a:r>
            <a:r>
              <a:rPr lang="en-GB" dirty="0"/>
              <a:t>and Verdana Regular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19099" y="1988690"/>
            <a:ext cx="8308975" cy="291820"/>
          </a:xfrm>
        </p:spPr>
        <p:txBody>
          <a:bodyPr/>
          <a:lstStyle>
            <a:lvl1pPr marL="0" indent="0" algn="l">
              <a:buNone/>
              <a:defRPr sz="1400" baseline="0">
                <a:solidFill>
                  <a:schemeClr val="tx1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insert name and title of presenter</a:t>
            </a:r>
          </a:p>
        </p:txBody>
      </p:sp>
    </p:spTree>
    <p:extLst>
      <p:ext uri="{BB962C8B-B14F-4D97-AF65-F5344CB8AC3E}">
        <p14:creationId xmlns:p14="http://schemas.microsoft.com/office/powerpoint/2010/main" val="3647584258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9101" y="1222375"/>
            <a:ext cx="8308975" cy="3279378"/>
          </a:xfrm>
        </p:spPr>
        <p:txBody>
          <a:bodyPr/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defRPr sz="1600"/>
            </a:lvl2pPr>
            <a:lvl3pPr>
              <a:lnSpc>
                <a:spcPct val="100000"/>
              </a:lnSpc>
              <a:defRPr sz="1600"/>
            </a:lvl3pPr>
            <a:lvl4pPr>
              <a:lnSpc>
                <a:spcPct val="100000"/>
              </a:lnSpc>
              <a:defRPr sz="1600"/>
            </a:lvl4pPr>
            <a:lvl5pPr>
              <a:lnSpc>
                <a:spcPct val="100000"/>
              </a:lnSpc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89872917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ktangel 10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noProof="0" dirty="0"/>
          </a:p>
        </p:txBody>
      </p:sp>
      <p:sp>
        <p:nvSpPr>
          <p:cNvPr id="15" name="Pladsholder til billede 14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5143500"/>
          </a:xfrm>
        </p:spPr>
        <p:txBody>
          <a:bodyPr tIns="720000" anchor="ctr" anchorCtr="0"/>
          <a:lstStyle>
            <a:lvl1pPr marL="0" marR="0" indent="0" algn="ctr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SzTx/>
              <a:buFont typeface="Verdana" panose="020B0604030504040204" pitchFamily="34" charset="0"/>
              <a:buNone/>
              <a:tabLst/>
              <a:defRPr sz="14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0" name="Backdrop single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0"/>
            <a:ext cx="9144000" cy="23184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-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20687" y="982831"/>
            <a:ext cx="8307388" cy="868034"/>
          </a:xfrm>
        </p:spPr>
        <p:txBody>
          <a:bodyPr anchor="b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insert Presentation title in</a:t>
            </a:r>
            <a:br>
              <a:rPr lang="en-GB" dirty="0"/>
            </a:br>
            <a:r>
              <a:rPr lang="en-GB" b="1" dirty="0"/>
              <a:t>Verdana Bold </a:t>
            </a:r>
            <a:r>
              <a:rPr lang="en-GB" dirty="0"/>
              <a:t>and Verdana Regular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19099" y="1988690"/>
            <a:ext cx="8308975" cy="291820"/>
          </a:xfrm>
        </p:spPr>
        <p:txBody>
          <a:bodyPr/>
          <a:lstStyle>
            <a:lvl1pPr marL="0" indent="0" algn="l">
              <a:buNone/>
              <a:defRPr sz="1400" baseline="0">
                <a:solidFill>
                  <a:schemeClr val="bg1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insert name and title of presenter</a:t>
            </a:r>
          </a:p>
        </p:txBody>
      </p:sp>
      <p:sp>
        <p:nvSpPr>
          <p:cNvPr id="12" name="Logo top"/>
          <p:cNvSpPr>
            <a:spLocks noGrp="1"/>
          </p:cNvSpPr>
          <p:nvPr>
            <p:ph type="body" sz="quarter" idx="15" hasCustomPrompt="1"/>
          </p:nvPr>
        </p:nvSpPr>
        <p:spPr>
          <a:xfrm>
            <a:off x="7070400" y="0"/>
            <a:ext cx="2073600" cy="84240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-</a:t>
            </a:r>
          </a:p>
        </p:txBody>
      </p:sp>
    </p:spTree>
    <p:extLst>
      <p:ext uri="{BB962C8B-B14F-4D97-AF65-F5344CB8AC3E}">
        <p14:creationId xmlns:p14="http://schemas.microsoft.com/office/powerpoint/2010/main" val="617158519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Content Placeholder 2"/>
          <p:cNvSpPr>
            <a:spLocks noGrp="1"/>
          </p:cNvSpPr>
          <p:nvPr>
            <p:ph sz="quarter" idx="14"/>
          </p:nvPr>
        </p:nvSpPr>
        <p:spPr>
          <a:xfrm>
            <a:off x="419101" y="1222376"/>
            <a:ext cx="4067175" cy="3293665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/>
          </p:nvPr>
        </p:nvSpPr>
        <p:spPr>
          <a:xfrm>
            <a:off x="4659315" y="1222376"/>
            <a:ext cx="4068761" cy="3293665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87565724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medium picture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19100" y="221456"/>
            <a:ext cx="4067176" cy="871175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19101" y="1222376"/>
            <a:ext cx="4067175" cy="3293665"/>
          </a:xfrm>
        </p:spPr>
        <p:txBody>
          <a:bodyPr/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defRPr sz="1600"/>
            </a:lvl2pPr>
            <a:lvl3pPr>
              <a:lnSpc>
                <a:spcPct val="100000"/>
              </a:lnSpc>
              <a:defRPr sz="1600"/>
            </a:lvl3pPr>
            <a:lvl4pPr>
              <a:lnSpc>
                <a:spcPct val="100000"/>
              </a:lnSpc>
              <a:defRPr sz="1600"/>
            </a:lvl4pPr>
            <a:lvl5pPr>
              <a:lnSpc>
                <a:spcPct val="100000"/>
              </a:lnSpc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4659314" y="1"/>
            <a:ext cx="4484686" cy="4794647"/>
          </a:xfrm>
        </p:spPr>
        <p:txBody>
          <a:bodyPr tIns="612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da-DK" dirty="0" err="1"/>
              <a:t>Click</a:t>
            </a:r>
            <a:r>
              <a:rPr lang="da-DK" dirty="0"/>
              <a:t> </a:t>
            </a:r>
            <a:r>
              <a:rPr lang="da-DK" dirty="0" err="1"/>
              <a:t>icon</a:t>
            </a:r>
            <a:r>
              <a:rPr lang="da-DK" dirty="0"/>
              <a:t> to </a:t>
            </a:r>
            <a:br>
              <a:rPr lang="da-DK" dirty="0"/>
            </a:b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8822087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dium picture and text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4659315" y="221456"/>
            <a:ext cx="4068761" cy="702000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4653872" y="1222375"/>
            <a:ext cx="4067855" cy="3293666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2" y="1"/>
            <a:ext cx="4486275" cy="4794647"/>
          </a:xfrm>
        </p:spPr>
        <p:txBody>
          <a:bodyPr tIns="612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da-DK" dirty="0" err="1"/>
              <a:t>Click</a:t>
            </a:r>
            <a:r>
              <a:rPr lang="da-DK" dirty="0"/>
              <a:t> </a:t>
            </a:r>
            <a:r>
              <a:rPr lang="da-DK" dirty="0" err="1"/>
              <a:t>icon</a:t>
            </a:r>
            <a:r>
              <a:rPr lang="da-DK" dirty="0"/>
              <a:t> to </a:t>
            </a:r>
            <a:br>
              <a:rPr lang="da-DK" dirty="0"/>
            </a:b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149888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small picture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19101" y="1222375"/>
            <a:ext cx="5160962" cy="3293666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5747275" y="1222375"/>
            <a:ext cx="2980800" cy="3293667"/>
          </a:xfrm>
        </p:spPr>
        <p:txBody>
          <a:bodyPr tIns="756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da-DK" dirty="0" err="1"/>
              <a:t>Click</a:t>
            </a:r>
            <a:r>
              <a:rPr lang="da-DK" dirty="0"/>
              <a:t> </a:t>
            </a:r>
            <a:r>
              <a:rPr lang="da-DK" dirty="0" err="1"/>
              <a:t>icon</a:t>
            </a:r>
            <a:r>
              <a:rPr lang="da-DK" dirty="0"/>
              <a:t> to </a:t>
            </a:r>
            <a:br>
              <a:rPr lang="da-DK" dirty="0"/>
            </a:b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516912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picture and text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3567602" y="1222375"/>
            <a:ext cx="5160475" cy="3293666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419100" y="1222375"/>
            <a:ext cx="2980800" cy="3293667"/>
          </a:xfrm>
        </p:spPr>
        <p:txBody>
          <a:bodyPr tIns="756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da-DK" dirty="0" err="1"/>
              <a:t>Click</a:t>
            </a:r>
            <a:r>
              <a:rPr lang="da-DK" dirty="0"/>
              <a:t> </a:t>
            </a:r>
            <a:r>
              <a:rPr lang="da-DK" dirty="0" err="1"/>
              <a:t>icon</a:t>
            </a:r>
            <a:r>
              <a:rPr lang="da-DK" dirty="0"/>
              <a:t> to </a:t>
            </a:r>
            <a:br>
              <a:rPr lang="da-DK" dirty="0"/>
            </a:b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352759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lain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10155" y="289237"/>
            <a:ext cx="8280000" cy="3265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cxnSp>
        <p:nvCxnSpPr>
          <p:cNvPr id="4" name="Lige forbindelse 4"/>
          <p:cNvCxnSpPr/>
          <p:nvPr userDrawn="1"/>
        </p:nvCxnSpPr>
        <p:spPr>
          <a:xfrm>
            <a:off x="410155" y="755806"/>
            <a:ext cx="828000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Označba mesta besedila 10"/>
          <p:cNvSpPr>
            <a:spLocks noGrp="1"/>
          </p:cNvSpPr>
          <p:nvPr>
            <p:ph type="body" sz="quarter" idx="10"/>
          </p:nvPr>
        </p:nvSpPr>
        <p:spPr>
          <a:xfrm>
            <a:off x="409575" y="963613"/>
            <a:ext cx="8280400" cy="3300412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sl-SI" dirty="0"/>
              <a:t>Uredite sloge besedila matrice</a:t>
            </a:r>
          </a:p>
          <a:p>
            <a:pPr lvl="1"/>
            <a:r>
              <a:rPr lang="sl-SI" dirty="0"/>
              <a:t>Druga raven</a:t>
            </a:r>
          </a:p>
          <a:p>
            <a:pPr lvl="2"/>
            <a:r>
              <a:rPr lang="sl-SI" dirty="0"/>
              <a:t>Tretja raven</a:t>
            </a:r>
          </a:p>
          <a:p>
            <a:pPr lvl="3"/>
            <a:r>
              <a:rPr lang="sl-SI" dirty="0"/>
              <a:t>Četrta raven</a:t>
            </a:r>
          </a:p>
          <a:p>
            <a:pPr lvl="4"/>
            <a:r>
              <a:rPr lang="sl-SI" dirty="0"/>
              <a:t>Peta rav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096502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4" presetClass="path" presetSubtype="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-2.96296E-6 L 5.55556E-7 -0.08271 " pathEditMode="relative" rAng="0" ptsTypes="AA">
                                      <p:cBhvr>
                                        <p:cTn id="9" dur="1000" spd="-100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4136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64" presetClass="path" presetSubtype="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-3.58025E-6 L 5.55556E-7 -0.08271 " pathEditMode="relative" rAng="0" ptsTypes="AA">
                                      <p:cBhvr>
                                        <p:cTn id="14" dur="1000" spd="-100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4136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64" presetClass="path" presetSubtype="0" decel="50000" fill="hold" grpId="1" nodeType="withEffect">
                                  <p:stCondLst>
                                    <p:cond delay="1250"/>
                                  </p:stCondLst>
                                  <p:childTnLst>
                                    <p:animMotion origin="layout" path="M -1.94444E-6 -1.85185E-6 L -1.94444E-6 -0.08271 " pathEditMode="relative" rAng="0" ptsTypes="AA">
                                      <p:cBhvr>
                                        <p:cTn id="19" dur="1000" spd="-100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413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2" grpId="1"/>
      <p:bldP spid="12" grpId="0">
        <p:tmplLst>
          <p:tmpl>
            <p:tnLst>
              <p:par>
                <p:cTn presetID="10" presetClass="entr" presetSubtype="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1"/>
    </p:bldLst>
  </p:timing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content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0689" y="1222375"/>
            <a:ext cx="8301037" cy="367075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Page#"/>
          <p:cNvSpPr txBox="1">
            <a:spLocks noChangeArrowheads="1"/>
          </p:cNvSpPr>
          <p:nvPr userDrawn="1"/>
        </p:nvSpPr>
        <p:spPr bwMode="auto">
          <a:xfrm>
            <a:off x="64431" y="4966381"/>
            <a:ext cx="381042" cy="91800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lIns="0" tIns="0" rIns="0" bIns="0" anchor="b" anchorCtr="0"/>
          <a:lstStyle/>
          <a:p>
            <a:pPr algn="r" fontAlgn="base">
              <a:spcBef>
                <a:spcPct val="20000"/>
              </a:spcBef>
              <a:spcAft>
                <a:spcPct val="0"/>
              </a:spcAft>
              <a:buClr>
                <a:srgbClr val="808080"/>
              </a:buClr>
            </a:pPr>
            <a:fld id="{21B19618-E8F0-4C5A-87AE-B0CCB4D6BB5E}" type="slidenum">
              <a:rPr lang="en-GB" sz="800" b="1" smtClean="0">
                <a:solidFill>
                  <a:schemeClr val="tx1"/>
                </a:solidFill>
                <a:ea typeface="SimHei"/>
                <a:cs typeface="Arial" charset="0"/>
              </a:rPr>
              <a:pPr algn="r" fontAlgn="base">
                <a:spcBef>
                  <a:spcPct val="20000"/>
                </a:spcBef>
                <a:spcAft>
                  <a:spcPct val="0"/>
                </a:spcAft>
                <a:buClr>
                  <a:srgbClr val="808080"/>
                </a:buClr>
              </a:pPr>
              <a:t>‹#›</a:t>
            </a:fld>
            <a:r>
              <a:rPr lang="en-GB" sz="800" dirty="0">
                <a:solidFill>
                  <a:schemeClr val="tx1"/>
                </a:solidFill>
                <a:ea typeface="SimHei"/>
                <a:cs typeface="Arial" charset="0"/>
              </a:rPr>
              <a:t> |</a:t>
            </a:r>
          </a:p>
        </p:txBody>
      </p:sp>
    </p:spTree>
    <p:extLst>
      <p:ext uri="{BB962C8B-B14F-4D97-AF65-F5344CB8AC3E}">
        <p14:creationId xmlns:p14="http://schemas.microsoft.com/office/powerpoint/2010/main" val="1891607505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,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1"/>
            <a:ext cx="9144000" cy="4794647"/>
          </a:xfrm>
          <a:prstGeom prst="rect">
            <a:avLst/>
          </a:prstGeom>
          <a:gradFill flip="none" rotWithShape="1">
            <a:gsLst>
              <a:gs pos="0">
                <a:srgbClr val="C7C7C7"/>
              </a:gs>
              <a:gs pos="50000">
                <a:schemeClr val="bg1"/>
              </a:gs>
              <a:gs pos="100000">
                <a:srgbClr val="CDCDCD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9101" y="1222375"/>
            <a:ext cx="8308975" cy="3293666"/>
          </a:xfrm>
        </p:spPr>
        <p:txBody>
          <a:bodyPr/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defRPr sz="1600"/>
            </a:lvl2pPr>
            <a:lvl3pPr>
              <a:lnSpc>
                <a:spcPct val="100000"/>
              </a:lnSpc>
              <a:defRPr sz="1600"/>
            </a:lvl3pPr>
            <a:lvl4pPr>
              <a:lnSpc>
                <a:spcPct val="100000"/>
              </a:lnSpc>
              <a:defRPr sz="1600"/>
            </a:lvl4pPr>
            <a:lvl5pPr>
              <a:lnSpc>
                <a:spcPct val="100000"/>
              </a:lnSpc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20452306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1"/>
            <a:ext cx="9144000" cy="4794647"/>
          </a:xfrm>
          <a:prstGeom prst="rect">
            <a:avLst/>
          </a:prstGeom>
          <a:gradFill flip="none" rotWithShape="1">
            <a:gsLst>
              <a:gs pos="0">
                <a:srgbClr val="C7C7C7"/>
              </a:gs>
              <a:gs pos="50000">
                <a:schemeClr val="bg1"/>
              </a:gs>
              <a:gs pos="100000">
                <a:srgbClr val="CDCDCD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/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Content Placeholder 2"/>
          <p:cNvSpPr>
            <a:spLocks noGrp="1"/>
          </p:cNvSpPr>
          <p:nvPr>
            <p:ph sz="quarter" idx="14"/>
          </p:nvPr>
        </p:nvSpPr>
        <p:spPr>
          <a:xfrm>
            <a:off x="419100" y="1222376"/>
            <a:ext cx="4068000" cy="3293665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/>
          </p:nvPr>
        </p:nvSpPr>
        <p:spPr>
          <a:xfrm>
            <a:off x="4654800" y="1222376"/>
            <a:ext cx="4068000" cy="3293665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4998032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medium picture,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1"/>
            <a:ext cx="9144000" cy="4794647"/>
          </a:xfrm>
          <a:prstGeom prst="rect">
            <a:avLst/>
          </a:prstGeom>
          <a:gradFill flip="none" rotWithShape="1">
            <a:gsLst>
              <a:gs pos="0">
                <a:srgbClr val="C7C7C7"/>
              </a:gs>
              <a:gs pos="50000">
                <a:schemeClr val="bg1"/>
              </a:gs>
              <a:gs pos="100000">
                <a:srgbClr val="CDCDCD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19100" y="221456"/>
            <a:ext cx="4067176" cy="863425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19101" y="1222376"/>
            <a:ext cx="4067175" cy="3293665"/>
          </a:xfrm>
        </p:spPr>
        <p:txBody>
          <a:bodyPr/>
          <a:lstStyle>
            <a:lvl1pPr>
              <a:lnSpc>
                <a:spcPct val="100000"/>
              </a:lnSpc>
              <a:defRPr sz="1600"/>
            </a:lvl1pPr>
            <a:lvl2pPr>
              <a:lnSpc>
                <a:spcPct val="100000"/>
              </a:lnSpc>
              <a:defRPr sz="1600"/>
            </a:lvl2pPr>
            <a:lvl3pPr>
              <a:lnSpc>
                <a:spcPct val="100000"/>
              </a:lnSpc>
              <a:defRPr sz="1600"/>
            </a:lvl3pPr>
            <a:lvl4pPr>
              <a:lnSpc>
                <a:spcPct val="100000"/>
              </a:lnSpc>
              <a:defRPr sz="1600"/>
            </a:lvl4pPr>
            <a:lvl5pPr>
              <a:lnSpc>
                <a:spcPct val="100000"/>
              </a:lnSpc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4659314" y="1"/>
            <a:ext cx="4484686" cy="4794647"/>
          </a:xfrm>
          <a:solidFill>
            <a:schemeClr val="bg1"/>
          </a:solidFill>
        </p:spPr>
        <p:txBody>
          <a:bodyPr tIns="612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da-DK" dirty="0" err="1"/>
              <a:t>Click</a:t>
            </a:r>
            <a:r>
              <a:rPr lang="da-DK" dirty="0"/>
              <a:t> </a:t>
            </a:r>
            <a:r>
              <a:rPr lang="da-DK" dirty="0" err="1"/>
              <a:t>icon</a:t>
            </a:r>
            <a:r>
              <a:rPr lang="da-DK" dirty="0"/>
              <a:t> to </a:t>
            </a:r>
            <a:br>
              <a:rPr lang="da-DK" dirty="0"/>
            </a:b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0969084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dium picture and text,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1"/>
            <a:ext cx="9144000" cy="4794647"/>
          </a:xfrm>
          <a:prstGeom prst="rect">
            <a:avLst/>
          </a:prstGeom>
          <a:gradFill flip="none" rotWithShape="1">
            <a:gsLst>
              <a:gs pos="0">
                <a:srgbClr val="C7C7C7"/>
              </a:gs>
              <a:gs pos="50000">
                <a:schemeClr val="bg1"/>
              </a:gs>
              <a:gs pos="100000">
                <a:srgbClr val="CDCDCD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/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4659315" y="221456"/>
            <a:ext cx="4068761" cy="702000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4653872" y="1222375"/>
            <a:ext cx="4067855" cy="3293666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2" y="1"/>
            <a:ext cx="4486275" cy="4794647"/>
          </a:xfrm>
          <a:solidFill>
            <a:schemeClr val="bg1"/>
          </a:solidFill>
        </p:spPr>
        <p:txBody>
          <a:bodyPr tIns="612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da-DK" dirty="0" err="1"/>
              <a:t>Click</a:t>
            </a:r>
            <a:r>
              <a:rPr lang="da-DK" dirty="0"/>
              <a:t> </a:t>
            </a:r>
            <a:r>
              <a:rPr lang="da-DK" dirty="0" err="1"/>
              <a:t>icon</a:t>
            </a:r>
            <a:r>
              <a:rPr lang="da-DK" dirty="0"/>
              <a:t> to </a:t>
            </a:r>
            <a:br>
              <a:rPr lang="da-DK" dirty="0"/>
            </a:b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2373305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small picture,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1"/>
            <a:ext cx="9144000" cy="4794647"/>
          </a:xfrm>
          <a:prstGeom prst="rect">
            <a:avLst/>
          </a:prstGeom>
          <a:gradFill flip="none" rotWithShape="1">
            <a:gsLst>
              <a:gs pos="0">
                <a:srgbClr val="C7C7C7"/>
              </a:gs>
              <a:gs pos="50000">
                <a:schemeClr val="bg1"/>
              </a:gs>
              <a:gs pos="100000">
                <a:srgbClr val="CDCDCD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/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19101" y="1222375"/>
            <a:ext cx="5160962" cy="3293666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5747275" y="1222375"/>
            <a:ext cx="2980800" cy="3293667"/>
          </a:xfrm>
          <a:solidFill>
            <a:schemeClr val="bg1"/>
          </a:solidFill>
        </p:spPr>
        <p:txBody>
          <a:bodyPr tIns="756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da-DK" dirty="0" err="1"/>
              <a:t>Click</a:t>
            </a:r>
            <a:r>
              <a:rPr lang="da-DK" dirty="0"/>
              <a:t> </a:t>
            </a:r>
            <a:r>
              <a:rPr lang="da-DK" dirty="0" err="1"/>
              <a:t>icon</a:t>
            </a:r>
            <a:r>
              <a:rPr lang="da-DK" dirty="0"/>
              <a:t> to </a:t>
            </a:r>
            <a:br>
              <a:rPr lang="da-DK" dirty="0"/>
            </a:b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2993056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picture and text,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1"/>
            <a:ext cx="9144000" cy="4794647"/>
          </a:xfrm>
          <a:prstGeom prst="rect">
            <a:avLst/>
          </a:prstGeom>
          <a:gradFill flip="none" rotWithShape="1">
            <a:gsLst>
              <a:gs pos="0">
                <a:srgbClr val="C7C7C7"/>
              </a:gs>
              <a:gs pos="50000">
                <a:schemeClr val="bg1"/>
              </a:gs>
              <a:gs pos="100000">
                <a:srgbClr val="CDCDCD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3567602" y="1222375"/>
            <a:ext cx="5160475" cy="3293666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419100" y="1222375"/>
            <a:ext cx="2980800" cy="3293667"/>
          </a:xfrm>
          <a:solidFill>
            <a:schemeClr val="bg1"/>
          </a:solidFill>
        </p:spPr>
        <p:txBody>
          <a:bodyPr tIns="900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da-DK" dirty="0" err="1"/>
              <a:t>Click</a:t>
            </a:r>
            <a:r>
              <a:rPr lang="da-DK" dirty="0"/>
              <a:t> </a:t>
            </a:r>
            <a:r>
              <a:rPr lang="da-DK" dirty="0" err="1"/>
              <a:t>icon</a:t>
            </a:r>
            <a:r>
              <a:rPr lang="da-DK" dirty="0"/>
              <a:t> to </a:t>
            </a:r>
            <a:br>
              <a:rPr lang="da-DK" dirty="0"/>
            </a:b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4147499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content,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gradFill flip="none" rotWithShape="1">
            <a:gsLst>
              <a:gs pos="0">
                <a:srgbClr val="C7C7C7"/>
              </a:gs>
              <a:gs pos="50000">
                <a:schemeClr val="bg1"/>
              </a:gs>
              <a:gs pos="100000">
                <a:srgbClr val="CDCDCD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0689" y="1222375"/>
            <a:ext cx="8301037" cy="367075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Page#"/>
          <p:cNvSpPr txBox="1">
            <a:spLocks noChangeArrowheads="1"/>
          </p:cNvSpPr>
          <p:nvPr userDrawn="1"/>
        </p:nvSpPr>
        <p:spPr bwMode="auto">
          <a:xfrm>
            <a:off x="64431" y="4966381"/>
            <a:ext cx="381042" cy="91800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lIns="0" tIns="0" rIns="0" bIns="0" anchor="b" anchorCtr="0"/>
          <a:lstStyle/>
          <a:p>
            <a:pPr algn="r" fontAlgn="base">
              <a:spcBef>
                <a:spcPct val="20000"/>
              </a:spcBef>
              <a:spcAft>
                <a:spcPct val="0"/>
              </a:spcAft>
              <a:buClr>
                <a:srgbClr val="808080"/>
              </a:buClr>
            </a:pPr>
            <a:fld id="{21B19618-E8F0-4C5A-87AE-B0CCB4D6BB5E}" type="slidenum">
              <a:rPr lang="en-GB" sz="800" b="1" smtClean="0">
                <a:solidFill>
                  <a:schemeClr val="tx1"/>
                </a:solidFill>
                <a:ea typeface="SimHei"/>
                <a:cs typeface="Arial" charset="0"/>
              </a:rPr>
              <a:pPr algn="r" fontAlgn="base">
                <a:spcBef>
                  <a:spcPct val="20000"/>
                </a:spcBef>
                <a:spcAft>
                  <a:spcPct val="0"/>
                </a:spcAft>
                <a:buClr>
                  <a:srgbClr val="808080"/>
                </a:buClr>
              </a:pPr>
              <a:t>‹#›</a:t>
            </a:fld>
            <a:r>
              <a:rPr lang="en-GB" sz="800" dirty="0">
                <a:solidFill>
                  <a:schemeClr val="tx1"/>
                </a:solidFill>
                <a:ea typeface="SimHei"/>
                <a:cs typeface="Arial" charset="0"/>
              </a:rPr>
              <a:t> |</a:t>
            </a:r>
          </a:p>
        </p:txBody>
      </p:sp>
    </p:spTree>
    <p:extLst>
      <p:ext uri="{BB962C8B-B14F-4D97-AF65-F5344CB8AC3E}">
        <p14:creationId xmlns:p14="http://schemas.microsoft.com/office/powerpoint/2010/main" val="3797018521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9144000" cy="4794647"/>
          </a:xfrm>
        </p:spPr>
        <p:txBody>
          <a:bodyPr tIns="900000" anchor="ctr" anchorCtr="0"/>
          <a:lstStyle>
            <a:lvl1pPr marL="0" indent="0" algn="ctr">
              <a:buNone/>
              <a:defRPr sz="1400"/>
            </a:lvl1pPr>
          </a:lstStyle>
          <a:p>
            <a:r>
              <a:rPr lang="da-DK" dirty="0" err="1"/>
              <a:t>Click</a:t>
            </a:r>
            <a:r>
              <a:rPr lang="da-DK" dirty="0"/>
              <a:t> </a:t>
            </a:r>
            <a:r>
              <a:rPr lang="da-DK" dirty="0" err="1"/>
              <a:t>icon</a:t>
            </a:r>
            <a:r>
              <a:rPr lang="da-DK" dirty="0"/>
              <a:t> to </a:t>
            </a:r>
            <a:br>
              <a:rPr lang="da-DK" dirty="0"/>
            </a:b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picture</a:t>
            </a:r>
            <a:endParaRPr lang="en-US" dirty="0"/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08091743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7" name="Picture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51192" y="3402"/>
            <a:ext cx="1892808" cy="720090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420687" y="982831"/>
            <a:ext cx="8307388" cy="868034"/>
          </a:xfrm>
        </p:spPr>
        <p:txBody>
          <a:bodyPr anchor="b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insert Presentation title in</a:t>
            </a:r>
            <a:br>
              <a:rPr lang="en-GB" dirty="0"/>
            </a:br>
            <a:r>
              <a:rPr lang="en-GB" b="1" dirty="0"/>
              <a:t>Verdana Bold </a:t>
            </a:r>
            <a:r>
              <a:rPr lang="en-GB" dirty="0"/>
              <a:t>and Verdana Regular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19099" y="1988690"/>
            <a:ext cx="8308975" cy="291820"/>
          </a:xfrm>
        </p:spPr>
        <p:txBody>
          <a:bodyPr/>
          <a:lstStyle>
            <a:lvl1pPr marL="0" indent="0" algn="l">
              <a:buNone/>
              <a:defRPr sz="1400" baseline="0">
                <a:solidFill>
                  <a:schemeClr val="bg1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insert name and title of presenter</a:t>
            </a:r>
          </a:p>
        </p:txBody>
      </p:sp>
    </p:spTree>
    <p:extLst>
      <p:ext uri="{BB962C8B-B14F-4D97-AF65-F5344CB8AC3E}">
        <p14:creationId xmlns:p14="http://schemas.microsoft.com/office/powerpoint/2010/main" val="114941918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2.xml"/><Relationship Id="rId13" Type="http://schemas.openxmlformats.org/officeDocument/2006/relationships/slideLayout" Target="../slideLayouts/slideLayout177.xml"/><Relationship Id="rId18" Type="http://schemas.openxmlformats.org/officeDocument/2006/relationships/slideLayout" Target="../slideLayouts/slideLayout182.xml"/><Relationship Id="rId3" Type="http://schemas.openxmlformats.org/officeDocument/2006/relationships/slideLayout" Target="../slideLayouts/slideLayout167.xml"/><Relationship Id="rId21" Type="http://schemas.openxmlformats.org/officeDocument/2006/relationships/slideLayout" Target="../slideLayouts/slideLayout185.xml"/><Relationship Id="rId7" Type="http://schemas.openxmlformats.org/officeDocument/2006/relationships/slideLayout" Target="../slideLayouts/slideLayout171.xml"/><Relationship Id="rId12" Type="http://schemas.openxmlformats.org/officeDocument/2006/relationships/slideLayout" Target="../slideLayouts/slideLayout176.xml"/><Relationship Id="rId17" Type="http://schemas.openxmlformats.org/officeDocument/2006/relationships/slideLayout" Target="../slideLayouts/slideLayout181.xml"/><Relationship Id="rId25" Type="http://schemas.openxmlformats.org/officeDocument/2006/relationships/image" Target="../media/image46.png"/><Relationship Id="rId2" Type="http://schemas.openxmlformats.org/officeDocument/2006/relationships/slideLayout" Target="../slideLayouts/slideLayout166.xml"/><Relationship Id="rId16" Type="http://schemas.openxmlformats.org/officeDocument/2006/relationships/slideLayout" Target="../slideLayouts/slideLayout180.xml"/><Relationship Id="rId20" Type="http://schemas.openxmlformats.org/officeDocument/2006/relationships/slideLayout" Target="../slideLayouts/slideLayout184.xml"/><Relationship Id="rId1" Type="http://schemas.openxmlformats.org/officeDocument/2006/relationships/slideLayout" Target="../slideLayouts/slideLayout165.xml"/><Relationship Id="rId6" Type="http://schemas.openxmlformats.org/officeDocument/2006/relationships/slideLayout" Target="../slideLayouts/slideLayout170.xml"/><Relationship Id="rId11" Type="http://schemas.openxmlformats.org/officeDocument/2006/relationships/slideLayout" Target="../slideLayouts/slideLayout175.xml"/><Relationship Id="rId24" Type="http://schemas.openxmlformats.org/officeDocument/2006/relationships/image" Target="../media/image1.png"/><Relationship Id="rId5" Type="http://schemas.openxmlformats.org/officeDocument/2006/relationships/slideLayout" Target="../slideLayouts/slideLayout169.xml"/><Relationship Id="rId15" Type="http://schemas.openxmlformats.org/officeDocument/2006/relationships/slideLayout" Target="../slideLayouts/slideLayout179.xml"/><Relationship Id="rId23" Type="http://schemas.openxmlformats.org/officeDocument/2006/relationships/theme" Target="../theme/theme10.xml"/><Relationship Id="rId10" Type="http://schemas.openxmlformats.org/officeDocument/2006/relationships/slideLayout" Target="../slideLayouts/slideLayout174.xml"/><Relationship Id="rId19" Type="http://schemas.openxmlformats.org/officeDocument/2006/relationships/slideLayout" Target="../slideLayouts/slideLayout183.xml"/><Relationship Id="rId4" Type="http://schemas.openxmlformats.org/officeDocument/2006/relationships/slideLayout" Target="../slideLayouts/slideLayout168.xml"/><Relationship Id="rId9" Type="http://schemas.openxmlformats.org/officeDocument/2006/relationships/slideLayout" Target="../slideLayouts/slideLayout173.xml"/><Relationship Id="rId14" Type="http://schemas.openxmlformats.org/officeDocument/2006/relationships/slideLayout" Target="../slideLayouts/slideLayout178.xml"/><Relationship Id="rId22" Type="http://schemas.openxmlformats.org/officeDocument/2006/relationships/slideLayout" Target="../slideLayouts/slideLayout186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slideLayout" Target="../slideLayouts/slideLayout29.xml"/><Relationship Id="rId18" Type="http://schemas.openxmlformats.org/officeDocument/2006/relationships/slideLayout" Target="../slideLayouts/slideLayout34.xml"/><Relationship Id="rId3" Type="http://schemas.openxmlformats.org/officeDocument/2006/relationships/slideLayout" Target="../slideLayouts/slideLayout19.xml"/><Relationship Id="rId21" Type="http://schemas.openxmlformats.org/officeDocument/2006/relationships/theme" Target="../theme/theme2.xml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17" Type="http://schemas.openxmlformats.org/officeDocument/2006/relationships/slideLayout" Target="../slideLayouts/slideLayout33.xml"/><Relationship Id="rId2" Type="http://schemas.openxmlformats.org/officeDocument/2006/relationships/slideLayout" Target="../slideLayouts/slideLayout18.xml"/><Relationship Id="rId16" Type="http://schemas.openxmlformats.org/officeDocument/2006/relationships/slideLayout" Target="../slideLayouts/slideLayout32.xml"/><Relationship Id="rId20" Type="http://schemas.openxmlformats.org/officeDocument/2006/relationships/slideLayout" Target="../slideLayouts/slideLayout36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5" Type="http://schemas.openxmlformats.org/officeDocument/2006/relationships/slideLayout" Target="../slideLayouts/slideLayout31.xml"/><Relationship Id="rId23" Type="http://schemas.openxmlformats.org/officeDocument/2006/relationships/image" Target="../media/image17.png"/><Relationship Id="rId10" Type="http://schemas.openxmlformats.org/officeDocument/2006/relationships/slideLayout" Target="../slideLayouts/slideLayout26.xml"/><Relationship Id="rId19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slideLayout" Target="../slideLayouts/slideLayout30.xml"/><Relationship Id="rId22" Type="http://schemas.openxmlformats.org/officeDocument/2006/relationships/image" Target="../media/image1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slideLayout" Target="../slideLayouts/slideLayout49.xml"/><Relationship Id="rId18" Type="http://schemas.openxmlformats.org/officeDocument/2006/relationships/slideLayout" Target="../slideLayouts/slideLayout54.xml"/><Relationship Id="rId26" Type="http://schemas.openxmlformats.org/officeDocument/2006/relationships/slideLayout" Target="../slideLayouts/slideLayout62.xml"/><Relationship Id="rId3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57.xml"/><Relationship Id="rId7" Type="http://schemas.openxmlformats.org/officeDocument/2006/relationships/slideLayout" Target="../slideLayouts/slideLayout43.xml"/><Relationship Id="rId12" Type="http://schemas.openxmlformats.org/officeDocument/2006/relationships/slideLayout" Target="../slideLayouts/slideLayout48.xml"/><Relationship Id="rId17" Type="http://schemas.openxmlformats.org/officeDocument/2006/relationships/slideLayout" Target="../slideLayouts/slideLayout53.xml"/><Relationship Id="rId25" Type="http://schemas.openxmlformats.org/officeDocument/2006/relationships/slideLayout" Target="../slideLayouts/slideLayout61.xml"/><Relationship Id="rId2" Type="http://schemas.openxmlformats.org/officeDocument/2006/relationships/slideLayout" Target="../slideLayouts/slideLayout38.xml"/><Relationship Id="rId16" Type="http://schemas.openxmlformats.org/officeDocument/2006/relationships/slideLayout" Target="../slideLayouts/slideLayout52.xml"/><Relationship Id="rId20" Type="http://schemas.openxmlformats.org/officeDocument/2006/relationships/slideLayout" Target="../slideLayouts/slideLayout56.xml"/><Relationship Id="rId29" Type="http://schemas.openxmlformats.org/officeDocument/2006/relationships/image" Target="../media/image25.png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24" Type="http://schemas.openxmlformats.org/officeDocument/2006/relationships/slideLayout" Target="../slideLayouts/slideLayout60.xml"/><Relationship Id="rId5" Type="http://schemas.openxmlformats.org/officeDocument/2006/relationships/slideLayout" Target="../slideLayouts/slideLayout41.xml"/><Relationship Id="rId15" Type="http://schemas.openxmlformats.org/officeDocument/2006/relationships/slideLayout" Target="../slideLayouts/slideLayout51.xml"/><Relationship Id="rId23" Type="http://schemas.openxmlformats.org/officeDocument/2006/relationships/slideLayout" Target="../slideLayouts/slideLayout59.xml"/><Relationship Id="rId28" Type="http://schemas.openxmlformats.org/officeDocument/2006/relationships/image" Target="../media/image24.png"/><Relationship Id="rId10" Type="http://schemas.openxmlformats.org/officeDocument/2006/relationships/slideLayout" Target="../slideLayouts/slideLayout46.xml"/><Relationship Id="rId19" Type="http://schemas.openxmlformats.org/officeDocument/2006/relationships/slideLayout" Target="../slideLayouts/slideLayout55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slideLayout" Target="../slideLayouts/slideLayout50.xml"/><Relationship Id="rId22" Type="http://schemas.openxmlformats.org/officeDocument/2006/relationships/slideLayout" Target="../slideLayouts/slideLayout58.xml"/><Relationship Id="rId27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0.xml"/><Relationship Id="rId13" Type="http://schemas.openxmlformats.org/officeDocument/2006/relationships/slideLayout" Target="../slideLayouts/slideLayout75.xml"/><Relationship Id="rId18" Type="http://schemas.openxmlformats.org/officeDocument/2006/relationships/slideLayout" Target="../slideLayouts/slideLayout80.xml"/><Relationship Id="rId3" Type="http://schemas.openxmlformats.org/officeDocument/2006/relationships/slideLayout" Target="../slideLayouts/slideLayout65.xml"/><Relationship Id="rId21" Type="http://schemas.openxmlformats.org/officeDocument/2006/relationships/image" Target="../media/image24.png"/><Relationship Id="rId7" Type="http://schemas.openxmlformats.org/officeDocument/2006/relationships/slideLayout" Target="../slideLayouts/slideLayout69.xml"/><Relationship Id="rId12" Type="http://schemas.openxmlformats.org/officeDocument/2006/relationships/slideLayout" Target="../slideLayouts/slideLayout74.xml"/><Relationship Id="rId17" Type="http://schemas.openxmlformats.org/officeDocument/2006/relationships/slideLayout" Target="../slideLayouts/slideLayout79.xml"/><Relationship Id="rId2" Type="http://schemas.openxmlformats.org/officeDocument/2006/relationships/slideLayout" Target="../slideLayouts/slideLayout64.xml"/><Relationship Id="rId16" Type="http://schemas.openxmlformats.org/officeDocument/2006/relationships/slideLayout" Target="../slideLayouts/slideLayout78.xml"/><Relationship Id="rId20" Type="http://schemas.openxmlformats.org/officeDocument/2006/relationships/theme" Target="../theme/theme4.xml"/><Relationship Id="rId1" Type="http://schemas.openxmlformats.org/officeDocument/2006/relationships/slideLayout" Target="../slideLayouts/slideLayout63.xml"/><Relationship Id="rId6" Type="http://schemas.openxmlformats.org/officeDocument/2006/relationships/slideLayout" Target="../slideLayouts/slideLayout68.xml"/><Relationship Id="rId11" Type="http://schemas.openxmlformats.org/officeDocument/2006/relationships/slideLayout" Target="../slideLayouts/slideLayout73.xml"/><Relationship Id="rId5" Type="http://schemas.openxmlformats.org/officeDocument/2006/relationships/slideLayout" Target="../slideLayouts/slideLayout67.xml"/><Relationship Id="rId15" Type="http://schemas.openxmlformats.org/officeDocument/2006/relationships/slideLayout" Target="../slideLayouts/slideLayout77.xml"/><Relationship Id="rId10" Type="http://schemas.openxmlformats.org/officeDocument/2006/relationships/slideLayout" Target="../slideLayouts/slideLayout72.xml"/><Relationship Id="rId19" Type="http://schemas.openxmlformats.org/officeDocument/2006/relationships/slideLayout" Target="../slideLayouts/slideLayout81.xml"/><Relationship Id="rId4" Type="http://schemas.openxmlformats.org/officeDocument/2006/relationships/slideLayout" Target="../slideLayouts/slideLayout66.xml"/><Relationship Id="rId9" Type="http://schemas.openxmlformats.org/officeDocument/2006/relationships/slideLayout" Target="../slideLayouts/slideLayout71.xml"/><Relationship Id="rId14" Type="http://schemas.openxmlformats.org/officeDocument/2006/relationships/slideLayout" Target="../slideLayouts/slideLayout76.xml"/><Relationship Id="rId22" Type="http://schemas.openxmlformats.org/officeDocument/2006/relationships/image" Target="../media/image25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9.xml"/><Relationship Id="rId13" Type="http://schemas.openxmlformats.org/officeDocument/2006/relationships/slideLayout" Target="../slideLayouts/slideLayout94.xml"/><Relationship Id="rId18" Type="http://schemas.openxmlformats.org/officeDocument/2006/relationships/slideLayout" Target="../slideLayouts/slideLayout99.xml"/><Relationship Id="rId26" Type="http://schemas.openxmlformats.org/officeDocument/2006/relationships/image" Target="../media/image1.png"/><Relationship Id="rId3" Type="http://schemas.openxmlformats.org/officeDocument/2006/relationships/slideLayout" Target="../slideLayouts/slideLayout84.xml"/><Relationship Id="rId21" Type="http://schemas.openxmlformats.org/officeDocument/2006/relationships/slideLayout" Target="../slideLayouts/slideLayout102.xml"/><Relationship Id="rId7" Type="http://schemas.openxmlformats.org/officeDocument/2006/relationships/slideLayout" Target="../slideLayouts/slideLayout88.xml"/><Relationship Id="rId12" Type="http://schemas.openxmlformats.org/officeDocument/2006/relationships/slideLayout" Target="../slideLayouts/slideLayout93.xml"/><Relationship Id="rId17" Type="http://schemas.openxmlformats.org/officeDocument/2006/relationships/slideLayout" Target="../slideLayouts/slideLayout98.xml"/><Relationship Id="rId25" Type="http://schemas.openxmlformats.org/officeDocument/2006/relationships/theme" Target="../theme/theme5.xml"/><Relationship Id="rId2" Type="http://schemas.openxmlformats.org/officeDocument/2006/relationships/slideLayout" Target="../slideLayouts/slideLayout83.xml"/><Relationship Id="rId16" Type="http://schemas.openxmlformats.org/officeDocument/2006/relationships/slideLayout" Target="../slideLayouts/slideLayout97.xml"/><Relationship Id="rId20" Type="http://schemas.openxmlformats.org/officeDocument/2006/relationships/slideLayout" Target="../slideLayouts/slideLayout101.xml"/><Relationship Id="rId1" Type="http://schemas.openxmlformats.org/officeDocument/2006/relationships/slideLayout" Target="../slideLayouts/slideLayout82.xml"/><Relationship Id="rId6" Type="http://schemas.openxmlformats.org/officeDocument/2006/relationships/slideLayout" Target="../slideLayouts/slideLayout87.xml"/><Relationship Id="rId11" Type="http://schemas.openxmlformats.org/officeDocument/2006/relationships/slideLayout" Target="../slideLayouts/slideLayout92.xml"/><Relationship Id="rId24" Type="http://schemas.openxmlformats.org/officeDocument/2006/relationships/slideLayout" Target="../slideLayouts/slideLayout105.xml"/><Relationship Id="rId5" Type="http://schemas.openxmlformats.org/officeDocument/2006/relationships/slideLayout" Target="../slideLayouts/slideLayout86.xml"/><Relationship Id="rId15" Type="http://schemas.openxmlformats.org/officeDocument/2006/relationships/slideLayout" Target="../slideLayouts/slideLayout96.xml"/><Relationship Id="rId23" Type="http://schemas.openxmlformats.org/officeDocument/2006/relationships/slideLayout" Target="../slideLayouts/slideLayout104.xml"/><Relationship Id="rId10" Type="http://schemas.openxmlformats.org/officeDocument/2006/relationships/slideLayout" Target="../slideLayouts/slideLayout91.xml"/><Relationship Id="rId19" Type="http://schemas.openxmlformats.org/officeDocument/2006/relationships/slideLayout" Target="../slideLayouts/slideLayout100.xml"/><Relationship Id="rId4" Type="http://schemas.openxmlformats.org/officeDocument/2006/relationships/slideLayout" Target="../slideLayouts/slideLayout85.xml"/><Relationship Id="rId9" Type="http://schemas.openxmlformats.org/officeDocument/2006/relationships/slideLayout" Target="../slideLayouts/slideLayout90.xml"/><Relationship Id="rId14" Type="http://schemas.openxmlformats.org/officeDocument/2006/relationships/slideLayout" Target="../slideLayouts/slideLayout95.xml"/><Relationship Id="rId22" Type="http://schemas.openxmlformats.org/officeDocument/2006/relationships/slideLayout" Target="../slideLayouts/slideLayout103.xml"/><Relationship Id="rId27" Type="http://schemas.openxmlformats.org/officeDocument/2006/relationships/image" Target="../media/image46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3.xml"/><Relationship Id="rId13" Type="http://schemas.openxmlformats.org/officeDocument/2006/relationships/theme" Target="../theme/theme6.xml"/><Relationship Id="rId3" Type="http://schemas.openxmlformats.org/officeDocument/2006/relationships/slideLayout" Target="../slideLayouts/slideLayout108.xml"/><Relationship Id="rId7" Type="http://schemas.openxmlformats.org/officeDocument/2006/relationships/slideLayout" Target="../slideLayouts/slideLayout112.xml"/><Relationship Id="rId12" Type="http://schemas.openxmlformats.org/officeDocument/2006/relationships/slideLayout" Target="../slideLayouts/slideLayout117.xml"/><Relationship Id="rId2" Type="http://schemas.openxmlformats.org/officeDocument/2006/relationships/slideLayout" Target="../slideLayouts/slideLayout107.xml"/><Relationship Id="rId16" Type="http://schemas.openxmlformats.org/officeDocument/2006/relationships/image" Target="../media/image46.png"/><Relationship Id="rId1" Type="http://schemas.openxmlformats.org/officeDocument/2006/relationships/slideLayout" Target="../slideLayouts/slideLayout106.xml"/><Relationship Id="rId6" Type="http://schemas.openxmlformats.org/officeDocument/2006/relationships/slideLayout" Target="../slideLayouts/slideLayout111.xml"/><Relationship Id="rId11" Type="http://schemas.openxmlformats.org/officeDocument/2006/relationships/slideLayout" Target="../slideLayouts/slideLayout116.xml"/><Relationship Id="rId5" Type="http://schemas.openxmlformats.org/officeDocument/2006/relationships/slideLayout" Target="../slideLayouts/slideLayout110.xml"/><Relationship Id="rId15" Type="http://schemas.openxmlformats.org/officeDocument/2006/relationships/slide" Target="../slides/slide5.xml"/><Relationship Id="rId10" Type="http://schemas.openxmlformats.org/officeDocument/2006/relationships/slideLayout" Target="../slideLayouts/slideLayout115.xml"/><Relationship Id="rId4" Type="http://schemas.openxmlformats.org/officeDocument/2006/relationships/slideLayout" Target="../slideLayouts/slideLayout109.xml"/><Relationship Id="rId9" Type="http://schemas.openxmlformats.org/officeDocument/2006/relationships/slideLayout" Target="../slideLayouts/slideLayout114.xml"/><Relationship Id="rId14" Type="http://schemas.openxmlformats.org/officeDocument/2006/relationships/image" Target="../media/image1.pn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5.xml"/><Relationship Id="rId13" Type="http://schemas.openxmlformats.org/officeDocument/2006/relationships/slideLayout" Target="../slideLayouts/slideLayout130.xml"/><Relationship Id="rId3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124.xml"/><Relationship Id="rId12" Type="http://schemas.openxmlformats.org/officeDocument/2006/relationships/slideLayout" Target="../slideLayouts/slideLayout129.xml"/><Relationship Id="rId17" Type="http://schemas.openxmlformats.org/officeDocument/2006/relationships/image" Target="../media/image46.png"/><Relationship Id="rId2" Type="http://schemas.openxmlformats.org/officeDocument/2006/relationships/slideLayout" Target="../slideLayouts/slideLayout119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18.xml"/><Relationship Id="rId6" Type="http://schemas.openxmlformats.org/officeDocument/2006/relationships/slideLayout" Target="../slideLayouts/slideLayout123.xml"/><Relationship Id="rId11" Type="http://schemas.openxmlformats.org/officeDocument/2006/relationships/slideLayout" Target="../slideLayouts/slideLayout128.xml"/><Relationship Id="rId5" Type="http://schemas.openxmlformats.org/officeDocument/2006/relationships/slideLayout" Target="../slideLayouts/slideLayout122.xml"/><Relationship Id="rId15" Type="http://schemas.openxmlformats.org/officeDocument/2006/relationships/theme" Target="../theme/theme7.xml"/><Relationship Id="rId10" Type="http://schemas.openxmlformats.org/officeDocument/2006/relationships/slideLayout" Target="../slideLayouts/slideLayout127.xml"/><Relationship Id="rId4" Type="http://schemas.openxmlformats.org/officeDocument/2006/relationships/slideLayout" Target="../slideLayouts/slideLayout121.xml"/><Relationship Id="rId9" Type="http://schemas.openxmlformats.org/officeDocument/2006/relationships/slideLayout" Target="../slideLayouts/slideLayout126.xml"/><Relationship Id="rId14" Type="http://schemas.openxmlformats.org/officeDocument/2006/relationships/slideLayout" Target="../slideLayouts/slideLayout131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9.xml"/><Relationship Id="rId13" Type="http://schemas.openxmlformats.org/officeDocument/2006/relationships/slideLayout" Target="../slideLayouts/slideLayout144.xml"/><Relationship Id="rId18" Type="http://schemas.openxmlformats.org/officeDocument/2006/relationships/slideLayout" Target="../slideLayouts/slideLayout149.xml"/><Relationship Id="rId3" Type="http://schemas.openxmlformats.org/officeDocument/2006/relationships/slideLayout" Target="../slideLayouts/slideLayout134.xml"/><Relationship Id="rId21" Type="http://schemas.openxmlformats.org/officeDocument/2006/relationships/theme" Target="../theme/theme8.xml"/><Relationship Id="rId7" Type="http://schemas.openxmlformats.org/officeDocument/2006/relationships/slideLayout" Target="../slideLayouts/slideLayout138.xml"/><Relationship Id="rId12" Type="http://schemas.openxmlformats.org/officeDocument/2006/relationships/slideLayout" Target="../slideLayouts/slideLayout143.xml"/><Relationship Id="rId17" Type="http://schemas.openxmlformats.org/officeDocument/2006/relationships/slideLayout" Target="../slideLayouts/slideLayout148.xml"/><Relationship Id="rId2" Type="http://schemas.openxmlformats.org/officeDocument/2006/relationships/slideLayout" Target="../slideLayouts/slideLayout133.xml"/><Relationship Id="rId16" Type="http://schemas.openxmlformats.org/officeDocument/2006/relationships/slideLayout" Target="../slideLayouts/slideLayout147.xml"/><Relationship Id="rId20" Type="http://schemas.openxmlformats.org/officeDocument/2006/relationships/slideLayout" Target="../slideLayouts/slideLayout151.xml"/><Relationship Id="rId1" Type="http://schemas.openxmlformats.org/officeDocument/2006/relationships/slideLayout" Target="../slideLayouts/slideLayout132.xml"/><Relationship Id="rId6" Type="http://schemas.openxmlformats.org/officeDocument/2006/relationships/slideLayout" Target="../slideLayouts/slideLayout137.xml"/><Relationship Id="rId11" Type="http://schemas.openxmlformats.org/officeDocument/2006/relationships/slideLayout" Target="../slideLayouts/slideLayout142.xml"/><Relationship Id="rId5" Type="http://schemas.openxmlformats.org/officeDocument/2006/relationships/slideLayout" Target="../slideLayouts/slideLayout136.xml"/><Relationship Id="rId15" Type="http://schemas.openxmlformats.org/officeDocument/2006/relationships/slideLayout" Target="../slideLayouts/slideLayout146.xml"/><Relationship Id="rId23" Type="http://schemas.openxmlformats.org/officeDocument/2006/relationships/image" Target="../media/image46.png"/><Relationship Id="rId10" Type="http://schemas.openxmlformats.org/officeDocument/2006/relationships/slideLayout" Target="../slideLayouts/slideLayout141.xml"/><Relationship Id="rId19" Type="http://schemas.openxmlformats.org/officeDocument/2006/relationships/slideLayout" Target="../slideLayouts/slideLayout150.xml"/><Relationship Id="rId4" Type="http://schemas.openxmlformats.org/officeDocument/2006/relationships/slideLayout" Target="../slideLayouts/slideLayout135.xml"/><Relationship Id="rId9" Type="http://schemas.openxmlformats.org/officeDocument/2006/relationships/slideLayout" Target="../slideLayouts/slideLayout140.xml"/><Relationship Id="rId14" Type="http://schemas.openxmlformats.org/officeDocument/2006/relationships/slideLayout" Target="../slideLayouts/slideLayout145.xml"/><Relationship Id="rId22" Type="http://schemas.openxmlformats.org/officeDocument/2006/relationships/image" Target="../media/image1.png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9.xml"/><Relationship Id="rId13" Type="http://schemas.openxmlformats.org/officeDocument/2006/relationships/slideLayout" Target="../slideLayouts/slideLayout164.xml"/><Relationship Id="rId3" Type="http://schemas.openxmlformats.org/officeDocument/2006/relationships/slideLayout" Target="../slideLayouts/slideLayout154.xml"/><Relationship Id="rId7" Type="http://schemas.openxmlformats.org/officeDocument/2006/relationships/slideLayout" Target="../slideLayouts/slideLayout158.xml"/><Relationship Id="rId12" Type="http://schemas.openxmlformats.org/officeDocument/2006/relationships/slideLayout" Target="../slideLayouts/slideLayout163.xml"/><Relationship Id="rId17" Type="http://schemas.openxmlformats.org/officeDocument/2006/relationships/image" Target="../media/image46.png"/><Relationship Id="rId2" Type="http://schemas.openxmlformats.org/officeDocument/2006/relationships/slideLayout" Target="../slideLayouts/slideLayout153.xml"/><Relationship Id="rId16" Type="http://schemas.openxmlformats.org/officeDocument/2006/relationships/slide" Target="../slides/slide5.xml"/><Relationship Id="rId1" Type="http://schemas.openxmlformats.org/officeDocument/2006/relationships/slideLayout" Target="../slideLayouts/slideLayout152.xml"/><Relationship Id="rId6" Type="http://schemas.openxmlformats.org/officeDocument/2006/relationships/slideLayout" Target="../slideLayouts/slideLayout157.xml"/><Relationship Id="rId11" Type="http://schemas.openxmlformats.org/officeDocument/2006/relationships/slideLayout" Target="../slideLayouts/slideLayout162.xml"/><Relationship Id="rId5" Type="http://schemas.openxmlformats.org/officeDocument/2006/relationships/slideLayout" Target="../slideLayouts/slideLayout156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61.xml"/><Relationship Id="rId4" Type="http://schemas.openxmlformats.org/officeDocument/2006/relationships/slideLayout" Target="../slideLayouts/slideLayout155.xml"/><Relationship Id="rId9" Type="http://schemas.openxmlformats.org/officeDocument/2006/relationships/slideLayout" Target="../slideLayouts/slideLayout160.xml"/><Relationship Id="rId14" Type="http://schemas.openxmlformats.org/officeDocument/2006/relationships/theme" Target="../theme/theme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10155" y="289237"/>
            <a:ext cx="8311572" cy="3265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0155" y="979201"/>
            <a:ext cx="8311572" cy="329366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grpSp>
        <p:nvGrpSpPr>
          <p:cNvPr id="24" name="Group 23"/>
          <p:cNvGrpSpPr/>
          <p:nvPr userDrawn="1"/>
        </p:nvGrpSpPr>
        <p:grpSpPr>
          <a:xfrm>
            <a:off x="-195943" y="217955"/>
            <a:ext cx="130629" cy="1004420"/>
            <a:chOff x="-478971" y="290606"/>
            <a:chExt cx="413657" cy="1339226"/>
          </a:xfrm>
        </p:grpSpPr>
        <p:cxnSp>
          <p:nvCxnSpPr>
            <p:cNvPr id="16" name="Straight Connector 15"/>
            <p:cNvCxnSpPr/>
            <p:nvPr userDrawn="1"/>
          </p:nvCxnSpPr>
          <p:spPr>
            <a:xfrm flipH="1">
              <a:off x="-478971" y="290606"/>
              <a:ext cx="41365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 flipH="1">
              <a:off x="-478971" y="1629832"/>
              <a:ext cx="41365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1" name="Straight Connector 30"/>
          <p:cNvCxnSpPr/>
          <p:nvPr userDrawn="1"/>
        </p:nvCxnSpPr>
        <p:spPr>
          <a:xfrm rot="5400000" flipH="1">
            <a:off x="8672741" y="-132632"/>
            <a:ext cx="979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 userDrawn="1"/>
        </p:nvCxnSpPr>
        <p:spPr>
          <a:xfrm rot="5400000" flipH="1">
            <a:off x="371702" y="-132633"/>
            <a:ext cx="979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 userDrawn="1"/>
        </p:nvCxnSpPr>
        <p:spPr>
          <a:xfrm rot="5400000" flipH="1">
            <a:off x="5704341" y="-132633"/>
            <a:ext cx="979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 userDrawn="1"/>
        </p:nvCxnSpPr>
        <p:spPr>
          <a:xfrm rot="5400000" flipH="1">
            <a:off x="5530173" y="-132634"/>
            <a:ext cx="979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/>
          <p:cNvCxnSpPr/>
          <p:nvPr userDrawn="1"/>
        </p:nvCxnSpPr>
        <p:spPr>
          <a:xfrm rot="5400000" flipH="1">
            <a:off x="4608965" y="-132634"/>
            <a:ext cx="979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/>
          <p:cNvCxnSpPr/>
          <p:nvPr userDrawn="1"/>
        </p:nvCxnSpPr>
        <p:spPr>
          <a:xfrm rot="5400000" flipH="1">
            <a:off x="4434797" y="-132635"/>
            <a:ext cx="979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/>
          <p:cNvCxnSpPr/>
          <p:nvPr userDrawn="1"/>
        </p:nvCxnSpPr>
        <p:spPr>
          <a:xfrm rot="5400000" flipH="1">
            <a:off x="3519714" y="-132635"/>
            <a:ext cx="979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/>
          <p:cNvCxnSpPr/>
          <p:nvPr userDrawn="1"/>
        </p:nvCxnSpPr>
        <p:spPr>
          <a:xfrm rot="5400000" flipH="1">
            <a:off x="3345545" y="-132635"/>
            <a:ext cx="979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5" name="Group 24"/>
          <p:cNvGrpSpPr/>
          <p:nvPr userDrawn="1"/>
        </p:nvGrpSpPr>
        <p:grpSpPr>
          <a:xfrm>
            <a:off x="9229952" y="217949"/>
            <a:ext cx="130629" cy="1004427"/>
            <a:chOff x="-478971" y="290597"/>
            <a:chExt cx="413657" cy="1339236"/>
          </a:xfrm>
        </p:grpSpPr>
        <p:cxnSp>
          <p:nvCxnSpPr>
            <p:cNvPr id="40" name="Straight Connector 39"/>
            <p:cNvCxnSpPr/>
            <p:nvPr userDrawn="1"/>
          </p:nvCxnSpPr>
          <p:spPr>
            <a:xfrm flipH="1">
              <a:off x="-478971" y="290597"/>
              <a:ext cx="41365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 flipH="1">
              <a:off x="-478971" y="1629833"/>
              <a:ext cx="41365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1" name="Skupina 20"/>
          <p:cNvGrpSpPr/>
          <p:nvPr userDrawn="1"/>
        </p:nvGrpSpPr>
        <p:grpSpPr>
          <a:xfrm>
            <a:off x="0" y="4796028"/>
            <a:ext cx="9144000" cy="347472"/>
            <a:chOff x="0" y="4796028"/>
            <a:chExt cx="9144000" cy="347472"/>
          </a:xfrm>
        </p:grpSpPr>
        <p:pic>
          <p:nvPicPr>
            <p:cNvPr id="22" name="Picture 3"/>
            <p:cNvPicPr>
              <a:picLocks noChangeAspect="1"/>
            </p:cNvPicPr>
            <p:nvPr userDrawn="1"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0" y="4796028"/>
              <a:ext cx="9144000" cy="347472"/>
            </a:xfrm>
            <a:prstGeom prst="rect">
              <a:avLst/>
            </a:prstGeom>
          </p:spPr>
        </p:pic>
        <p:sp>
          <p:nvSpPr>
            <p:cNvPr id="29" name="bmkFldAdditionalInfo"/>
            <p:cNvSpPr txBox="1">
              <a:spLocks noChangeArrowheads="1"/>
            </p:cNvSpPr>
            <p:nvPr/>
          </p:nvSpPr>
          <p:spPr bwMode="auto">
            <a:xfrm>
              <a:off x="485775" y="4965142"/>
              <a:ext cx="3998007" cy="91679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  <a:effectLst/>
          </p:spPr>
          <p:txBody>
            <a:bodyPr lIns="0" tIns="0" rIns="0" bIns="0" anchor="b" anchorCtr="0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808080"/>
                </a:buClr>
              </a:pPr>
              <a:r>
                <a:rPr lang="sr-Latn-BA" sz="1050" b="0" noProof="0" dirty="0">
                  <a:solidFill>
                    <a:schemeClr val="bg1"/>
                  </a:solidFill>
                  <a:ea typeface="SimHei"/>
                  <a:cs typeface="Arial" charset="0"/>
                </a:rPr>
                <a:t>TOPS 2025</a:t>
              </a:r>
              <a:endParaRPr lang="en-US" sz="1050" b="0" noProof="0" dirty="0">
                <a:solidFill>
                  <a:schemeClr val="bg1"/>
                </a:solidFill>
                <a:ea typeface="SimHei"/>
                <a:cs typeface="Arial" charset="0"/>
              </a:endParaRPr>
            </a:p>
          </p:txBody>
        </p:sp>
      </p:grpSp>
      <p:sp>
        <p:nvSpPr>
          <p:cNvPr id="4" name="MSIPCMContentMarking" descr="{&quot;HashCode&quot;:1249950703,&quot;Placement&quot;:&quot;Footer&quot;,&quot;Top&quot;:384.343,&quot;Left&quot;:305.299774,&quot;SlideWidth&quot;:720,&quot;SlideHeight&quot;:405}">
            <a:extLst>
              <a:ext uri="{FF2B5EF4-FFF2-40B4-BE49-F238E27FC236}">
                <a16:creationId xmlns:a16="http://schemas.microsoft.com/office/drawing/2014/main" id="{326BCC42-C3A4-4AAC-9F9D-AF1A7B696423}"/>
              </a:ext>
            </a:extLst>
          </p:cNvPr>
          <p:cNvSpPr txBox="1"/>
          <p:nvPr userDrawn="1"/>
        </p:nvSpPr>
        <p:spPr>
          <a:xfrm>
            <a:off x="3877307" y="4881156"/>
            <a:ext cx="1389387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sr-Latn-BA" sz="1000">
                <a:solidFill>
                  <a:srgbClr val="000000"/>
                </a:solidFill>
                <a:latin typeface="Calibri" panose="020F0502020204030204" pitchFamily="34" charset="0"/>
              </a:rPr>
              <a:t>Classified as Business</a:t>
            </a:r>
            <a:endParaRPr lang="sr-Latn-BA" sz="1000" dirty="0" err="1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pic>
        <p:nvPicPr>
          <p:cNvPr id="6" name="Picture 5" descr="A red sign with white text&#10;&#10;AI-generated content may be incorrect.">
            <a:extLst>
              <a:ext uri="{FF2B5EF4-FFF2-40B4-BE49-F238E27FC236}">
                <a16:creationId xmlns:a16="http://schemas.microsoft.com/office/drawing/2014/main" id="{FFEB8828-9CED-C0B3-AC85-D638B3F22366}"/>
              </a:ext>
            </a:extLst>
          </p:cNvPr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10056" y="4796028"/>
            <a:ext cx="792549" cy="347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69634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  <p:sldLayoutId id="2147483736" r:id="rId2"/>
    <p:sldLayoutId id="2147483743" r:id="rId3"/>
    <p:sldLayoutId id="2147483740" r:id="rId4"/>
    <p:sldLayoutId id="2147483742" r:id="rId5"/>
    <p:sldLayoutId id="2147483737" r:id="rId6"/>
    <p:sldLayoutId id="2147483744" r:id="rId7"/>
    <p:sldLayoutId id="2147483666" r:id="rId8"/>
    <p:sldLayoutId id="2147483746" r:id="rId9"/>
    <p:sldLayoutId id="2147483732" r:id="rId10"/>
    <p:sldLayoutId id="2147483709" r:id="rId11"/>
    <p:sldLayoutId id="2147483747" r:id="rId12"/>
    <p:sldLayoutId id="2147483823" r:id="rId13"/>
    <p:sldLayoutId id="2147483972" r:id="rId14"/>
    <p:sldLayoutId id="2147483975" r:id="rId15"/>
    <p:sldLayoutId id="2147483976" r:id="rId16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1400" b="1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SzPct val="140000"/>
        <a:buFont typeface="Arial" panose="020B0604020202020204" pitchFamily="34" charset="0"/>
        <a:buNone/>
        <a:defRPr sz="1200" b="1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1pPr>
      <a:lvl2pPr marL="474663" indent="-28575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SzPct val="140000"/>
        <a:buFont typeface="Arial" panose="020B0604020202020204" pitchFamily="34" charset="0"/>
        <a:buChar char="•"/>
        <a:defRPr sz="12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2pPr>
      <a:lvl3pPr marL="646112" indent="-28575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SzPct val="140000"/>
        <a:buFont typeface="Arial" panose="020B0604020202020204" pitchFamily="34" charset="0"/>
        <a:buChar char="•"/>
        <a:tabLst/>
        <a:defRPr sz="12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3pPr>
      <a:lvl4pPr marL="828675" indent="-28575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SzPct val="140000"/>
        <a:buFont typeface="Arial" panose="020B0604020202020204" pitchFamily="34" charset="0"/>
        <a:buChar char="•"/>
        <a:defRPr sz="12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4pPr>
      <a:lvl5pPr marL="1004888" indent="-28575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SzPct val="140000"/>
        <a:buFont typeface="Arial" panose="020B0604020202020204" pitchFamily="34" charset="0"/>
        <a:buChar char="•"/>
        <a:defRPr sz="12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10155" y="289237"/>
            <a:ext cx="8311572" cy="3265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0155" y="979201"/>
            <a:ext cx="8311572" cy="329366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grpSp>
        <p:nvGrpSpPr>
          <p:cNvPr id="24" name="Group 23"/>
          <p:cNvGrpSpPr/>
          <p:nvPr userDrawn="1"/>
        </p:nvGrpSpPr>
        <p:grpSpPr>
          <a:xfrm>
            <a:off x="-195943" y="217955"/>
            <a:ext cx="130629" cy="1004420"/>
            <a:chOff x="-478971" y="290606"/>
            <a:chExt cx="413657" cy="1339226"/>
          </a:xfrm>
        </p:grpSpPr>
        <p:cxnSp>
          <p:nvCxnSpPr>
            <p:cNvPr id="16" name="Straight Connector 15"/>
            <p:cNvCxnSpPr/>
            <p:nvPr userDrawn="1"/>
          </p:nvCxnSpPr>
          <p:spPr>
            <a:xfrm flipH="1">
              <a:off x="-478971" y="290606"/>
              <a:ext cx="41365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 flipH="1">
              <a:off x="-478971" y="1629832"/>
              <a:ext cx="41365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1" name="Straight Connector 30"/>
          <p:cNvCxnSpPr/>
          <p:nvPr userDrawn="1"/>
        </p:nvCxnSpPr>
        <p:spPr>
          <a:xfrm rot="5400000" flipH="1">
            <a:off x="8672741" y="-132632"/>
            <a:ext cx="979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 userDrawn="1"/>
        </p:nvCxnSpPr>
        <p:spPr>
          <a:xfrm rot="5400000" flipH="1">
            <a:off x="371702" y="-132633"/>
            <a:ext cx="979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 userDrawn="1"/>
        </p:nvCxnSpPr>
        <p:spPr>
          <a:xfrm rot="5400000" flipH="1">
            <a:off x="5704341" y="-132633"/>
            <a:ext cx="979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 userDrawn="1"/>
        </p:nvCxnSpPr>
        <p:spPr>
          <a:xfrm rot="5400000" flipH="1">
            <a:off x="5530173" y="-132634"/>
            <a:ext cx="979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/>
          <p:cNvCxnSpPr/>
          <p:nvPr userDrawn="1"/>
        </p:nvCxnSpPr>
        <p:spPr>
          <a:xfrm rot="5400000" flipH="1">
            <a:off x="4608965" y="-132634"/>
            <a:ext cx="979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/>
          <p:cNvCxnSpPr/>
          <p:nvPr userDrawn="1"/>
        </p:nvCxnSpPr>
        <p:spPr>
          <a:xfrm rot="5400000" flipH="1">
            <a:off x="4434797" y="-132635"/>
            <a:ext cx="979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/>
          <p:cNvCxnSpPr/>
          <p:nvPr userDrawn="1"/>
        </p:nvCxnSpPr>
        <p:spPr>
          <a:xfrm rot="5400000" flipH="1">
            <a:off x="3519714" y="-132635"/>
            <a:ext cx="979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/>
          <p:cNvCxnSpPr/>
          <p:nvPr userDrawn="1"/>
        </p:nvCxnSpPr>
        <p:spPr>
          <a:xfrm rot="5400000" flipH="1">
            <a:off x="3345545" y="-132635"/>
            <a:ext cx="979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5" name="Group 24"/>
          <p:cNvGrpSpPr/>
          <p:nvPr userDrawn="1"/>
        </p:nvGrpSpPr>
        <p:grpSpPr>
          <a:xfrm>
            <a:off x="9229952" y="217949"/>
            <a:ext cx="130629" cy="1004427"/>
            <a:chOff x="-478971" y="290597"/>
            <a:chExt cx="413657" cy="1339236"/>
          </a:xfrm>
        </p:grpSpPr>
        <p:cxnSp>
          <p:nvCxnSpPr>
            <p:cNvPr id="40" name="Straight Connector 39"/>
            <p:cNvCxnSpPr/>
            <p:nvPr userDrawn="1"/>
          </p:nvCxnSpPr>
          <p:spPr>
            <a:xfrm flipH="1">
              <a:off x="-478971" y="290597"/>
              <a:ext cx="41365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 flipH="1">
              <a:off x="-478971" y="1629833"/>
              <a:ext cx="41365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1" name="Skupina 20"/>
          <p:cNvGrpSpPr/>
          <p:nvPr userDrawn="1"/>
        </p:nvGrpSpPr>
        <p:grpSpPr>
          <a:xfrm>
            <a:off x="0" y="4796028"/>
            <a:ext cx="9144000" cy="347472"/>
            <a:chOff x="0" y="4796028"/>
            <a:chExt cx="9144000" cy="347472"/>
          </a:xfrm>
        </p:grpSpPr>
        <p:pic>
          <p:nvPicPr>
            <p:cNvPr id="22" name="Picture 3"/>
            <p:cNvPicPr>
              <a:picLocks noChangeAspect="1"/>
            </p:cNvPicPr>
            <p:nvPr userDrawn="1"/>
          </p:nvPicPr>
          <p:blipFill>
            <a:blip r:embed="rId2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0" y="4796028"/>
              <a:ext cx="9144000" cy="347472"/>
            </a:xfrm>
            <a:prstGeom prst="rect">
              <a:avLst/>
            </a:prstGeom>
          </p:spPr>
        </p:pic>
        <p:pic>
          <p:nvPicPr>
            <p:cNvPr id="23" name="Picture 4">
              <a:hlinkClick r:id="" action="ppaction://noaction"/>
            </p:cNvPr>
            <p:cNvPicPr>
              <a:picLocks noChangeAspect="1"/>
            </p:cNvPicPr>
            <p:nvPr userDrawn="1"/>
          </p:nvPicPr>
          <p:blipFill>
            <a:blip r:embed="rId2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162037" y="4796028"/>
              <a:ext cx="1981963" cy="347472"/>
            </a:xfrm>
            <a:prstGeom prst="rect">
              <a:avLst/>
            </a:prstGeom>
          </p:spPr>
        </p:pic>
        <p:sp>
          <p:nvSpPr>
            <p:cNvPr id="29" name="bmkFldAdditionalInfo"/>
            <p:cNvSpPr txBox="1">
              <a:spLocks noChangeArrowheads="1"/>
            </p:cNvSpPr>
            <p:nvPr/>
          </p:nvSpPr>
          <p:spPr bwMode="auto">
            <a:xfrm>
              <a:off x="485775" y="4965142"/>
              <a:ext cx="3998007" cy="91679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  <a:effectLst/>
          </p:spPr>
          <p:txBody>
            <a:bodyPr lIns="0" tIns="0" rIns="0" bIns="0" anchor="b" anchorCtr="0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808080"/>
                </a:buClr>
              </a:pPr>
              <a:endParaRPr lang="en-US" sz="600" b="0" noProof="0" dirty="0">
                <a:solidFill>
                  <a:schemeClr val="bg1"/>
                </a:solidFill>
                <a:ea typeface="SimHei"/>
                <a:cs typeface="Arial" charset="0"/>
              </a:endParaRPr>
            </a:p>
          </p:txBody>
        </p:sp>
      </p:grpSp>
      <p:sp>
        <p:nvSpPr>
          <p:cNvPr id="4" name="MSIPCMContentMarking" descr="{&quot;HashCode&quot;:1249950703,&quot;Placement&quot;:&quot;Footer&quot;,&quot;Top&quot;:384.343,&quot;Left&quot;:305.299774,&quot;SlideWidth&quot;:720,&quot;SlideHeight&quot;:405}">
            <a:extLst>
              <a:ext uri="{FF2B5EF4-FFF2-40B4-BE49-F238E27FC236}">
                <a16:creationId xmlns:a16="http://schemas.microsoft.com/office/drawing/2014/main" id="{326BCC42-C3A4-4AAC-9F9D-AF1A7B696423}"/>
              </a:ext>
            </a:extLst>
          </p:cNvPr>
          <p:cNvSpPr txBox="1"/>
          <p:nvPr userDrawn="1"/>
        </p:nvSpPr>
        <p:spPr>
          <a:xfrm>
            <a:off x="3877307" y="4881156"/>
            <a:ext cx="1389387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sr-Latn-BA" sz="1000">
                <a:solidFill>
                  <a:srgbClr val="000000"/>
                </a:solidFill>
                <a:latin typeface="Calibri" panose="020F0502020204030204" pitchFamily="34" charset="0"/>
              </a:rPr>
              <a:t>Classified as Business</a:t>
            </a:r>
            <a:endParaRPr lang="sr-Latn-BA" sz="1000" dirty="0" err="1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049793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1" r:id="rId1"/>
    <p:sldLayoutId id="2147483952" r:id="rId2"/>
    <p:sldLayoutId id="2147483953" r:id="rId3"/>
    <p:sldLayoutId id="2147483954" r:id="rId4"/>
    <p:sldLayoutId id="2147483955" r:id="rId5"/>
    <p:sldLayoutId id="2147483956" r:id="rId6"/>
    <p:sldLayoutId id="2147483957" r:id="rId7"/>
    <p:sldLayoutId id="2147483958" r:id="rId8"/>
    <p:sldLayoutId id="2147483959" r:id="rId9"/>
    <p:sldLayoutId id="2147483960" r:id="rId10"/>
    <p:sldLayoutId id="2147483961" r:id="rId11"/>
    <p:sldLayoutId id="2147483962" r:id="rId12"/>
    <p:sldLayoutId id="2147483964" r:id="rId13"/>
    <p:sldLayoutId id="2147483965" r:id="rId14"/>
    <p:sldLayoutId id="2147483966" r:id="rId15"/>
    <p:sldLayoutId id="2147483967" r:id="rId16"/>
    <p:sldLayoutId id="2147483968" r:id="rId17"/>
    <p:sldLayoutId id="2147483970" r:id="rId18"/>
    <p:sldLayoutId id="2147483971" r:id="rId19"/>
    <p:sldLayoutId id="2147483973" r:id="rId20"/>
    <p:sldLayoutId id="2147483977" r:id="rId21"/>
    <p:sldLayoutId id="2147483978" r:id="rId22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1400" b="1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SzPct val="140000"/>
        <a:buFont typeface="Arial" panose="020B0604020202020204" pitchFamily="34" charset="0"/>
        <a:buNone/>
        <a:defRPr sz="1200" b="1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1pPr>
      <a:lvl2pPr marL="474663" indent="-28575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SzPct val="140000"/>
        <a:buFont typeface="Arial" panose="020B0604020202020204" pitchFamily="34" charset="0"/>
        <a:buChar char="•"/>
        <a:defRPr sz="12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2pPr>
      <a:lvl3pPr marL="646112" indent="-28575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SzPct val="140000"/>
        <a:buFont typeface="Arial" panose="020B0604020202020204" pitchFamily="34" charset="0"/>
        <a:buChar char="•"/>
        <a:tabLst/>
        <a:defRPr sz="12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3pPr>
      <a:lvl4pPr marL="828675" indent="-28575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SzPct val="140000"/>
        <a:buFont typeface="Arial" panose="020B0604020202020204" pitchFamily="34" charset="0"/>
        <a:buChar char="•"/>
        <a:defRPr sz="12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4pPr>
      <a:lvl5pPr marL="1004888" indent="-28575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SzPct val="140000"/>
        <a:buFont typeface="Arial" panose="020B0604020202020204" pitchFamily="34" charset="0"/>
        <a:buChar char="•"/>
        <a:defRPr sz="12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3"/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796028"/>
            <a:ext cx="9144000" cy="347472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19099" y="221456"/>
            <a:ext cx="8308975" cy="86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9100" y="1222375"/>
            <a:ext cx="8308975" cy="329366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grpSp>
        <p:nvGrpSpPr>
          <p:cNvPr id="24" name="Group 23"/>
          <p:cNvGrpSpPr/>
          <p:nvPr/>
        </p:nvGrpSpPr>
        <p:grpSpPr>
          <a:xfrm>
            <a:off x="-195943" y="217955"/>
            <a:ext cx="130629" cy="1004420"/>
            <a:chOff x="-478971" y="290606"/>
            <a:chExt cx="413657" cy="1339226"/>
          </a:xfrm>
        </p:grpSpPr>
        <p:cxnSp>
          <p:nvCxnSpPr>
            <p:cNvPr id="16" name="Straight Connector 15"/>
            <p:cNvCxnSpPr/>
            <p:nvPr userDrawn="1"/>
          </p:nvCxnSpPr>
          <p:spPr>
            <a:xfrm flipH="1">
              <a:off x="-478971" y="290606"/>
              <a:ext cx="41365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 flipH="1">
              <a:off x="-478971" y="1629832"/>
              <a:ext cx="41365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1" name="Straight Connector 30"/>
          <p:cNvCxnSpPr/>
          <p:nvPr/>
        </p:nvCxnSpPr>
        <p:spPr>
          <a:xfrm rot="5400000" flipH="1">
            <a:off x="8672740" y="-132632"/>
            <a:ext cx="979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/>
        </p:nvCxnSpPr>
        <p:spPr>
          <a:xfrm rot="5400000" flipH="1">
            <a:off x="371702" y="-132633"/>
            <a:ext cx="979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/>
        </p:nvCxnSpPr>
        <p:spPr>
          <a:xfrm rot="5400000" flipH="1">
            <a:off x="5704341" y="-132633"/>
            <a:ext cx="979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/>
        </p:nvCxnSpPr>
        <p:spPr>
          <a:xfrm rot="5400000" flipH="1">
            <a:off x="5530172" y="-132634"/>
            <a:ext cx="979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/>
          <p:cNvCxnSpPr/>
          <p:nvPr/>
        </p:nvCxnSpPr>
        <p:spPr>
          <a:xfrm rot="5400000" flipH="1">
            <a:off x="4608965" y="-132634"/>
            <a:ext cx="979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/>
          <p:cNvCxnSpPr/>
          <p:nvPr/>
        </p:nvCxnSpPr>
        <p:spPr>
          <a:xfrm rot="5400000" flipH="1">
            <a:off x="4434796" y="-132635"/>
            <a:ext cx="979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/>
          <p:cNvCxnSpPr/>
          <p:nvPr/>
        </p:nvCxnSpPr>
        <p:spPr>
          <a:xfrm rot="5400000" flipH="1">
            <a:off x="3519714" y="-132635"/>
            <a:ext cx="979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/>
          <p:cNvCxnSpPr/>
          <p:nvPr/>
        </p:nvCxnSpPr>
        <p:spPr>
          <a:xfrm rot="5400000" flipH="1">
            <a:off x="3345545" y="-132635"/>
            <a:ext cx="979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Page#"/>
          <p:cNvSpPr txBox="1">
            <a:spLocks noChangeArrowheads="1"/>
          </p:cNvSpPr>
          <p:nvPr/>
        </p:nvSpPr>
        <p:spPr bwMode="auto">
          <a:xfrm>
            <a:off x="64431" y="4965599"/>
            <a:ext cx="381042" cy="91800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lIns="0" tIns="0" rIns="0" bIns="0" anchor="b" anchorCtr="0"/>
          <a:lstStyle/>
          <a:p>
            <a:pPr algn="r" fontAlgn="base">
              <a:spcBef>
                <a:spcPct val="20000"/>
              </a:spcBef>
              <a:spcAft>
                <a:spcPct val="0"/>
              </a:spcAft>
              <a:buClr>
                <a:srgbClr val="808080"/>
              </a:buClr>
            </a:pPr>
            <a:r>
              <a:rPr lang="en-GB" sz="900" dirty="0">
                <a:solidFill>
                  <a:schemeClr val="bg1"/>
                </a:solidFill>
                <a:ea typeface="SimHei"/>
                <a:cs typeface="Arial" charset="0"/>
              </a:rPr>
              <a:t>|</a:t>
            </a:r>
          </a:p>
        </p:txBody>
      </p:sp>
      <p:grpSp>
        <p:nvGrpSpPr>
          <p:cNvPr id="25" name="Group 24"/>
          <p:cNvGrpSpPr/>
          <p:nvPr/>
        </p:nvGrpSpPr>
        <p:grpSpPr>
          <a:xfrm>
            <a:off x="9229951" y="217948"/>
            <a:ext cx="130629" cy="1004427"/>
            <a:chOff x="-478971" y="290597"/>
            <a:chExt cx="413657" cy="1339236"/>
          </a:xfrm>
        </p:grpSpPr>
        <p:cxnSp>
          <p:nvCxnSpPr>
            <p:cNvPr id="40" name="Straight Connector 39"/>
            <p:cNvCxnSpPr/>
            <p:nvPr userDrawn="1"/>
          </p:nvCxnSpPr>
          <p:spPr>
            <a:xfrm flipH="1">
              <a:off x="-478971" y="290597"/>
              <a:ext cx="41365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 flipH="1">
              <a:off x="-478971" y="1629833"/>
              <a:ext cx="41365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6" name="bmkFldAdditionalInfo"/>
          <p:cNvSpPr txBox="1">
            <a:spLocks noChangeArrowheads="1"/>
          </p:cNvSpPr>
          <p:nvPr userDrawn="1"/>
        </p:nvSpPr>
        <p:spPr bwMode="auto">
          <a:xfrm>
            <a:off x="485774" y="4965142"/>
            <a:ext cx="3998007" cy="91679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lIns="0" tIns="0" rIns="0" bIns="0" anchor="b" anchorCtr="0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808080"/>
              </a:buClr>
              <a:buSzTx/>
              <a:buFontTx/>
              <a:buNone/>
              <a:tabLst/>
              <a:defRPr/>
            </a:pPr>
            <a:r>
              <a:rPr kumimoji="0" lang="sr-Latn-BA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SimHei"/>
                <a:cs typeface="Arial" charset="0"/>
              </a:rPr>
              <a:t>TOPS 2025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SimHei"/>
              <a:cs typeface="Arial" charset="0"/>
            </a:endParaRPr>
          </a:p>
        </p:txBody>
      </p:sp>
      <p:pic>
        <p:nvPicPr>
          <p:cNvPr id="8" name="Picture 7" descr="A red sign with white text&#10;&#10;AI-generated content may be incorrect.">
            <a:extLst>
              <a:ext uri="{FF2B5EF4-FFF2-40B4-BE49-F238E27FC236}">
                <a16:creationId xmlns:a16="http://schemas.microsoft.com/office/drawing/2014/main" id="{971726F5-2CAC-19B6-1F2F-AE9FD3F17AF3}"/>
              </a:ext>
            </a:extLst>
          </p:cNvPr>
          <p:cNvPicPr>
            <a:picLocks noChangeAspect="1"/>
          </p:cNvPicPr>
          <p:nvPr userDrawn="1"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63010" y="4828962"/>
            <a:ext cx="717431" cy="3145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80148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9" r:id="rId1"/>
    <p:sldLayoutId id="2147483750" r:id="rId2"/>
    <p:sldLayoutId id="2147483751" r:id="rId3"/>
    <p:sldLayoutId id="2147483752" r:id="rId4"/>
    <p:sldLayoutId id="2147483753" r:id="rId5"/>
    <p:sldLayoutId id="2147483754" r:id="rId6"/>
    <p:sldLayoutId id="2147483755" r:id="rId7"/>
    <p:sldLayoutId id="2147483756" r:id="rId8"/>
    <p:sldLayoutId id="2147483757" r:id="rId9"/>
    <p:sldLayoutId id="2147483758" r:id="rId10"/>
    <p:sldLayoutId id="2147483759" r:id="rId11"/>
    <p:sldLayoutId id="2147483760" r:id="rId12"/>
    <p:sldLayoutId id="2147483761" r:id="rId13"/>
    <p:sldLayoutId id="2147483762" r:id="rId14"/>
    <p:sldLayoutId id="2147483763" r:id="rId15"/>
    <p:sldLayoutId id="2147483764" r:id="rId16"/>
    <p:sldLayoutId id="2147483765" r:id="rId17"/>
    <p:sldLayoutId id="2147483766" r:id="rId18"/>
    <p:sldLayoutId id="2147483767" r:id="rId19"/>
    <p:sldLayoutId id="2147483769" r:id="rId20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2563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>
            <a:lumMod val="50000"/>
            <a:lumOff val="50000"/>
          </a:schemeClr>
        </a:buClr>
        <a:buFont typeface="Verdana" panose="020B060403050404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>
            <a:lumMod val="50000"/>
            <a:lumOff val="50000"/>
          </a:schemeClr>
        </a:buClr>
        <a:buFont typeface="Verdana" panose="020B060403050404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542925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>
            <a:lumMod val="50000"/>
            <a:lumOff val="50000"/>
          </a:schemeClr>
        </a:buClr>
        <a:buFont typeface="Verdana" panose="020B060403050404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714375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>
            <a:lumMod val="50000"/>
            <a:lumOff val="50000"/>
          </a:schemeClr>
        </a:buClr>
        <a:buFont typeface="Verdana" panose="020B060403050404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903288" indent="-18415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>
            <a:lumMod val="50000"/>
            <a:lumOff val="50000"/>
          </a:schemeClr>
        </a:buClr>
        <a:buFont typeface="Verdana" panose="020B060403050404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U:\Danfoss\Jobs\5123_Hjaelp til PowerPoint skabeloner\Received\Nyeste grafikker\Ny Grafik til SD\Ny Grafik til SD\PPT__4-3_bottom_bar.png"/>
          <p:cNvPicPr>
            <a:picLocks noChangeAspect="1" noChangeArrowheads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4796267"/>
            <a:ext cx="9144000" cy="347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7" name="Picture 3" descr="U:\Danfoss\Jobs\5123_Hjaelp til PowerPoint skabeloner\Received\Nyeste grafikker\Ny Grafik til SD\Ny Grafik til SD\PPT__4-3_bottom_bar_logo-only.png"/>
          <p:cNvPicPr>
            <a:picLocks noChangeAspect="1" noChangeArrowheads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4796267"/>
            <a:ext cx="9144000" cy="347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19099" y="221456"/>
            <a:ext cx="8308975" cy="70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9101" y="1006078"/>
            <a:ext cx="8308975" cy="350996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grpSp>
        <p:nvGrpSpPr>
          <p:cNvPr id="24" name="Group 23"/>
          <p:cNvGrpSpPr/>
          <p:nvPr/>
        </p:nvGrpSpPr>
        <p:grpSpPr>
          <a:xfrm>
            <a:off x="-195943" y="217956"/>
            <a:ext cx="130629" cy="784511"/>
            <a:chOff x="-478971" y="290606"/>
            <a:chExt cx="413657" cy="1046015"/>
          </a:xfrm>
        </p:grpSpPr>
        <p:cxnSp>
          <p:nvCxnSpPr>
            <p:cNvPr id="16" name="Straight Connector 15"/>
            <p:cNvCxnSpPr/>
            <p:nvPr userDrawn="1"/>
          </p:nvCxnSpPr>
          <p:spPr>
            <a:xfrm flipH="1">
              <a:off x="-478971" y="290606"/>
              <a:ext cx="41365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 flipH="1">
              <a:off x="-478971" y="1336621"/>
              <a:ext cx="41365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1" name="Straight Connector 30"/>
          <p:cNvCxnSpPr/>
          <p:nvPr/>
        </p:nvCxnSpPr>
        <p:spPr>
          <a:xfrm rot="5400000" flipH="1">
            <a:off x="8672741" y="-132632"/>
            <a:ext cx="979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/>
        </p:nvCxnSpPr>
        <p:spPr>
          <a:xfrm rot="5400000" flipH="1">
            <a:off x="371703" y="-132633"/>
            <a:ext cx="979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/>
        </p:nvCxnSpPr>
        <p:spPr>
          <a:xfrm rot="5400000" flipH="1">
            <a:off x="5704341" y="-132633"/>
            <a:ext cx="979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/>
        </p:nvCxnSpPr>
        <p:spPr>
          <a:xfrm rot="5400000" flipH="1">
            <a:off x="5530173" y="-132634"/>
            <a:ext cx="979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/>
          <p:cNvCxnSpPr/>
          <p:nvPr/>
        </p:nvCxnSpPr>
        <p:spPr>
          <a:xfrm rot="5400000" flipH="1">
            <a:off x="4608966" y="-132634"/>
            <a:ext cx="979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/>
          <p:cNvCxnSpPr/>
          <p:nvPr/>
        </p:nvCxnSpPr>
        <p:spPr>
          <a:xfrm rot="5400000" flipH="1">
            <a:off x="4434797" y="-132635"/>
            <a:ext cx="979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/>
          <p:cNvCxnSpPr/>
          <p:nvPr/>
        </p:nvCxnSpPr>
        <p:spPr>
          <a:xfrm rot="5400000" flipH="1">
            <a:off x="3519714" y="-132635"/>
            <a:ext cx="979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/>
          <p:cNvCxnSpPr/>
          <p:nvPr/>
        </p:nvCxnSpPr>
        <p:spPr>
          <a:xfrm rot="5400000" flipH="1">
            <a:off x="3345546" y="-132635"/>
            <a:ext cx="979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bmkFldAdditionalInfo"/>
          <p:cNvSpPr txBox="1">
            <a:spLocks noChangeArrowheads="1"/>
          </p:cNvSpPr>
          <p:nvPr/>
        </p:nvSpPr>
        <p:spPr bwMode="auto">
          <a:xfrm>
            <a:off x="64431" y="4965599"/>
            <a:ext cx="381042" cy="91800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lIns="0" tIns="0" rIns="0" bIns="0" anchor="b" anchorCtr="0"/>
          <a:lstStyle/>
          <a:p>
            <a:pPr algn="r" fontAlgn="base">
              <a:spcBef>
                <a:spcPct val="20000"/>
              </a:spcBef>
              <a:spcAft>
                <a:spcPct val="0"/>
              </a:spcAft>
              <a:buClr>
                <a:srgbClr val="808080"/>
              </a:buClr>
            </a:pPr>
            <a:r>
              <a:rPr lang="en-GB" sz="675" dirty="0">
                <a:solidFill>
                  <a:schemeClr val="bg1"/>
                </a:solidFill>
                <a:ea typeface="SimHei"/>
                <a:cs typeface="Arial" charset="0"/>
              </a:rPr>
              <a:t>|</a:t>
            </a:r>
          </a:p>
        </p:txBody>
      </p:sp>
      <p:grpSp>
        <p:nvGrpSpPr>
          <p:cNvPr id="25" name="Group 24"/>
          <p:cNvGrpSpPr/>
          <p:nvPr/>
        </p:nvGrpSpPr>
        <p:grpSpPr>
          <a:xfrm>
            <a:off x="9229951" y="217948"/>
            <a:ext cx="130629" cy="783792"/>
            <a:chOff x="-478971" y="290597"/>
            <a:chExt cx="413657" cy="1045056"/>
          </a:xfrm>
        </p:grpSpPr>
        <p:cxnSp>
          <p:nvCxnSpPr>
            <p:cNvPr id="40" name="Straight Connector 39"/>
            <p:cNvCxnSpPr/>
            <p:nvPr userDrawn="1"/>
          </p:nvCxnSpPr>
          <p:spPr>
            <a:xfrm flipH="1">
              <a:off x="-478971" y="290597"/>
              <a:ext cx="41365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 flipH="1">
              <a:off x="-478971" y="1335653"/>
              <a:ext cx="41365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>
          <a:xfrm>
            <a:off x="9556896" y="4704467"/>
            <a:ext cx="1488568" cy="918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6" name="bmkFldAdditionalInfo"/>
          <p:cNvSpPr txBox="1">
            <a:spLocks noChangeArrowheads="1"/>
          </p:cNvSpPr>
          <p:nvPr/>
        </p:nvSpPr>
        <p:spPr bwMode="auto">
          <a:xfrm>
            <a:off x="485776" y="4997212"/>
            <a:ext cx="3998007" cy="91679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lIns="0" tIns="0" rIns="0" bIns="0" anchor="b" anchorCtr="0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808080"/>
              </a:buClr>
              <a:buSzTx/>
              <a:buFontTx/>
              <a:buNone/>
              <a:tabLst/>
              <a:defRPr/>
            </a:pPr>
            <a:r>
              <a:rPr kumimoji="0" lang="sr-Latn-BA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SimHei"/>
                <a:cs typeface="Arial" charset="0"/>
              </a:rPr>
              <a:t>TOPS 2025 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SimHei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612622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1" r:id="rId1"/>
    <p:sldLayoutId id="2147483772" r:id="rId2"/>
    <p:sldLayoutId id="2147483773" r:id="rId3"/>
    <p:sldLayoutId id="2147483774" r:id="rId4"/>
    <p:sldLayoutId id="2147483775" r:id="rId5"/>
    <p:sldLayoutId id="2147483776" r:id="rId6"/>
    <p:sldLayoutId id="2147483777" r:id="rId7"/>
    <p:sldLayoutId id="2147483778" r:id="rId8"/>
    <p:sldLayoutId id="2147483779" r:id="rId9"/>
    <p:sldLayoutId id="2147483780" r:id="rId10"/>
    <p:sldLayoutId id="2147483781" r:id="rId11"/>
    <p:sldLayoutId id="2147483782" r:id="rId12"/>
    <p:sldLayoutId id="2147483783" r:id="rId13"/>
    <p:sldLayoutId id="2147483784" r:id="rId14"/>
    <p:sldLayoutId id="2147483785" r:id="rId15"/>
    <p:sldLayoutId id="2147483786" r:id="rId16"/>
    <p:sldLayoutId id="2147483787" r:id="rId17"/>
    <p:sldLayoutId id="2147483788" r:id="rId18"/>
    <p:sldLayoutId id="2147483789" r:id="rId19"/>
    <p:sldLayoutId id="2147483790" r:id="rId20"/>
    <p:sldLayoutId id="2147483791" r:id="rId21"/>
    <p:sldLayoutId id="2147483792" r:id="rId22"/>
    <p:sldLayoutId id="2147483793" r:id="rId23"/>
    <p:sldLayoutId id="2147483794" r:id="rId24"/>
    <p:sldLayoutId id="2147483795" r:id="rId25"/>
    <p:sldLayoutId id="2147483796" r:id="rId26"/>
  </p:sldLayoutIdLst>
  <p:hf sldNum="0" hdr="0" dt="0"/>
  <p:txStyles>
    <p:titleStyle>
      <a:lvl1pPr algn="l" defTabSz="685800" rtl="0" eaLnBrk="1" latinLnBrk="0" hangingPunct="1">
        <a:spcBef>
          <a:spcPct val="0"/>
        </a:spcBef>
        <a:buNone/>
        <a:defRPr sz="21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36922" indent="-136922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Clr>
          <a:schemeClr val="tx1">
            <a:lumMod val="50000"/>
            <a:lumOff val="50000"/>
          </a:schemeClr>
        </a:buClr>
        <a:buFont typeface="Verdana" panose="020B060403050404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270272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Clr>
          <a:schemeClr val="tx1">
            <a:lumMod val="50000"/>
            <a:lumOff val="50000"/>
          </a:schemeClr>
        </a:buClr>
        <a:buFont typeface="Verdana" panose="020B060403050404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407194" indent="-136922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Clr>
          <a:schemeClr val="tx1">
            <a:lumMod val="50000"/>
            <a:lumOff val="50000"/>
          </a:schemeClr>
        </a:buClr>
        <a:buFont typeface="Verdana" panose="020B0604030504040204" pitchFamily="34" charset="0"/>
        <a:buChar char="•"/>
        <a:tabLst/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535781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Clr>
          <a:schemeClr val="tx1">
            <a:lumMod val="50000"/>
            <a:lumOff val="50000"/>
          </a:schemeClr>
        </a:buClr>
        <a:buFont typeface="Verdana" panose="020B060403050404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677466" indent="-138113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Clr>
          <a:schemeClr val="tx1">
            <a:lumMod val="50000"/>
            <a:lumOff val="50000"/>
          </a:schemeClr>
        </a:buClr>
        <a:buFont typeface="Verdana" panose="020B060403050404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U:\Danfoss\Jobs\5123_Hjaelp til PowerPoint skabeloner\Received\Nyeste grafikker\Ny Grafik til SD\Ny Grafik til SD\PPT__4-3_bottom_bar.png"/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4796267"/>
            <a:ext cx="9144000" cy="347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7" name="Picture 3" descr="U:\Danfoss\Jobs\5123_Hjaelp til PowerPoint skabeloner\Received\Nyeste grafikker\Ny Grafik til SD\Ny Grafik til SD\PPT__4-3_bottom_bar_logo-only.png"/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4796267"/>
            <a:ext cx="9144000" cy="347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19099" y="221456"/>
            <a:ext cx="8308975" cy="70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9101" y="1006078"/>
            <a:ext cx="8308975" cy="350996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grpSp>
        <p:nvGrpSpPr>
          <p:cNvPr id="24" name="Group 23"/>
          <p:cNvGrpSpPr/>
          <p:nvPr/>
        </p:nvGrpSpPr>
        <p:grpSpPr>
          <a:xfrm>
            <a:off x="-195943" y="217955"/>
            <a:ext cx="130629" cy="784511"/>
            <a:chOff x="-478971" y="290606"/>
            <a:chExt cx="413657" cy="1046015"/>
          </a:xfrm>
        </p:grpSpPr>
        <p:cxnSp>
          <p:nvCxnSpPr>
            <p:cNvPr id="16" name="Straight Connector 15"/>
            <p:cNvCxnSpPr/>
            <p:nvPr userDrawn="1"/>
          </p:nvCxnSpPr>
          <p:spPr>
            <a:xfrm flipH="1">
              <a:off x="-478971" y="290606"/>
              <a:ext cx="41365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 flipH="1">
              <a:off x="-478971" y="1336621"/>
              <a:ext cx="41365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1" name="Straight Connector 30"/>
          <p:cNvCxnSpPr/>
          <p:nvPr/>
        </p:nvCxnSpPr>
        <p:spPr>
          <a:xfrm rot="5400000" flipH="1">
            <a:off x="8672740" y="-132632"/>
            <a:ext cx="979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/>
        </p:nvCxnSpPr>
        <p:spPr>
          <a:xfrm rot="5400000" flipH="1">
            <a:off x="371702" y="-132633"/>
            <a:ext cx="979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/>
        </p:nvCxnSpPr>
        <p:spPr>
          <a:xfrm rot="5400000" flipH="1">
            <a:off x="5704341" y="-132633"/>
            <a:ext cx="979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/>
        </p:nvCxnSpPr>
        <p:spPr>
          <a:xfrm rot="5400000" flipH="1">
            <a:off x="5530172" y="-132634"/>
            <a:ext cx="979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/>
          <p:cNvCxnSpPr/>
          <p:nvPr/>
        </p:nvCxnSpPr>
        <p:spPr>
          <a:xfrm rot="5400000" flipH="1">
            <a:off x="4608965" y="-132634"/>
            <a:ext cx="979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/>
          <p:cNvCxnSpPr/>
          <p:nvPr/>
        </p:nvCxnSpPr>
        <p:spPr>
          <a:xfrm rot="5400000" flipH="1">
            <a:off x="4434796" y="-132635"/>
            <a:ext cx="979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/>
          <p:cNvCxnSpPr/>
          <p:nvPr/>
        </p:nvCxnSpPr>
        <p:spPr>
          <a:xfrm rot="5400000" flipH="1">
            <a:off x="3519714" y="-132635"/>
            <a:ext cx="979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/>
          <p:cNvCxnSpPr/>
          <p:nvPr/>
        </p:nvCxnSpPr>
        <p:spPr>
          <a:xfrm rot="5400000" flipH="1">
            <a:off x="3345545" y="-132635"/>
            <a:ext cx="979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Page #"/>
          <p:cNvSpPr txBox="1">
            <a:spLocks noChangeArrowheads="1"/>
          </p:cNvSpPr>
          <p:nvPr/>
        </p:nvSpPr>
        <p:spPr bwMode="auto">
          <a:xfrm>
            <a:off x="64431" y="4965599"/>
            <a:ext cx="381042" cy="91800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lIns="0" tIns="0" rIns="0" bIns="0" anchor="b" anchorCtr="0"/>
          <a:lstStyle/>
          <a:p>
            <a:pPr algn="r" fontAlgn="base">
              <a:spcBef>
                <a:spcPct val="20000"/>
              </a:spcBef>
              <a:spcAft>
                <a:spcPct val="0"/>
              </a:spcAft>
              <a:buClr>
                <a:srgbClr val="808080"/>
              </a:buClr>
            </a:pPr>
            <a:r>
              <a:rPr lang="en-GB" sz="675" dirty="0">
                <a:solidFill>
                  <a:schemeClr val="bg1"/>
                </a:solidFill>
                <a:ea typeface="SimHei"/>
                <a:cs typeface="Arial" charset="0"/>
              </a:rPr>
              <a:t>|</a:t>
            </a:r>
          </a:p>
        </p:txBody>
      </p:sp>
      <p:grpSp>
        <p:nvGrpSpPr>
          <p:cNvPr id="25" name="Group 24"/>
          <p:cNvGrpSpPr/>
          <p:nvPr/>
        </p:nvGrpSpPr>
        <p:grpSpPr>
          <a:xfrm>
            <a:off x="9229951" y="217948"/>
            <a:ext cx="130629" cy="783792"/>
            <a:chOff x="-478971" y="290597"/>
            <a:chExt cx="413657" cy="1045056"/>
          </a:xfrm>
        </p:grpSpPr>
        <p:cxnSp>
          <p:nvCxnSpPr>
            <p:cNvPr id="40" name="Straight Connector 39"/>
            <p:cNvCxnSpPr/>
            <p:nvPr userDrawn="1"/>
          </p:nvCxnSpPr>
          <p:spPr>
            <a:xfrm flipH="1">
              <a:off x="-478971" y="290597"/>
              <a:ext cx="41365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 flipH="1">
              <a:off x="-478971" y="1335653"/>
              <a:ext cx="41365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6" name="bmkFldAdditionalInfo"/>
          <p:cNvSpPr txBox="1">
            <a:spLocks noChangeArrowheads="1"/>
          </p:cNvSpPr>
          <p:nvPr/>
        </p:nvSpPr>
        <p:spPr bwMode="auto">
          <a:xfrm>
            <a:off x="509904" y="5006101"/>
            <a:ext cx="3998007" cy="91679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lIns="0" tIns="0" rIns="0" bIns="0" anchor="b" anchorCtr="0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808080"/>
              </a:buClr>
              <a:buSzTx/>
              <a:buFontTx/>
              <a:buNone/>
              <a:tabLst/>
              <a:defRPr/>
            </a:pPr>
            <a:r>
              <a:rPr kumimoji="0" lang="sr-Latn-BA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SimHei"/>
                <a:cs typeface="Arial" charset="0"/>
              </a:rPr>
              <a:t>TOPS 2023 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SimHei"/>
              <a:cs typeface="Arial" charset="0"/>
            </a:endParaRPr>
          </a:p>
        </p:txBody>
      </p:sp>
      <p:sp>
        <p:nvSpPr>
          <p:cNvPr id="4" name="MSIPCMContentMarking" descr="{&quot;HashCode&quot;:1249950703,&quot;Placement&quot;:&quot;Footer&quot;,&quot;Top&quot;:384.343,&quot;Left&quot;:305.299774,&quot;SlideWidth&quot;:720,&quot;SlideHeight&quot;:405}">
            <a:extLst>
              <a:ext uri="{FF2B5EF4-FFF2-40B4-BE49-F238E27FC236}">
                <a16:creationId xmlns:a16="http://schemas.microsoft.com/office/drawing/2014/main" id="{2FCC5D65-8731-42F4-A9F8-C734C60D9BA2}"/>
              </a:ext>
            </a:extLst>
          </p:cNvPr>
          <p:cNvSpPr txBox="1"/>
          <p:nvPr userDrawn="1"/>
        </p:nvSpPr>
        <p:spPr>
          <a:xfrm>
            <a:off x="3877307" y="4881156"/>
            <a:ext cx="1389387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sr-Latn-BA" sz="1000">
                <a:solidFill>
                  <a:srgbClr val="000000"/>
                </a:solidFill>
                <a:latin typeface="Calibri" panose="020F0502020204030204" pitchFamily="34" charset="0"/>
              </a:rPr>
              <a:t>Classified as Business</a:t>
            </a:r>
            <a:endParaRPr lang="sr-Latn-BA" sz="1000" dirty="0" err="1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470975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2" r:id="rId1"/>
    <p:sldLayoutId id="2147483803" r:id="rId2"/>
    <p:sldLayoutId id="2147483804" r:id="rId3"/>
    <p:sldLayoutId id="2147483805" r:id="rId4"/>
    <p:sldLayoutId id="2147483806" r:id="rId5"/>
    <p:sldLayoutId id="2147483807" r:id="rId6"/>
    <p:sldLayoutId id="2147483808" r:id="rId7"/>
    <p:sldLayoutId id="2147483809" r:id="rId8"/>
    <p:sldLayoutId id="2147483810" r:id="rId9"/>
    <p:sldLayoutId id="2147483811" r:id="rId10"/>
    <p:sldLayoutId id="2147483812" r:id="rId11"/>
    <p:sldLayoutId id="2147483813" r:id="rId12"/>
    <p:sldLayoutId id="2147483814" r:id="rId13"/>
    <p:sldLayoutId id="2147483815" r:id="rId14"/>
    <p:sldLayoutId id="2147483816" r:id="rId15"/>
    <p:sldLayoutId id="2147483817" r:id="rId16"/>
    <p:sldLayoutId id="2147483818" r:id="rId17"/>
    <p:sldLayoutId id="2147483819" r:id="rId18"/>
    <p:sldLayoutId id="2147483820" r:id="rId19"/>
  </p:sldLayoutIdLst>
  <p:hf sldNum="0" hdr="0" dt="0"/>
  <p:txStyles>
    <p:titleStyle>
      <a:lvl1pPr algn="l" defTabSz="685800" rtl="0" eaLnBrk="1" latinLnBrk="0" hangingPunct="1">
        <a:spcBef>
          <a:spcPct val="0"/>
        </a:spcBef>
        <a:buNone/>
        <a:defRPr sz="21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36922" indent="-136922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Clr>
          <a:schemeClr val="tx1">
            <a:lumMod val="50000"/>
            <a:lumOff val="50000"/>
          </a:schemeClr>
        </a:buClr>
        <a:buFont typeface="Verdana" panose="020B060403050404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270272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Clr>
          <a:schemeClr val="tx1">
            <a:lumMod val="50000"/>
            <a:lumOff val="50000"/>
          </a:schemeClr>
        </a:buClr>
        <a:buFont typeface="Verdana" panose="020B060403050404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407194" indent="-136922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Clr>
          <a:schemeClr val="tx1">
            <a:lumMod val="50000"/>
            <a:lumOff val="50000"/>
          </a:schemeClr>
        </a:buClr>
        <a:buFont typeface="Verdana" panose="020B0604030504040204" pitchFamily="34" charset="0"/>
        <a:buChar char="•"/>
        <a:tabLst/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535781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Clr>
          <a:schemeClr val="tx1">
            <a:lumMod val="50000"/>
            <a:lumOff val="50000"/>
          </a:schemeClr>
        </a:buClr>
        <a:buFont typeface="Verdana" panose="020B060403050404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677466" indent="-138113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Clr>
          <a:schemeClr val="tx1">
            <a:lumMod val="50000"/>
            <a:lumOff val="50000"/>
          </a:schemeClr>
        </a:buClr>
        <a:buFont typeface="Verdana" panose="020B060403050404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3"/>
          <p:cNvPicPr>
            <a:picLocks noChangeAspect="1"/>
          </p:cNvPicPr>
          <p:nvPr userDrawn="1"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796028"/>
            <a:ext cx="9144000" cy="347472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19099" y="221456"/>
            <a:ext cx="8308975" cy="86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9101" y="1222375"/>
            <a:ext cx="8308975" cy="329366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grpSp>
        <p:nvGrpSpPr>
          <p:cNvPr id="24" name="Group 23"/>
          <p:cNvGrpSpPr/>
          <p:nvPr/>
        </p:nvGrpSpPr>
        <p:grpSpPr>
          <a:xfrm>
            <a:off x="-195943" y="217956"/>
            <a:ext cx="130629" cy="1004420"/>
            <a:chOff x="-478971" y="290606"/>
            <a:chExt cx="413657" cy="1339226"/>
          </a:xfrm>
        </p:grpSpPr>
        <p:cxnSp>
          <p:nvCxnSpPr>
            <p:cNvPr id="16" name="Straight Connector 15"/>
            <p:cNvCxnSpPr/>
            <p:nvPr userDrawn="1"/>
          </p:nvCxnSpPr>
          <p:spPr>
            <a:xfrm flipH="1">
              <a:off x="-478971" y="290606"/>
              <a:ext cx="41365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 flipH="1">
              <a:off x="-478971" y="1629832"/>
              <a:ext cx="41365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1" name="Straight Connector 30"/>
          <p:cNvCxnSpPr/>
          <p:nvPr/>
        </p:nvCxnSpPr>
        <p:spPr>
          <a:xfrm rot="5400000" flipH="1">
            <a:off x="8672741" y="-132632"/>
            <a:ext cx="979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/>
        </p:nvCxnSpPr>
        <p:spPr>
          <a:xfrm rot="5400000" flipH="1">
            <a:off x="371703" y="-132633"/>
            <a:ext cx="979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/>
        </p:nvCxnSpPr>
        <p:spPr>
          <a:xfrm rot="5400000" flipH="1">
            <a:off x="5704341" y="-132633"/>
            <a:ext cx="979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/>
        </p:nvCxnSpPr>
        <p:spPr>
          <a:xfrm rot="5400000" flipH="1">
            <a:off x="5530173" y="-132634"/>
            <a:ext cx="979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/>
          <p:cNvCxnSpPr/>
          <p:nvPr/>
        </p:nvCxnSpPr>
        <p:spPr>
          <a:xfrm rot="5400000" flipH="1">
            <a:off x="4608966" y="-132634"/>
            <a:ext cx="979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/>
          <p:cNvCxnSpPr/>
          <p:nvPr/>
        </p:nvCxnSpPr>
        <p:spPr>
          <a:xfrm rot="5400000" flipH="1">
            <a:off x="4434797" y="-132635"/>
            <a:ext cx="979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/>
          <p:cNvCxnSpPr/>
          <p:nvPr/>
        </p:nvCxnSpPr>
        <p:spPr>
          <a:xfrm rot="5400000" flipH="1">
            <a:off x="3519714" y="-132635"/>
            <a:ext cx="979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/>
          <p:cNvCxnSpPr/>
          <p:nvPr/>
        </p:nvCxnSpPr>
        <p:spPr>
          <a:xfrm rot="5400000" flipH="1">
            <a:off x="3345546" y="-132635"/>
            <a:ext cx="979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Page#"/>
          <p:cNvSpPr txBox="1">
            <a:spLocks noChangeArrowheads="1"/>
          </p:cNvSpPr>
          <p:nvPr/>
        </p:nvSpPr>
        <p:spPr bwMode="auto">
          <a:xfrm>
            <a:off x="64431" y="4965599"/>
            <a:ext cx="381042" cy="91800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lIns="0" tIns="0" rIns="0" bIns="0" anchor="b" anchorCtr="0"/>
          <a:lstStyle/>
          <a:p>
            <a:pPr algn="r" fontAlgn="base">
              <a:spcBef>
                <a:spcPct val="20000"/>
              </a:spcBef>
              <a:spcAft>
                <a:spcPct val="0"/>
              </a:spcAft>
              <a:buClr>
                <a:srgbClr val="808080"/>
              </a:buClr>
            </a:pPr>
            <a:r>
              <a:rPr lang="en-GB" sz="900" dirty="0">
                <a:solidFill>
                  <a:schemeClr val="bg1"/>
                </a:solidFill>
                <a:ea typeface="SimHei"/>
                <a:cs typeface="Arial" charset="0"/>
              </a:rPr>
              <a:t>|</a:t>
            </a:r>
          </a:p>
        </p:txBody>
      </p:sp>
      <p:grpSp>
        <p:nvGrpSpPr>
          <p:cNvPr id="25" name="Group 24"/>
          <p:cNvGrpSpPr/>
          <p:nvPr/>
        </p:nvGrpSpPr>
        <p:grpSpPr>
          <a:xfrm>
            <a:off x="9229952" y="217949"/>
            <a:ext cx="130629" cy="1004427"/>
            <a:chOff x="-478971" y="290597"/>
            <a:chExt cx="413657" cy="1339236"/>
          </a:xfrm>
        </p:grpSpPr>
        <p:cxnSp>
          <p:nvCxnSpPr>
            <p:cNvPr id="40" name="Straight Connector 39"/>
            <p:cNvCxnSpPr/>
            <p:nvPr userDrawn="1"/>
          </p:nvCxnSpPr>
          <p:spPr>
            <a:xfrm flipH="1">
              <a:off x="-478971" y="290597"/>
              <a:ext cx="41365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 flipH="1">
              <a:off x="-478971" y="1629833"/>
              <a:ext cx="41365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6" name="bmkFldAdditionalInfo"/>
          <p:cNvSpPr txBox="1">
            <a:spLocks noChangeArrowheads="1"/>
          </p:cNvSpPr>
          <p:nvPr/>
        </p:nvSpPr>
        <p:spPr bwMode="auto">
          <a:xfrm>
            <a:off x="509904" y="4965599"/>
            <a:ext cx="5598394" cy="91679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lIns="0" tIns="0" rIns="0" bIns="0" anchor="b" anchorCtr="0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808080"/>
              </a:buClr>
              <a:buSzTx/>
              <a:buFontTx/>
              <a:buNone/>
              <a:tabLst/>
              <a:defRPr/>
            </a:pPr>
            <a:r>
              <a:rPr kumimoji="0" lang="sr-Latn-BA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SimHei"/>
                <a:cs typeface="Arial" charset="0"/>
              </a:rPr>
              <a:t>TOPS 2023 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SimHei"/>
              <a:cs typeface="Arial" charset="0"/>
            </a:endParaRPr>
          </a:p>
        </p:txBody>
      </p:sp>
      <p:pic>
        <p:nvPicPr>
          <p:cNvPr id="28" name="Picture 4"/>
          <p:cNvPicPr>
            <a:picLocks noChangeAspect="1"/>
          </p:cNvPicPr>
          <p:nvPr userDrawn="1"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2038" y="4796028"/>
            <a:ext cx="1981962" cy="347472"/>
          </a:xfrm>
          <a:prstGeom prst="rect">
            <a:avLst/>
          </a:prstGeom>
        </p:spPr>
      </p:pic>
      <p:sp>
        <p:nvSpPr>
          <p:cNvPr id="4" name="MSIPCMContentMarking" descr="{&quot;HashCode&quot;:1249950703,&quot;Placement&quot;:&quot;Footer&quot;,&quot;Top&quot;:384.343,&quot;Left&quot;:305.299774,&quot;SlideWidth&quot;:720,&quot;SlideHeight&quot;:405}">
            <a:extLst>
              <a:ext uri="{FF2B5EF4-FFF2-40B4-BE49-F238E27FC236}">
                <a16:creationId xmlns:a16="http://schemas.microsoft.com/office/drawing/2014/main" id="{A4B6C2D1-20F7-44FC-ACF8-B7AE3ABA0595}"/>
              </a:ext>
            </a:extLst>
          </p:cNvPr>
          <p:cNvSpPr txBox="1"/>
          <p:nvPr userDrawn="1"/>
        </p:nvSpPr>
        <p:spPr>
          <a:xfrm>
            <a:off x="3877307" y="4881156"/>
            <a:ext cx="1389387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sr-Latn-BA" sz="1000">
                <a:solidFill>
                  <a:srgbClr val="000000"/>
                </a:solidFill>
                <a:latin typeface="Calibri" panose="020F0502020204030204" pitchFamily="34" charset="0"/>
              </a:rPr>
              <a:t>Classified as Business</a:t>
            </a:r>
            <a:endParaRPr lang="sr-Latn-BA" sz="1000" dirty="0" err="1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569769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5" r:id="rId1"/>
    <p:sldLayoutId id="2147483826" r:id="rId2"/>
    <p:sldLayoutId id="2147483827" r:id="rId3"/>
    <p:sldLayoutId id="2147483828" r:id="rId4"/>
    <p:sldLayoutId id="2147483829" r:id="rId5"/>
    <p:sldLayoutId id="2147483830" r:id="rId6"/>
    <p:sldLayoutId id="2147483831" r:id="rId7"/>
    <p:sldLayoutId id="2147483832" r:id="rId8"/>
    <p:sldLayoutId id="2147483833" r:id="rId9"/>
    <p:sldLayoutId id="2147483834" r:id="rId10"/>
    <p:sldLayoutId id="2147483835" r:id="rId11"/>
    <p:sldLayoutId id="2147483836" r:id="rId12"/>
    <p:sldLayoutId id="2147483837" r:id="rId13"/>
    <p:sldLayoutId id="2147483838" r:id="rId14"/>
    <p:sldLayoutId id="2147483839" r:id="rId15"/>
    <p:sldLayoutId id="2147483840" r:id="rId16"/>
    <p:sldLayoutId id="2147483841" r:id="rId17"/>
    <p:sldLayoutId id="2147483842" r:id="rId18"/>
    <p:sldLayoutId id="2147483843" r:id="rId19"/>
    <p:sldLayoutId id="2147483844" r:id="rId20"/>
    <p:sldLayoutId id="2147483846" r:id="rId21"/>
    <p:sldLayoutId id="2147483847" r:id="rId22"/>
    <p:sldLayoutId id="2147483848" r:id="rId23"/>
    <p:sldLayoutId id="2147483849" r:id="rId24"/>
  </p:sldLayoutIdLst>
  <p:hf sldNum="0" hdr="0" dt="0"/>
  <p:txStyles>
    <p:titleStyle>
      <a:lvl1pPr algn="l" defTabSz="914378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9996" indent="-179996" algn="l" defTabSz="914378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80000"/>
        <a:buFont typeface="Verdana" panose="020B060403050404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9996" indent="-179996" algn="l" defTabSz="914378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80000"/>
        <a:buFont typeface="Verdana" panose="020B060403050404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79996" indent="-179996" algn="l" defTabSz="914378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80000"/>
        <a:buFont typeface="Verdana" panose="020B060403050404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79996" indent="-179996" algn="l" defTabSz="914378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80000"/>
        <a:buFont typeface="Verdana" panose="020B060403050404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79996" indent="-179996" algn="l" defTabSz="914378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80000"/>
        <a:buFont typeface="Verdana" panose="020B060403050404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10155" y="289237"/>
            <a:ext cx="8311572" cy="3265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0155" y="979201"/>
            <a:ext cx="8311572" cy="329366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grpSp>
        <p:nvGrpSpPr>
          <p:cNvPr id="24" name="Group 23"/>
          <p:cNvGrpSpPr/>
          <p:nvPr userDrawn="1"/>
        </p:nvGrpSpPr>
        <p:grpSpPr>
          <a:xfrm>
            <a:off x="-195943" y="217955"/>
            <a:ext cx="130629" cy="1004420"/>
            <a:chOff x="-478971" y="290606"/>
            <a:chExt cx="413657" cy="1339226"/>
          </a:xfrm>
        </p:grpSpPr>
        <p:cxnSp>
          <p:nvCxnSpPr>
            <p:cNvPr id="16" name="Straight Connector 15"/>
            <p:cNvCxnSpPr/>
            <p:nvPr userDrawn="1"/>
          </p:nvCxnSpPr>
          <p:spPr>
            <a:xfrm flipH="1">
              <a:off x="-478971" y="290606"/>
              <a:ext cx="41365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 flipH="1">
              <a:off x="-478971" y="1629832"/>
              <a:ext cx="41365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1" name="Straight Connector 30"/>
          <p:cNvCxnSpPr/>
          <p:nvPr userDrawn="1"/>
        </p:nvCxnSpPr>
        <p:spPr>
          <a:xfrm rot="5400000" flipH="1">
            <a:off x="8672741" y="-132632"/>
            <a:ext cx="979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 userDrawn="1"/>
        </p:nvCxnSpPr>
        <p:spPr>
          <a:xfrm rot="5400000" flipH="1">
            <a:off x="371702" y="-132633"/>
            <a:ext cx="979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 userDrawn="1"/>
        </p:nvCxnSpPr>
        <p:spPr>
          <a:xfrm rot="5400000" flipH="1">
            <a:off x="5704341" y="-132633"/>
            <a:ext cx="979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 userDrawn="1"/>
        </p:nvCxnSpPr>
        <p:spPr>
          <a:xfrm rot="5400000" flipH="1">
            <a:off x="5530173" y="-132634"/>
            <a:ext cx="979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/>
          <p:cNvCxnSpPr/>
          <p:nvPr userDrawn="1"/>
        </p:nvCxnSpPr>
        <p:spPr>
          <a:xfrm rot="5400000" flipH="1">
            <a:off x="4608965" y="-132634"/>
            <a:ext cx="979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/>
          <p:cNvCxnSpPr/>
          <p:nvPr userDrawn="1"/>
        </p:nvCxnSpPr>
        <p:spPr>
          <a:xfrm rot="5400000" flipH="1">
            <a:off x="4434797" y="-132635"/>
            <a:ext cx="979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/>
          <p:cNvCxnSpPr/>
          <p:nvPr userDrawn="1"/>
        </p:nvCxnSpPr>
        <p:spPr>
          <a:xfrm rot="5400000" flipH="1">
            <a:off x="3519714" y="-132635"/>
            <a:ext cx="979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/>
          <p:cNvCxnSpPr/>
          <p:nvPr userDrawn="1"/>
        </p:nvCxnSpPr>
        <p:spPr>
          <a:xfrm rot="5400000" flipH="1">
            <a:off x="3345545" y="-132635"/>
            <a:ext cx="979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5" name="Group 24"/>
          <p:cNvGrpSpPr/>
          <p:nvPr userDrawn="1"/>
        </p:nvGrpSpPr>
        <p:grpSpPr>
          <a:xfrm>
            <a:off x="9229952" y="217949"/>
            <a:ext cx="130629" cy="1004427"/>
            <a:chOff x="-478971" y="290597"/>
            <a:chExt cx="413657" cy="1339236"/>
          </a:xfrm>
        </p:grpSpPr>
        <p:cxnSp>
          <p:nvCxnSpPr>
            <p:cNvPr id="40" name="Straight Connector 39"/>
            <p:cNvCxnSpPr/>
            <p:nvPr userDrawn="1"/>
          </p:nvCxnSpPr>
          <p:spPr>
            <a:xfrm flipH="1">
              <a:off x="-478971" y="290597"/>
              <a:ext cx="41365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 flipH="1">
              <a:off x="-478971" y="1629833"/>
              <a:ext cx="41365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1" name="Skupina 20"/>
          <p:cNvGrpSpPr/>
          <p:nvPr userDrawn="1"/>
        </p:nvGrpSpPr>
        <p:grpSpPr>
          <a:xfrm>
            <a:off x="0" y="4796028"/>
            <a:ext cx="9144000" cy="347472"/>
            <a:chOff x="0" y="4796028"/>
            <a:chExt cx="9144000" cy="347472"/>
          </a:xfrm>
        </p:grpSpPr>
        <p:pic>
          <p:nvPicPr>
            <p:cNvPr id="22" name="Picture 3"/>
            <p:cNvPicPr>
              <a:picLocks noChangeAspect="1"/>
            </p:cNvPicPr>
            <p:nvPr userDrawn="1"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0" y="4796028"/>
              <a:ext cx="9144000" cy="347472"/>
            </a:xfrm>
            <a:prstGeom prst="rect">
              <a:avLst/>
            </a:prstGeom>
          </p:spPr>
        </p:pic>
        <p:pic>
          <p:nvPicPr>
            <p:cNvPr id="23" name="Picture 4">
              <a:hlinkClick r:id="rId15" action="ppaction://hlinksldjump"/>
            </p:cNvPr>
            <p:cNvPicPr>
              <a:picLocks noChangeAspect="1"/>
            </p:cNvPicPr>
            <p:nvPr userDrawn="1"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162037" y="4796028"/>
              <a:ext cx="1981963" cy="347472"/>
            </a:xfrm>
            <a:prstGeom prst="rect">
              <a:avLst/>
            </a:prstGeom>
          </p:spPr>
        </p:pic>
        <p:sp>
          <p:nvSpPr>
            <p:cNvPr id="29" name="bmkFldAdditionalInfo"/>
            <p:cNvSpPr txBox="1">
              <a:spLocks noChangeArrowheads="1"/>
            </p:cNvSpPr>
            <p:nvPr/>
          </p:nvSpPr>
          <p:spPr bwMode="auto">
            <a:xfrm>
              <a:off x="485775" y="4965142"/>
              <a:ext cx="3998007" cy="91679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  <a:effectLst/>
          </p:spPr>
          <p:txBody>
            <a:bodyPr lIns="0" tIns="0" rIns="0" bIns="0" anchor="b" anchorCtr="0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buClr>
                  <a:srgbClr val="808080"/>
                </a:buClr>
              </a:pPr>
              <a:endParaRPr lang="en-US" sz="600" b="0" noProof="0" dirty="0">
                <a:solidFill>
                  <a:schemeClr val="bg1"/>
                </a:solidFill>
                <a:ea typeface="SimHei"/>
                <a:cs typeface="Arial" charset="0"/>
              </a:endParaRPr>
            </a:p>
          </p:txBody>
        </p:sp>
      </p:grpSp>
      <p:sp>
        <p:nvSpPr>
          <p:cNvPr id="30" name="Page #"/>
          <p:cNvSpPr txBox="1">
            <a:spLocks noChangeArrowheads="1"/>
          </p:cNvSpPr>
          <p:nvPr userDrawn="1"/>
        </p:nvSpPr>
        <p:spPr bwMode="auto">
          <a:xfrm>
            <a:off x="64431" y="4965599"/>
            <a:ext cx="381043" cy="91800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lIns="0" tIns="0" rIns="0" bIns="0" anchor="b" anchorCtr="0"/>
          <a:lstStyle/>
          <a:p>
            <a:pPr algn="r">
              <a:spcBef>
                <a:spcPct val="20000"/>
              </a:spcBef>
              <a:buClr>
                <a:srgbClr val="808080"/>
              </a:buClr>
              <a:buSzTx/>
              <a:buFontTx/>
              <a:buNone/>
            </a:pPr>
            <a:r>
              <a:rPr lang="en-GB" sz="675" dirty="0">
                <a:solidFill>
                  <a:prstClr val="white"/>
                </a:solidFill>
                <a:latin typeface="Verdana"/>
                <a:ea typeface="SimHei"/>
              </a:rPr>
              <a:t>|</a:t>
            </a:r>
          </a:p>
        </p:txBody>
      </p:sp>
      <p:sp>
        <p:nvSpPr>
          <p:cNvPr id="4" name="MSIPCMContentMarking" descr="{&quot;HashCode&quot;:1249950703,&quot;Placement&quot;:&quot;Footer&quot;,&quot;Top&quot;:384.343,&quot;Left&quot;:305.299774,&quot;SlideWidth&quot;:720,&quot;SlideHeight&quot;:405}">
            <a:extLst>
              <a:ext uri="{FF2B5EF4-FFF2-40B4-BE49-F238E27FC236}">
                <a16:creationId xmlns:a16="http://schemas.microsoft.com/office/drawing/2014/main" id="{D212465B-0B88-4973-A9C9-C93405F43BF8}"/>
              </a:ext>
            </a:extLst>
          </p:cNvPr>
          <p:cNvSpPr txBox="1"/>
          <p:nvPr userDrawn="1"/>
        </p:nvSpPr>
        <p:spPr>
          <a:xfrm>
            <a:off x="3877307" y="4881156"/>
            <a:ext cx="1389387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sl-SI" sz="1000">
                <a:solidFill>
                  <a:srgbClr val="000000"/>
                </a:solidFill>
                <a:latin typeface="Calibri" panose="020F0502020204030204" pitchFamily="34" charset="0"/>
              </a:rPr>
              <a:t>Classified as Business</a:t>
            </a:r>
            <a:endParaRPr lang="sl-SI" sz="1000" err="1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3502216-89DC-D226-715D-54384BC109DC}"/>
              </a:ext>
            </a:extLst>
          </p:cNvPr>
          <p:cNvSpPr txBox="1"/>
          <p:nvPr userDrawn="1"/>
        </p:nvSpPr>
        <p:spPr>
          <a:xfrm>
            <a:off x="410155" y="4889584"/>
            <a:ext cx="4779818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808080"/>
              </a:buClr>
              <a:buSzTx/>
              <a:buFontTx/>
              <a:buNone/>
              <a:tabLst/>
              <a:defRPr/>
            </a:pPr>
            <a:r>
              <a:rPr kumimoji="0" lang="sr-Latn-BA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SimHei"/>
                <a:cs typeface="Arial" charset="0"/>
              </a:rPr>
              <a:t>TOPS 2023 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SimHei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301015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9" r:id="rId1"/>
    <p:sldLayoutId id="2147483860" r:id="rId2"/>
    <p:sldLayoutId id="2147483861" r:id="rId3"/>
    <p:sldLayoutId id="2147483862" r:id="rId4"/>
    <p:sldLayoutId id="2147483863" r:id="rId5"/>
    <p:sldLayoutId id="2147483864" r:id="rId6"/>
    <p:sldLayoutId id="2147483865" r:id="rId7"/>
    <p:sldLayoutId id="2147483866" r:id="rId8"/>
    <p:sldLayoutId id="2147483867" r:id="rId9"/>
    <p:sldLayoutId id="2147483868" r:id="rId10"/>
    <p:sldLayoutId id="2147483869" r:id="rId11"/>
    <p:sldLayoutId id="2147483870" r:id="rId12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1400" b="1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SzPct val="140000"/>
        <a:buFont typeface="Arial" panose="020B0604020202020204" pitchFamily="34" charset="0"/>
        <a:buNone/>
        <a:defRPr sz="1200" b="1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1pPr>
      <a:lvl2pPr marL="474663" indent="-28575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SzPct val="140000"/>
        <a:buFont typeface="Arial" panose="020B0604020202020204" pitchFamily="34" charset="0"/>
        <a:buChar char="•"/>
        <a:defRPr sz="12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2pPr>
      <a:lvl3pPr marL="646112" indent="-28575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SzPct val="140000"/>
        <a:buFont typeface="Arial" panose="020B0604020202020204" pitchFamily="34" charset="0"/>
        <a:buChar char="•"/>
        <a:tabLst/>
        <a:defRPr sz="12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3pPr>
      <a:lvl4pPr marL="828675" indent="-28575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SzPct val="140000"/>
        <a:buFont typeface="Arial" panose="020B0604020202020204" pitchFamily="34" charset="0"/>
        <a:buChar char="•"/>
        <a:defRPr sz="12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4pPr>
      <a:lvl5pPr marL="1004888" indent="-28575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SzPct val="140000"/>
        <a:buFont typeface="Arial" panose="020B0604020202020204" pitchFamily="34" charset="0"/>
        <a:buChar char="•"/>
        <a:defRPr sz="12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3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796028"/>
            <a:ext cx="9144000" cy="347472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19099" y="221456"/>
            <a:ext cx="8308975" cy="86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9103" y="1222375"/>
            <a:ext cx="8308975" cy="329366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grpSp>
        <p:nvGrpSpPr>
          <p:cNvPr id="24" name="Group 23"/>
          <p:cNvGrpSpPr/>
          <p:nvPr/>
        </p:nvGrpSpPr>
        <p:grpSpPr>
          <a:xfrm>
            <a:off x="-195943" y="217957"/>
            <a:ext cx="130629" cy="1004420"/>
            <a:chOff x="-478971" y="290606"/>
            <a:chExt cx="413657" cy="1339226"/>
          </a:xfrm>
        </p:grpSpPr>
        <p:cxnSp>
          <p:nvCxnSpPr>
            <p:cNvPr id="16" name="Straight Connector 15"/>
            <p:cNvCxnSpPr/>
            <p:nvPr/>
          </p:nvCxnSpPr>
          <p:spPr>
            <a:xfrm flipH="1">
              <a:off x="-478971" y="290606"/>
              <a:ext cx="41365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/>
          </p:nvCxnSpPr>
          <p:spPr>
            <a:xfrm flipH="1">
              <a:off x="-478971" y="1629832"/>
              <a:ext cx="41365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1" name="Straight Connector 30"/>
          <p:cNvCxnSpPr/>
          <p:nvPr/>
        </p:nvCxnSpPr>
        <p:spPr>
          <a:xfrm rot="5400000" flipH="1">
            <a:off x="8672742" y="-132632"/>
            <a:ext cx="979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/>
        </p:nvCxnSpPr>
        <p:spPr>
          <a:xfrm rot="5400000" flipH="1">
            <a:off x="371703" y="-132633"/>
            <a:ext cx="979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/>
        </p:nvCxnSpPr>
        <p:spPr>
          <a:xfrm rot="5400000" flipH="1">
            <a:off x="5704341" y="-132633"/>
            <a:ext cx="979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/>
        </p:nvCxnSpPr>
        <p:spPr>
          <a:xfrm rot="5400000" flipH="1">
            <a:off x="5530173" y="-132634"/>
            <a:ext cx="979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/>
          <p:cNvCxnSpPr/>
          <p:nvPr/>
        </p:nvCxnSpPr>
        <p:spPr>
          <a:xfrm rot="5400000" flipH="1">
            <a:off x="4608966" y="-132634"/>
            <a:ext cx="979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/>
          <p:cNvCxnSpPr/>
          <p:nvPr/>
        </p:nvCxnSpPr>
        <p:spPr>
          <a:xfrm rot="5400000" flipH="1">
            <a:off x="4434798" y="-132635"/>
            <a:ext cx="979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/>
          <p:cNvCxnSpPr/>
          <p:nvPr/>
        </p:nvCxnSpPr>
        <p:spPr>
          <a:xfrm rot="5400000" flipH="1">
            <a:off x="3519714" y="-132635"/>
            <a:ext cx="979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/>
          <p:cNvCxnSpPr/>
          <p:nvPr/>
        </p:nvCxnSpPr>
        <p:spPr>
          <a:xfrm rot="5400000" flipH="1">
            <a:off x="3345546" y="-132635"/>
            <a:ext cx="979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Page#"/>
          <p:cNvSpPr txBox="1">
            <a:spLocks noChangeArrowheads="1"/>
          </p:cNvSpPr>
          <p:nvPr/>
        </p:nvSpPr>
        <p:spPr bwMode="auto">
          <a:xfrm>
            <a:off x="64431" y="4965599"/>
            <a:ext cx="381042" cy="91800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lIns="0" tIns="0" rIns="0" bIns="0" anchor="b" anchorCtr="0"/>
          <a:lstStyle/>
          <a:p>
            <a:pPr algn="r" fontAlgn="base">
              <a:spcBef>
                <a:spcPct val="20000"/>
              </a:spcBef>
              <a:spcAft>
                <a:spcPct val="0"/>
              </a:spcAft>
              <a:buClr>
                <a:srgbClr val="808080"/>
              </a:buClr>
            </a:pPr>
            <a:r>
              <a:rPr lang="en-GB" sz="900" dirty="0">
                <a:solidFill>
                  <a:schemeClr val="bg1"/>
                </a:solidFill>
                <a:ea typeface="SimHei"/>
                <a:cs typeface="Arial" charset="0"/>
              </a:rPr>
              <a:t>|</a:t>
            </a:r>
          </a:p>
        </p:txBody>
      </p:sp>
      <p:grpSp>
        <p:nvGrpSpPr>
          <p:cNvPr id="25" name="Group 24"/>
          <p:cNvGrpSpPr/>
          <p:nvPr/>
        </p:nvGrpSpPr>
        <p:grpSpPr>
          <a:xfrm>
            <a:off x="9229952" y="217949"/>
            <a:ext cx="130629" cy="1004427"/>
            <a:chOff x="-478971" y="290597"/>
            <a:chExt cx="413657" cy="1339236"/>
          </a:xfrm>
        </p:grpSpPr>
        <p:cxnSp>
          <p:nvCxnSpPr>
            <p:cNvPr id="40" name="Straight Connector 39"/>
            <p:cNvCxnSpPr/>
            <p:nvPr/>
          </p:nvCxnSpPr>
          <p:spPr>
            <a:xfrm flipH="1">
              <a:off x="-478971" y="290597"/>
              <a:ext cx="41365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/>
          </p:nvCxnSpPr>
          <p:spPr>
            <a:xfrm flipH="1">
              <a:off x="-478971" y="1629833"/>
              <a:ext cx="41365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6" name="bmkFldAdditionalInfo"/>
          <p:cNvSpPr txBox="1">
            <a:spLocks noChangeArrowheads="1"/>
          </p:cNvSpPr>
          <p:nvPr/>
        </p:nvSpPr>
        <p:spPr bwMode="auto">
          <a:xfrm>
            <a:off x="485774" y="4902983"/>
            <a:ext cx="3998007" cy="153841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lIns="0" tIns="0" rIns="0" bIns="0" anchor="b" anchorCtr="0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808080"/>
              </a:buClr>
              <a:buSzTx/>
              <a:buFontTx/>
              <a:buNone/>
              <a:tabLst/>
              <a:defRPr/>
            </a:pPr>
            <a:r>
              <a:rPr kumimoji="0" lang="sr-Latn-BA" sz="10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SimHei"/>
                <a:cs typeface="Arial" charset="0"/>
              </a:rPr>
              <a:t>TOPS 2023 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SimHei"/>
              <a:cs typeface="Arial" charset="0"/>
            </a:endParaRPr>
          </a:p>
        </p:txBody>
      </p:sp>
      <p:pic>
        <p:nvPicPr>
          <p:cNvPr id="28" name="Picture 4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62038" y="4796028"/>
            <a:ext cx="1981962" cy="347472"/>
          </a:xfrm>
          <a:prstGeom prst="rect">
            <a:avLst/>
          </a:prstGeom>
        </p:spPr>
      </p:pic>
      <p:sp>
        <p:nvSpPr>
          <p:cNvPr id="5" name="PoljeZBesedilom 4">
            <a:extLst>
              <a:ext uri="{FF2B5EF4-FFF2-40B4-BE49-F238E27FC236}">
                <a16:creationId xmlns:a16="http://schemas.microsoft.com/office/drawing/2014/main" id="{CB64B818-2813-48DF-B0E9-9D18594CC146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4162997" y="5029201"/>
            <a:ext cx="839391" cy="115416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sl-SI" sz="75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lassified as Business</a:t>
            </a:r>
          </a:p>
        </p:txBody>
      </p:sp>
    </p:spTree>
    <p:extLst>
      <p:ext uri="{BB962C8B-B14F-4D97-AF65-F5344CB8AC3E}">
        <p14:creationId xmlns:p14="http://schemas.microsoft.com/office/powerpoint/2010/main" val="20331063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2" r:id="rId1"/>
    <p:sldLayoutId id="2147483873" r:id="rId2"/>
    <p:sldLayoutId id="2147483875" r:id="rId3"/>
    <p:sldLayoutId id="2147483876" r:id="rId4"/>
    <p:sldLayoutId id="2147483877" r:id="rId5"/>
    <p:sldLayoutId id="2147483879" r:id="rId6"/>
    <p:sldLayoutId id="2147483880" r:id="rId7"/>
    <p:sldLayoutId id="2147483881" r:id="rId8"/>
    <p:sldLayoutId id="2147483883" r:id="rId9"/>
    <p:sldLayoutId id="2147483885" r:id="rId10"/>
    <p:sldLayoutId id="2147483886" r:id="rId11"/>
    <p:sldLayoutId id="2147483887" r:id="rId12"/>
    <p:sldLayoutId id="2147483942" r:id="rId13"/>
    <p:sldLayoutId id="2147483974" r:id="rId14"/>
  </p:sldLayoutIdLst>
  <p:txStyles>
    <p:titleStyle>
      <a:lvl1pPr algn="l" defTabSz="1219109" rtl="0" eaLnBrk="1" latinLnBrk="0" hangingPunct="1">
        <a:spcBef>
          <a:spcPct val="0"/>
        </a:spcBef>
        <a:buNone/>
        <a:defRPr sz="3733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43399" indent="-243399" algn="l" defTabSz="1219109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Clr>
          <a:schemeClr val="tx1">
            <a:lumMod val="50000"/>
            <a:lumOff val="50000"/>
          </a:schemeClr>
        </a:buClr>
        <a:buFont typeface="Verdana" panose="020B060403050404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480448" indent="-228582" algn="l" defTabSz="1219109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Clr>
          <a:schemeClr val="tx1">
            <a:lumMod val="50000"/>
            <a:lumOff val="50000"/>
          </a:schemeClr>
        </a:buClr>
        <a:buFont typeface="Verdana" panose="020B060403050404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723846" indent="-243399" algn="l" defTabSz="1219109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Clr>
          <a:schemeClr val="tx1">
            <a:lumMod val="50000"/>
            <a:lumOff val="50000"/>
          </a:schemeClr>
        </a:buClr>
        <a:buFont typeface="Verdana" panose="020B0604030504040204" pitchFamily="34" charset="0"/>
        <a:buChar char="•"/>
        <a:tabLst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952428" indent="-228582" algn="l" defTabSz="1219109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Clr>
          <a:schemeClr val="tx1">
            <a:lumMod val="50000"/>
            <a:lumOff val="50000"/>
          </a:schemeClr>
        </a:buClr>
        <a:buFont typeface="Verdana" panose="020B060403050404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1204294" indent="-245515" algn="l" defTabSz="1219109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Clr>
          <a:schemeClr val="tx1">
            <a:lumMod val="50000"/>
            <a:lumOff val="50000"/>
          </a:schemeClr>
        </a:buClr>
        <a:buFont typeface="Verdana" panose="020B060403050404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352548" indent="-304777" algn="l" defTabSz="1219109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103" indent="-304777" algn="l" defTabSz="1219109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658" indent="-304777" algn="l" defTabSz="1219109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212" indent="-304777" algn="l" defTabSz="1219109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0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55" algn="l" defTabSz="121910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09" algn="l" defTabSz="121910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664" algn="l" defTabSz="121910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17" algn="l" defTabSz="121910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772" algn="l" defTabSz="121910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326" algn="l" defTabSz="121910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879" algn="l" defTabSz="121910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434" algn="l" defTabSz="121910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3"/>
          <p:cNvPicPr>
            <a:picLocks noChangeAspect="1"/>
          </p:cNvPicPr>
          <p:nvPr userDrawn="1"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796028"/>
            <a:ext cx="9144000" cy="347472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19099" y="221456"/>
            <a:ext cx="8308975" cy="86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9100" y="1222375"/>
            <a:ext cx="8308975" cy="329366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2" name="Page#"/>
          <p:cNvSpPr txBox="1">
            <a:spLocks noChangeArrowheads="1"/>
          </p:cNvSpPr>
          <p:nvPr/>
        </p:nvSpPr>
        <p:spPr bwMode="auto">
          <a:xfrm>
            <a:off x="64431" y="4965599"/>
            <a:ext cx="381042" cy="91800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lIns="0" tIns="0" rIns="0" bIns="0" anchor="b" anchorCtr="0"/>
          <a:lstStyle/>
          <a:p>
            <a:pPr algn="r" fontAlgn="base">
              <a:spcBef>
                <a:spcPct val="20000"/>
              </a:spcBef>
              <a:spcAft>
                <a:spcPct val="0"/>
              </a:spcAft>
              <a:buClr>
                <a:srgbClr val="808080"/>
              </a:buClr>
            </a:pPr>
            <a:r>
              <a:rPr lang="en-GB" sz="900" dirty="0">
                <a:solidFill>
                  <a:schemeClr val="bg1"/>
                </a:solidFill>
                <a:ea typeface="SimHei"/>
                <a:cs typeface="Arial" charset="0"/>
              </a:rPr>
              <a:t>|</a:t>
            </a:r>
          </a:p>
        </p:txBody>
      </p:sp>
      <p:sp>
        <p:nvSpPr>
          <p:cNvPr id="26" name="bmkFldAdditionalInfo"/>
          <p:cNvSpPr txBox="1">
            <a:spLocks noChangeArrowheads="1"/>
          </p:cNvSpPr>
          <p:nvPr/>
        </p:nvSpPr>
        <p:spPr bwMode="auto">
          <a:xfrm>
            <a:off x="485774" y="4965142"/>
            <a:ext cx="3998007" cy="91679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lIns="0" tIns="0" rIns="0" bIns="0" anchor="b" anchorCtr="0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808080"/>
              </a:buClr>
              <a:buSzTx/>
              <a:buFontTx/>
              <a:buNone/>
              <a:tabLst/>
              <a:defRPr/>
            </a:pPr>
            <a:r>
              <a:rPr kumimoji="0" lang="sr-Latn-BA" sz="10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SimHei"/>
                <a:cs typeface="Arial" charset="0"/>
              </a:rPr>
              <a:t>TOPS 2023 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SimHei"/>
              <a:cs typeface="Arial" charset="0"/>
            </a:endParaRPr>
          </a:p>
        </p:txBody>
      </p:sp>
      <p:pic>
        <p:nvPicPr>
          <p:cNvPr id="28" name="Picture 4"/>
          <p:cNvPicPr>
            <a:picLocks noChangeAspect="1"/>
          </p:cNvPicPr>
          <p:nvPr userDrawn="1"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2038" y="4796028"/>
            <a:ext cx="1981962" cy="347472"/>
          </a:xfrm>
          <a:prstGeom prst="rect">
            <a:avLst/>
          </a:prstGeom>
        </p:spPr>
      </p:pic>
      <p:sp>
        <p:nvSpPr>
          <p:cNvPr id="4" name="MSIPCMContentMarking" descr="{&quot;HashCode&quot;:671526328,&quot;Placement&quot;:&quot;Footer&quot;,&quot;Top&quot;:384.343,&quot;Left&quot;:305.299774,&quot;SlideWidth&quot;:720,&quot;SlideHeight&quot;:405}">
            <a:extLst>
              <a:ext uri="{FF2B5EF4-FFF2-40B4-BE49-F238E27FC236}">
                <a16:creationId xmlns:a16="http://schemas.microsoft.com/office/drawing/2014/main" id="{B53FD9A5-5A85-4006-B9B9-4AD4793A4421}"/>
              </a:ext>
            </a:extLst>
          </p:cNvPr>
          <p:cNvSpPr txBox="1"/>
          <p:nvPr userDrawn="1"/>
        </p:nvSpPr>
        <p:spPr>
          <a:xfrm>
            <a:off x="3877307" y="4881156"/>
            <a:ext cx="1389387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 noProof="0">
                <a:solidFill>
                  <a:srgbClr val="000000"/>
                </a:solidFill>
                <a:latin typeface="Calibri" panose="020F0502020204030204" pitchFamily="34" charset="0"/>
              </a:rPr>
              <a:t>Classified as Business</a:t>
            </a:r>
          </a:p>
        </p:txBody>
      </p:sp>
    </p:spTree>
    <p:extLst>
      <p:ext uri="{BB962C8B-B14F-4D97-AF65-F5344CB8AC3E}">
        <p14:creationId xmlns:p14="http://schemas.microsoft.com/office/powerpoint/2010/main" val="20014001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5" r:id="rId1"/>
    <p:sldLayoutId id="2147483906" r:id="rId2"/>
    <p:sldLayoutId id="2147483907" r:id="rId3"/>
    <p:sldLayoutId id="2147483908" r:id="rId4"/>
    <p:sldLayoutId id="2147483909" r:id="rId5"/>
    <p:sldLayoutId id="2147483910" r:id="rId6"/>
    <p:sldLayoutId id="2147483911" r:id="rId7"/>
    <p:sldLayoutId id="2147483912" r:id="rId8"/>
    <p:sldLayoutId id="2147483913" r:id="rId9"/>
    <p:sldLayoutId id="2147483914" r:id="rId10"/>
    <p:sldLayoutId id="2147483915" r:id="rId11"/>
    <p:sldLayoutId id="2147483917" r:id="rId12"/>
    <p:sldLayoutId id="2147483918" r:id="rId13"/>
    <p:sldLayoutId id="2147483920" r:id="rId14"/>
    <p:sldLayoutId id="2147483921" r:id="rId15"/>
    <p:sldLayoutId id="2147483922" r:id="rId16"/>
    <p:sldLayoutId id="2147483923" r:id="rId17"/>
    <p:sldLayoutId id="2147483924" r:id="rId18"/>
    <p:sldLayoutId id="2147483925" r:id="rId19"/>
    <p:sldLayoutId id="2147483926" r:id="rId20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5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2563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>
            <a:lumMod val="50000"/>
            <a:lumOff val="50000"/>
          </a:schemeClr>
        </a:buClr>
        <a:buFont typeface="Verdana" panose="020B060403050404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>
            <a:lumMod val="50000"/>
            <a:lumOff val="50000"/>
          </a:schemeClr>
        </a:buClr>
        <a:buFont typeface="Verdana" panose="020B060403050404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542925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>
            <a:lumMod val="50000"/>
            <a:lumOff val="50000"/>
          </a:schemeClr>
        </a:buClr>
        <a:buFont typeface="Verdana" panose="020B060403050404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714375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>
            <a:lumMod val="50000"/>
            <a:lumOff val="50000"/>
          </a:schemeClr>
        </a:buClr>
        <a:buFont typeface="Verdana" panose="020B060403050404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903288" indent="-18415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>
            <a:lumMod val="50000"/>
            <a:lumOff val="50000"/>
          </a:schemeClr>
        </a:buClr>
        <a:buFont typeface="Verdana" panose="020B060403050404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10155" y="289237"/>
            <a:ext cx="8311572" cy="3265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0155" y="979201"/>
            <a:ext cx="8311572" cy="329366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grpSp>
        <p:nvGrpSpPr>
          <p:cNvPr id="24" name="Group 23"/>
          <p:cNvGrpSpPr/>
          <p:nvPr userDrawn="1"/>
        </p:nvGrpSpPr>
        <p:grpSpPr>
          <a:xfrm>
            <a:off x="-195943" y="217955"/>
            <a:ext cx="130629" cy="1004420"/>
            <a:chOff x="-478971" y="290606"/>
            <a:chExt cx="413657" cy="1339226"/>
          </a:xfrm>
        </p:grpSpPr>
        <p:cxnSp>
          <p:nvCxnSpPr>
            <p:cNvPr id="16" name="Straight Connector 15"/>
            <p:cNvCxnSpPr/>
            <p:nvPr userDrawn="1"/>
          </p:nvCxnSpPr>
          <p:spPr>
            <a:xfrm flipH="1">
              <a:off x="-478971" y="290606"/>
              <a:ext cx="41365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 flipH="1">
              <a:off x="-478971" y="1629832"/>
              <a:ext cx="41365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1" name="Straight Connector 30"/>
          <p:cNvCxnSpPr/>
          <p:nvPr userDrawn="1"/>
        </p:nvCxnSpPr>
        <p:spPr>
          <a:xfrm rot="5400000" flipH="1">
            <a:off x="8672741" y="-132632"/>
            <a:ext cx="979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 userDrawn="1"/>
        </p:nvCxnSpPr>
        <p:spPr>
          <a:xfrm rot="5400000" flipH="1">
            <a:off x="371702" y="-132633"/>
            <a:ext cx="979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 userDrawn="1"/>
        </p:nvCxnSpPr>
        <p:spPr>
          <a:xfrm rot="5400000" flipH="1">
            <a:off x="5704341" y="-132633"/>
            <a:ext cx="979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 userDrawn="1"/>
        </p:nvCxnSpPr>
        <p:spPr>
          <a:xfrm rot="5400000" flipH="1">
            <a:off x="5530173" y="-132634"/>
            <a:ext cx="979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/>
          <p:cNvCxnSpPr/>
          <p:nvPr userDrawn="1"/>
        </p:nvCxnSpPr>
        <p:spPr>
          <a:xfrm rot="5400000" flipH="1">
            <a:off x="4608965" y="-132634"/>
            <a:ext cx="979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/>
          <p:cNvCxnSpPr/>
          <p:nvPr userDrawn="1"/>
        </p:nvCxnSpPr>
        <p:spPr>
          <a:xfrm rot="5400000" flipH="1">
            <a:off x="4434797" y="-132635"/>
            <a:ext cx="979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/>
          <p:cNvCxnSpPr/>
          <p:nvPr userDrawn="1"/>
        </p:nvCxnSpPr>
        <p:spPr>
          <a:xfrm rot="5400000" flipH="1">
            <a:off x="3519714" y="-132635"/>
            <a:ext cx="979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/>
          <p:cNvCxnSpPr/>
          <p:nvPr userDrawn="1"/>
        </p:nvCxnSpPr>
        <p:spPr>
          <a:xfrm rot="5400000" flipH="1">
            <a:off x="3345545" y="-132635"/>
            <a:ext cx="979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5" name="Group 24"/>
          <p:cNvGrpSpPr/>
          <p:nvPr userDrawn="1"/>
        </p:nvGrpSpPr>
        <p:grpSpPr>
          <a:xfrm>
            <a:off x="9229952" y="217949"/>
            <a:ext cx="130629" cy="1004427"/>
            <a:chOff x="-478971" y="290597"/>
            <a:chExt cx="413657" cy="1339236"/>
          </a:xfrm>
        </p:grpSpPr>
        <p:cxnSp>
          <p:nvCxnSpPr>
            <p:cNvPr id="40" name="Straight Connector 39"/>
            <p:cNvCxnSpPr/>
            <p:nvPr userDrawn="1"/>
          </p:nvCxnSpPr>
          <p:spPr>
            <a:xfrm flipH="1">
              <a:off x="-478971" y="290597"/>
              <a:ext cx="41365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 flipH="1">
              <a:off x="-478971" y="1629833"/>
              <a:ext cx="41365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1" name="Skupina 20"/>
          <p:cNvGrpSpPr/>
          <p:nvPr userDrawn="1"/>
        </p:nvGrpSpPr>
        <p:grpSpPr>
          <a:xfrm>
            <a:off x="0" y="4796028"/>
            <a:ext cx="9144000" cy="347472"/>
            <a:chOff x="0" y="4796028"/>
            <a:chExt cx="9144000" cy="347472"/>
          </a:xfrm>
        </p:grpSpPr>
        <p:pic>
          <p:nvPicPr>
            <p:cNvPr id="22" name="Picture 3"/>
            <p:cNvPicPr>
              <a:picLocks noChangeAspect="1"/>
            </p:cNvPicPr>
            <p:nvPr userDrawn="1"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0" y="4796028"/>
              <a:ext cx="9144000" cy="347472"/>
            </a:xfrm>
            <a:prstGeom prst="rect">
              <a:avLst/>
            </a:prstGeom>
          </p:spPr>
        </p:pic>
        <p:pic>
          <p:nvPicPr>
            <p:cNvPr id="23" name="Picture 4">
              <a:hlinkClick r:id="rId16" action="ppaction://hlinksldjump"/>
            </p:cNvPr>
            <p:cNvPicPr>
              <a:picLocks noChangeAspect="1"/>
            </p:cNvPicPr>
            <p:nvPr userDrawn="1"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162037" y="4796028"/>
              <a:ext cx="1981963" cy="347472"/>
            </a:xfrm>
            <a:prstGeom prst="rect">
              <a:avLst/>
            </a:prstGeom>
          </p:spPr>
        </p:pic>
      </p:grpSp>
      <p:sp>
        <p:nvSpPr>
          <p:cNvPr id="30" name="Page #"/>
          <p:cNvSpPr txBox="1">
            <a:spLocks noChangeArrowheads="1"/>
          </p:cNvSpPr>
          <p:nvPr userDrawn="1"/>
        </p:nvSpPr>
        <p:spPr bwMode="auto">
          <a:xfrm>
            <a:off x="64431" y="4965599"/>
            <a:ext cx="381043" cy="91800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lIns="0" tIns="0" rIns="0" bIns="0" anchor="b" anchorCtr="0"/>
          <a:lstStyle/>
          <a:p>
            <a:pPr algn="r">
              <a:spcBef>
                <a:spcPct val="20000"/>
              </a:spcBef>
              <a:buClr>
                <a:srgbClr val="808080"/>
              </a:buClr>
              <a:buSzTx/>
              <a:buFontTx/>
              <a:buNone/>
            </a:pPr>
            <a:r>
              <a:rPr lang="en-GB" sz="675" dirty="0">
                <a:solidFill>
                  <a:prstClr val="white"/>
                </a:solidFill>
                <a:latin typeface="Verdana"/>
                <a:ea typeface="SimHei"/>
              </a:rPr>
              <a:t>|</a:t>
            </a:r>
          </a:p>
        </p:txBody>
      </p:sp>
      <p:sp>
        <p:nvSpPr>
          <p:cNvPr id="4" name="MSIPCMContentMarking" descr="{&quot;HashCode&quot;:1249950703,&quot;Placement&quot;:&quot;Footer&quot;,&quot;Top&quot;:384.343,&quot;Left&quot;:305.299774,&quot;SlideWidth&quot;:720,&quot;SlideHeight&quot;:405}">
            <a:extLst>
              <a:ext uri="{FF2B5EF4-FFF2-40B4-BE49-F238E27FC236}">
                <a16:creationId xmlns:a16="http://schemas.microsoft.com/office/drawing/2014/main" id="{D212465B-0B88-4973-A9C9-C93405F43BF8}"/>
              </a:ext>
            </a:extLst>
          </p:cNvPr>
          <p:cNvSpPr txBox="1"/>
          <p:nvPr userDrawn="1"/>
        </p:nvSpPr>
        <p:spPr>
          <a:xfrm>
            <a:off x="3877307" y="4881156"/>
            <a:ext cx="1389387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sl-SI" sz="1000">
                <a:solidFill>
                  <a:srgbClr val="000000"/>
                </a:solidFill>
                <a:latin typeface="Calibri" panose="020F0502020204030204" pitchFamily="34" charset="0"/>
              </a:rPr>
              <a:t>Classified as Business</a:t>
            </a:r>
            <a:endParaRPr lang="sl-SI" sz="1000" err="1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8731296-D73D-7DAB-FC7A-F918A130721B}"/>
              </a:ext>
            </a:extLst>
          </p:cNvPr>
          <p:cNvSpPr txBox="1"/>
          <p:nvPr userDrawn="1"/>
        </p:nvSpPr>
        <p:spPr>
          <a:xfrm>
            <a:off x="410155" y="4872474"/>
            <a:ext cx="4779818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808080"/>
              </a:buClr>
              <a:buSzTx/>
              <a:buFontTx/>
              <a:buNone/>
              <a:tabLst/>
              <a:defRPr/>
            </a:pPr>
            <a:r>
              <a:rPr kumimoji="0" lang="sr-Latn-BA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SimHei"/>
                <a:cs typeface="Arial" charset="0"/>
              </a:rPr>
              <a:t>TOPS 2023 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SimHei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860130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8" r:id="rId1"/>
    <p:sldLayoutId id="2147483929" r:id="rId2"/>
    <p:sldLayoutId id="2147483930" r:id="rId3"/>
    <p:sldLayoutId id="2147483931" r:id="rId4"/>
    <p:sldLayoutId id="2147483932" r:id="rId5"/>
    <p:sldLayoutId id="2147483933" r:id="rId6"/>
    <p:sldLayoutId id="2147483934" r:id="rId7"/>
    <p:sldLayoutId id="2147483935" r:id="rId8"/>
    <p:sldLayoutId id="2147483936" r:id="rId9"/>
    <p:sldLayoutId id="2147483937" r:id="rId10"/>
    <p:sldLayoutId id="2147483938" r:id="rId11"/>
    <p:sldLayoutId id="2147483939" r:id="rId12"/>
    <p:sldLayoutId id="2147483940" r:id="rId13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1400" b="1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SzPct val="140000"/>
        <a:buFont typeface="Arial" panose="020B0604020202020204" pitchFamily="34" charset="0"/>
        <a:buNone/>
        <a:defRPr sz="1200" b="1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1pPr>
      <a:lvl2pPr marL="474663" indent="-28575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SzPct val="140000"/>
        <a:buFont typeface="Arial" panose="020B0604020202020204" pitchFamily="34" charset="0"/>
        <a:buChar char="•"/>
        <a:defRPr sz="12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2pPr>
      <a:lvl3pPr marL="646112" indent="-28575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SzPct val="140000"/>
        <a:buFont typeface="Arial" panose="020B0604020202020204" pitchFamily="34" charset="0"/>
        <a:buChar char="•"/>
        <a:tabLst/>
        <a:defRPr sz="12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3pPr>
      <a:lvl4pPr marL="828675" indent="-28575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SzPct val="140000"/>
        <a:buFont typeface="Arial" panose="020B0604020202020204" pitchFamily="34" charset="0"/>
        <a:buChar char="•"/>
        <a:defRPr sz="12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4pPr>
      <a:lvl5pPr marL="1004888" indent="-28575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bg2"/>
        </a:buClr>
        <a:buSzPct val="140000"/>
        <a:buFont typeface="Arial" panose="020B0604020202020204" pitchFamily="34" charset="0"/>
        <a:buChar char="•"/>
        <a:defRPr sz="120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5.svg"/><Relationship Id="rId13" Type="http://schemas.openxmlformats.org/officeDocument/2006/relationships/image" Target="../media/image120.png"/><Relationship Id="rId18" Type="http://schemas.openxmlformats.org/officeDocument/2006/relationships/image" Target="../media/image125.svg"/><Relationship Id="rId26" Type="http://schemas.openxmlformats.org/officeDocument/2006/relationships/image" Target="../media/image133.png"/><Relationship Id="rId3" Type="http://schemas.openxmlformats.org/officeDocument/2006/relationships/notesSlide" Target="../notesSlides/notesSlide8.xml"/><Relationship Id="rId21" Type="http://schemas.openxmlformats.org/officeDocument/2006/relationships/image" Target="../media/image128.png"/><Relationship Id="rId7" Type="http://schemas.openxmlformats.org/officeDocument/2006/relationships/image" Target="../media/image114.png"/><Relationship Id="rId12" Type="http://schemas.openxmlformats.org/officeDocument/2006/relationships/image" Target="../media/image119.png"/><Relationship Id="rId17" Type="http://schemas.openxmlformats.org/officeDocument/2006/relationships/image" Target="../media/image124.png"/><Relationship Id="rId25" Type="http://schemas.openxmlformats.org/officeDocument/2006/relationships/image" Target="../media/image132.png"/><Relationship Id="rId2" Type="http://schemas.openxmlformats.org/officeDocument/2006/relationships/slideLayout" Target="../slideLayouts/slideLayout16.xml"/><Relationship Id="rId16" Type="http://schemas.openxmlformats.org/officeDocument/2006/relationships/image" Target="../media/image123.png"/><Relationship Id="rId20" Type="http://schemas.openxmlformats.org/officeDocument/2006/relationships/image" Target="../media/image127.svg"/><Relationship Id="rId29" Type="http://schemas.openxmlformats.org/officeDocument/2006/relationships/image" Target="../media/image136.svg"/><Relationship Id="rId1" Type="http://schemas.openxmlformats.org/officeDocument/2006/relationships/themeOverride" Target="../theme/themeOverride5.xml"/><Relationship Id="rId6" Type="http://schemas.openxmlformats.org/officeDocument/2006/relationships/image" Target="../media/image113.png"/><Relationship Id="rId11" Type="http://schemas.openxmlformats.org/officeDocument/2006/relationships/image" Target="../media/image118.png"/><Relationship Id="rId24" Type="http://schemas.openxmlformats.org/officeDocument/2006/relationships/image" Target="../media/image131.svg"/><Relationship Id="rId5" Type="http://schemas.openxmlformats.org/officeDocument/2006/relationships/image" Target="../media/image112.png"/><Relationship Id="rId15" Type="http://schemas.openxmlformats.org/officeDocument/2006/relationships/image" Target="../media/image122.png"/><Relationship Id="rId23" Type="http://schemas.openxmlformats.org/officeDocument/2006/relationships/image" Target="../media/image130.png"/><Relationship Id="rId28" Type="http://schemas.openxmlformats.org/officeDocument/2006/relationships/image" Target="../media/image135.png"/><Relationship Id="rId10" Type="http://schemas.openxmlformats.org/officeDocument/2006/relationships/image" Target="../media/image117.svg"/><Relationship Id="rId19" Type="http://schemas.openxmlformats.org/officeDocument/2006/relationships/image" Target="../media/image126.png"/><Relationship Id="rId4" Type="http://schemas.openxmlformats.org/officeDocument/2006/relationships/image" Target="../media/image111.jpeg"/><Relationship Id="rId9" Type="http://schemas.openxmlformats.org/officeDocument/2006/relationships/image" Target="../media/image116.png"/><Relationship Id="rId14" Type="http://schemas.openxmlformats.org/officeDocument/2006/relationships/image" Target="../media/image121.png"/><Relationship Id="rId22" Type="http://schemas.openxmlformats.org/officeDocument/2006/relationships/image" Target="../media/image129.svg"/><Relationship Id="rId27" Type="http://schemas.openxmlformats.org/officeDocument/2006/relationships/image" Target="../media/image134.sv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7.emf"/><Relationship Id="rId3" Type="http://schemas.openxmlformats.org/officeDocument/2006/relationships/notesSlide" Target="../notesSlides/notesSlide9.xml"/><Relationship Id="rId7" Type="http://schemas.openxmlformats.org/officeDocument/2006/relationships/image" Target="../media/image119.png"/><Relationship Id="rId12" Type="http://schemas.openxmlformats.org/officeDocument/2006/relationships/image" Target="../media/image136.svg"/><Relationship Id="rId2" Type="http://schemas.openxmlformats.org/officeDocument/2006/relationships/slideLayout" Target="../slideLayouts/slideLayout16.xml"/><Relationship Id="rId1" Type="http://schemas.openxmlformats.org/officeDocument/2006/relationships/themeOverride" Target="../theme/themeOverride6.xml"/><Relationship Id="rId6" Type="http://schemas.openxmlformats.org/officeDocument/2006/relationships/image" Target="../media/image113.png"/><Relationship Id="rId11" Type="http://schemas.openxmlformats.org/officeDocument/2006/relationships/image" Target="../media/image135.png"/><Relationship Id="rId5" Type="http://schemas.openxmlformats.org/officeDocument/2006/relationships/image" Target="../media/image112.png"/><Relationship Id="rId10" Type="http://schemas.openxmlformats.org/officeDocument/2006/relationships/image" Target="../media/image134.svg"/><Relationship Id="rId4" Type="http://schemas.openxmlformats.org/officeDocument/2006/relationships/image" Target="../media/image111.jpeg"/><Relationship Id="rId9" Type="http://schemas.openxmlformats.org/officeDocument/2006/relationships/image" Target="../media/image133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5.svg"/><Relationship Id="rId13" Type="http://schemas.openxmlformats.org/officeDocument/2006/relationships/image" Target="../media/image120.png"/><Relationship Id="rId18" Type="http://schemas.openxmlformats.org/officeDocument/2006/relationships/image" Target="../media/image125.svg"/><Relationship Id="rId26" Type="http://schemas.openxmlformats.org/officeDocument/2006/relationships/image" Target="../media/image133.png"/><Relationship Id="rId3" Type="http://schemas.openxmlformats.org/officeDocument/2006/relationships/notesSlide" Target="../notesSlides/notesSlide10.xml"/><Relationship Id="rId21" Type="http://schemas.openxmlformats.org/officeDocument/2006/relationships/image" Target="../media/image128.png"/><Relationship Id="rId7" Type="http://schemas.openxmlformats.org/officeDocument/2006/relationships/image" Target="../media/image114.png"/><Relationship Id="rId12" Type="http://schemas.openxmlformats.org/officeDocument/2006/relationships/image" Target="../media/image119.png"/><Relationship Id="rId17" Type="http://schemas.openxmlformats.org/officeDocument/2006/relationships/image" Target="../media/image124.png"/><Relationship Id="rId25" Type="http://schemas.openxmlformats.org/officeDocument/2006/relationships/image" Target="../media/image132.png"/><Relationship Id="rId2" Type="http://schemas.openxmlformats.org/officeDocument/2006/relationships/slideLayout" Target="../slideLayouts/slideLayout16.xml"/><Relationship Id="rId16" Type="http://schemas.openxmlformats.org/officeDocument/2006/relationships/image" Target="../media/image123.png"/><Relationship Id="rId20" Type="http://schemas.openxmlformats.org/officeDocument/2006/relationships/image" Target="../media/image127.svg"/><Relationship Id="rId29" Type="http://schemas.openxmlformats.org/officeDocument/2006/relationships/image" Target="../media/image136.svg"/><Relationship Id="rId1" Type="http://schemas.openxmlformats.org/officeDocument/2006/relationships/themeOverride" Target="../theme/themeOverride7.xml"/><Relationship Id="rId6" Type="http://schemas.openxmlformats.org/officeDocument/2006/relationships/image" Target="../media/image113.png"/><Relationship Id="rId11" Type="http://schemas.openxmlformats.org/officeDocument/2006/relationships/image" Target="../media/image118.png"/><Relationship Id="rId24" Type="http://schemas.openxmlformats.org/officeDocument/2006/relationships/image" Target="../media/image131.svg"/><Relationship Id="rId5" Type="http://schemas.openxmlformats.org/officeDocument/2006/relationships/image" Target="../media/image112.png"/><Relationship Id="rId15" Type="http://schemas.openxmlformats.org/officeDocument/2006/relationships/image" Target="../media/image122.png"/><Relationship Id="rId23" Type="http://schemas.openxmlformats.org/officeDocument/2006/relationships/image" Target="../media/image130.png"/><Relationship Id="rId28" Type="http://schemas.openxmlformats.org/officeDocument/2006/relationships/image" Target="../media/image135.png"/><Relationship Id="rId10" Type="http://schemas.openxmlformats.org/officeDocument/2006/relationships/image" Target="../media/image117.svg"/><Relationship Id="rId19" Type="http://schemas.openxmlformats.org/officeDocument/2006/relationships/image" Target="../media/image126.png"/><Relationship Id="rId4" Type="http://schemas.openxmlformats.org/officeDocument/2006/relationships/image" Target="../media/image111.jpeg"/><Relationship Id="rId9" Type="http://schemas.openxmlformats.org/officeDocument/2006/relationships/image" Target="../media/image116.png"/><Relationship Id="rId14" Type="http://schemas.openxmlformats.org/officeDocument/2006/relationships/image" Target="../media/image121.png"/><Relationship Id="rId22" Type="http://schemas.openxmlformats.org/officeDocument/2006/relationships/image" Target="../media/image129.svg"/><Relationship Id="rId27" Type="http://schemas.openxmlformats.org/officeDocument/2006/relationships/image" Target="../media/image134.sv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6.svg"/><Relationship Id="rId3" Type="http://schemas.openxmlformats.org/officeDocument/2006/relationships/notesSlide" Target="../notesSlides/notesSlide11.xml"/><Relationship Id="rId7" Type="http://schemas.openxmlformats.org/officeDocument/2006/relationships/image" Target="../media/image135.png"/><Relationship Id="rId2" Type="http://schemas.openxmlformats.org/officeDocument/2006/relationships/slideLayout" Target="../slideLayouts/slideLayout16.xml"/><Relationship Id="rId1" Type="http://schemas.openxmlformats.org/officeDocument/2006/relationships/themeOverride" Target="../theme/themeOverride8.xml"/><Relationship Id="rId6" Type="http://schemas.openxmlformats.org/officeDocument/2006/relationships/image" Target="../media/image134.svg"/><Relationship Id="rId5" Type="http://schemas.openxmlformats.org/officeDocument/2006/relationships/image" Target="../media/image133.png"/><Relationship Id="rId4" Type="http://schemas.openxmlformats.org/officeDocument/2006/relationships/image" Target="../media/image111.jpeg"/><Relationship Id="rId9" Type="http://schemas.openxmlformats.org/officeDocument/2006/relationships/image" Target="../media/image121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38.png"/><Relationship Id="rId1" Type="http://schemas.openxmlformats.org/officeDocument/2006/relationships/slideLayout" Target="../slideLayouts/slideLayout159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9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13.xml"/><Relationship Id="rId5" Type="http://schemas.openxmlformats.org/officeDocument/2006/relationships/image" Target="../media/image4.png"/><Relationship Id="rId4" Type="http://schemas.openxmlformats.org/officeDocument/2006/relationships/image" Target="../media/image140.tif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1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4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2.png"/><Relationship Id="rId7" Type="http://schemas.openxmlformats.org/officeDocument/2006/relationships/image" Target="../media/image4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44.png"/><Relationship Id="rId5" Type="http://schemas.openxmlformats.org/officeDocument/2006/relationships/image" Target="../media/image143.png"/><Relationship Id="rId4" Type="http://schemas.microsoft.com/office/2007/relationships/hdphoto" Target="../media/hdphoto2.wdp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6.png"/><Relationship Id="rId2" Type="http://schemas.openxmlformats.org/officeDocument/2006/relationships/image" Target="../media/image145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4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5.svg"/><Relationship Id="rId13" Type="http://schemas.openxmlformats.org/officeDocument/2006/relationships/image" Target="../media/image120.png"/><Relationship Id="rId18" Type="http://schemas.openxmlformats.org/officeDocument/2006/relationships/image" Target="../media/image125.svg"/><Relationship Id="rId26" Type="http://schemas.openxmlformats.org/officeDocument/2006/relationships/image" Target="../media/image133.png"/><Relationship Id="rId3" Type="http://schemas.openxmlformats.org/officeDocument/2006/relationships/notesSlide" Target="../notesSlides/notesSlide15.xml"/><Relationship Id="rId21" Type="http://schemas.openxmlformats.org/officeDocument/2006/relationships/image" Target="../media/image128.png"/><Relationship Id="rId7" Type="http://schemas.openxmlformats.org/officeDocument/2006/relationships/image" Target="../media/image114.png"/><Relationship Id="rId12" Type="http://schemas.openxmlformats.org/officeDocument/2006/relationships/image" Target="../media/image119.png"/><Relationship Id="rId17" Type="http://schemas.openxmlformats.org/officeDocument/2006/relationships/image" Target="../media/image124.png"/><Relationship Id="rId25" Type="http://schemas.openxmlformats.org/officeDocument/2006/relationships/image" Target="../media/image132.png"/><Relationship Id="rId2" Type="http://schemas.openxmlformats.org/officeDocument/2006/relationships/slideLayout" Target="../slideLayouts/slideLayout16.xml"/><Relationship Id="rId16" Type="http://schemas.openxmlformats.org/officeDocument/2006/relationships/image" Target="../media/image123.png"/><Relationship Id="rId20" Type="http://schemas.openxmlformats.org/officeDocument/2006/relationships/image" Target="../media/image127.svg"/><Relationship Id="rId29" Type="http://schemas.openxmlformats.org/officeDocument/2006/relationships/image" Target="../media/image136.svg"/><Relationship Id="rId1" Type="http://schemas.openxmlformats.org/officeDocument/2006/relationships/themeOverride" Target="../theme/themeOverride9.xml"/><Relationship Id="rId6" Type="http://schemas.openxmlformats.org/officeDocument/2006/relationships/image" Target="../media/image113.png"/><Relationship Id="rId11" Type="http://schemas.openxmlformats.org/officeDocument/2006/relationships/image" Target="../media/image118.png"/><Relationship Id="rId24" Type="http://schemas.openxmlformats.org/officeDocument/2006/relationships/image" Target="../media/image131.svg"/><Relationship Id="rId5" Type="http://schemas.openxmlformats.org/officeDocument/2006/relationships/image" Target="../media/image112.png"/><Relationship Id="rId15" Type="http://schemas.openxmlformats.org/officeDocument/2006/relationships/image" Target="../media/image122.png"/><Relationship Id="rId23" Type="http://schemas.openxmlformats.org/officeDocument/2006/relationships/image" Target="../media/image130.png"/><Relationship Id="rId28" Type="http://schemas.openxmlformats.org/officeDocument/2006/relationships/image" Target="../media/image135.png"/><Relationship Id="rId10" Type="http://schemas.openxmlformats.org/officeDocument/2006/relationships/image" Target="../media/image117.svg"/><Relationship Id="rId19" Type="http://schemas.openxmlformats.org/officeDocument/2006/relationships/image" Target="../media/image126.png"/><Relationship Id="rId4" Type="http://schemas.openxmlformats.org/officeDocument/2006/relationships/image" Target="../media/image111.jpeg"/><Relationship Id="rId9" Type="http://schemas.openxmlformats.org/officeDocument/2006/relationships/image" Target="../media/image116.png"/><Relationship Id="rId14" Type="http://schemas.openxmlformats.org/officeDocument/2006/relationships/image" Target="../media/image121.png"/><Relationship Id="rId22" Type="http://schemas.openxmlformats.org/officeDocument/2006/relationships/image" Target="../media/image129.svg"/><Relationship Id="rId27" Type="http://schemas.openxmlformats.org/officeDocument/2006/relationships/image" Target="../media/image134.sv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svg"/><Relationship Id="rId3" Type="http://schemas.openxmlformats.org/officeDocument/2006/relationships/image" Target="../media/image55.png"/><Relationship Id="rId7" Type="http://schemas.openxmlformats.org/officeDocument/2006/relationships/image" Target="../media/image5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58.svg"/><Relationship Id="rId5" Type="http://schemas.openxmlformats.org/officeDocument/2006/relationships/image" Target="../media/image57.png"/><Relationship Id="rId10" Type="http://schemas.openxmlformats.org/officeDocument/2006/relationships/image" Target="../media/image4.png"/><Relationship Id="rId4" Type="http://schemas.openxmlformats.org/officeDocument/2006/relationships/image" Target="../media/image56.svg"/><Relationship Id="rId9" Type="http://schemas.openxmlformats.org/officeDocument/2006/relationships/image" Target="../media/image61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6.svg"/><Relationship Id="rId3" Type="http://schemas.openxmlformats.org/officeDocument/2006/relationships/notesSlide" Target="../notesSlides/notesSlide16.xml"/><Relationship Id="rId7" Type="http://schemas.openxmlformats.org/officeDocument/2006/relationships/image" Target="../media/image135.png"/><Relationship Id="rId2" Type="http://schemas.openxmlformats.org/officeDocument/2006/relationships/slideLayout" Target="../slideLayouts/slideLayout16.xml"/><Relationship Id="rId1" Type="http://schemas.openxmlformats.org/officeDocument/2006/relationships/themeOverride" Target="../theme/themeOverride10.xml"/><Relationship Id="rId6" Type="http://schemas.openxmlformats.org/officeDocument/2006/relationships/image" Target="../media/image134.svg"/><Relationship Id="rId5" Type="http://schemas.openxmlformats.org/officeDocument/2006/relationships/image" Target="../media/image133.png"/><Relationship Id="rId4" Type="http://schemas.openxmlformats.org/officeDocument/2006/relationships/image" Target="../media/image111.jpeg"/><Relationship Id="rId9" Type="http://schemas.openxmlformats.org/officeDocument/2006/relationships/image" Target="../media/image132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8.png"/><Relationship Id="rId2" Type="http://schemas.openxmlformats.org/officeDocument/2006/relationships/image" Target="../media/image147.png"/><Relationship Id="rId1" Type="http://schemas.openxmlformats.org/officeDocument/2006/relationships/slideLayout" Target="../slideLayouts/slideLayout183.xml"/><Relationship Id="rId4" Type="http://schemas.openxmlformats.org/officeDocument/2006/relationships/image" Target="../media/image4.png"/></Relationships>
</file>

<file path=ppt/slides/_rels/slide22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image" Target="../media/image149.emf"/><Relationship Id="rId7" Type="http://schemas.openxmlformats.org/officeDocument/2006/relationships/image" Target="../media/image153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85.xml"/><Relationship Id="rId6" Type="http://schemas.openxmlformats.org/officeDocument/2006/relationships/image" Target="../media/image152.svg"/><Relationship Id="rId5" Type="http://schemas.openxmlformats.org/officeDocument/2006/relationships/image" Target="../media/image151.png"/><Relationship Id="rId4" Type="http://schemas.openxmlformats.org/officeDocument/2006/relationships/image" Target="../media/image150.jpeg"/><Relationship Id="rId9" Type="http://schemas.openxmlformats.org/officeDocument/2006/relationships/image" Target="../media/image154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0.png"/><Relationship Id="rId3" Type="http://schemas.openxmlformats.org/officeDocument/2006/relationships/image" Target="../media/image155.png"/><Relationship Id="rId7" Type="http://schemas.openxmlformats.org/officeDocument/2006/relationships/image" Target="../media/image159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86.xml"/><Relationship Id="rId6" Type="http://schemas.openxmlformats.org/officeDocument/2006/relationships/image" Target="../media/image158.png"/><Relationship Id="rId5" Type="http://schemas.openxmlformats.org/officeDocument/2006/relationships/image" Target="../media/image157.png"/><Relationship Id="rId4" Type="http://schemas.openxmlformats.org/officeDocument/2006/relationships/image" Target="../media/image156.png"/><Relationship Id="rId9" Type="http://schemas.openxmlformats.org/officeDocument/2006/relationships/image" Target="../media/image161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4.jpg"/><Relationship Id="rId13" Type="http://schemas.openxmlformats.org/officeDocument/2006/relationships/image" Target="../media/image169.pn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163.png"/><Relationship Id="rId12" Type="http://schemas.openxmlformats.org/officeDocument/2006/relationships/image" Target="../media/image168.pn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62.emf"/><Relationship Id="rId11" Type="http://schemas.openxmlformats.org/officeDocument/2006/relationships/image" Target="../media/image167.png"/><Relationship Id="rId5" Type="http://schemas.openxmlformats.org/officeDocument/2006/relationships/oleObject" Target="../embeddings/oleObject4.bin"/><Relationship Id="rId10" Type="http://schemas.openxmlformats.org/officeDocument/2006/relationships/image" Target="../media/image166.png"/><Relationship Id="rId4" Type="http://schemas.openxmlformats.org/officeDocument/2006/relationships/notesSlide" Target="../notesSlides/notesSlide19.xml"/><Relationship Id="rId9" Type="http://schemas.openxmlformats.org/officeDocument/2006/relationships/image" Target="../media/image165.jpe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0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4.png"/><Relationship Id="rId4" Type="http://schemas.openxmlformats.org/officeDocument/2006/relationships/image" Target="../media/image6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84.xml"/><Relationship Id="rId6" Type="http://schemas.openxmlformats.org/officeDocument/2006/relationships/image" Target="../media/image4.png"/><Relationship Id="rId5" Type="http://schemas.openxmlformats.org/officeDocument/2006/relationships/image" Target="../media/image64.png"/><Relationship Id="rId4" Type="http://schemas.openxmlformats.org/officeDocument/2006/relationships/image" Target="../media/image63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7.jpeg"/><Relationship Id="rId3" Type="http://schemas.openxmlformats.org/officeDocument/2006/relationships/image" Target="../media/image65.jpeg"/><Relationship Id="rId7" Type="http://schemas.openxmlformats.org/officeDocument/2006/relationships/chart" Target="../charts/chart3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3.xml"/><Relationship Id="rId6" Type="http://schemas.openxmlformats.org/officeDocument/2006/relationships/chart" Target="../charts/chart2.xml"/><Relationship Id="rId5" Type="http://schemas.openxmlformats.org/officeDocument/2006/relationships/chart" Target="../charts/chart1.xml"/><Relationship Id="rId4" Type="http://schemas.openxmlformats.org/officeDocument/2006/relationships/image" Target="../media/image66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4.png"/><Relationship Id="rId4" Type="http://schemas.openxmlformats.org/officeDocument/2006/relationships/chart" Target="../charts/chart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13" Type="http://schemas.openxmlformats.org/officeDocument/2006/relationships/image" Target="../media/image78.svg"/><Relationship Id="rId18" Type="http://schemas.openxmlformats.org/officeDocument/2006/relationships/image" Target="../media/image83.svg"/><Relationship Id="rId26" Type="http://schemas.openxmlformats.org/officeDocument/2006/relationships/image" Target="../media/image91.png"/><Relationship Id="rId39" Type="http://schemas.openxmlformats.org/officeDocument/2006/relationships/image" Target="../media/image104.png"/><Relationship Id="rId21" Type="http://schemas.openxmlformats.org/officeDocument/2006/relationships/image" Target="../media/image86.png"/><Relationship Id="rId34" Type="http://schemas.openxmlformats.org/officeDocument/2006/relationships/image" Target="../media/image99.svg"/><Relationship Id="rId42" Type="http://schemas.openxmlformats.org/officeDocument/2006/relationships/image" Target="../media/image107.png"/><Relationship Id="rId7" Type="http://schemas.openxmlformats.org/officeDocument/2006/relationships/image" Target="../media/image72.png"/><Relationship Id="rId2" Type="http://schemas.openxmlformats.org/officeDocument/2006/relationships/slideLayout" Target="../slideLayouts/slideLayout15.xml"/><Relationship Id="rId16" Type="http://schemas.openxmlformats.org/officeDocument/2006/relationships/image" Target="../media/image81.svg"/><Relationship Id="rId20" Type="http://schemas.openxmlformats.org/officeDocument/2006/relationships/image" Target="../media/image85.png"/><Relationship Id="rId29" Type="http://schemas.openxmlformats.org/officeDocument/2006/relationships/image" Target="../media/image94.png"/><Relationship Id="rId41" Type="http://schemas.openxmlformats.org/officeDocument/2006/relationships/image" Target="../media/image106.jpeg"/><Relationship Id="rId1" Type="http://schemas.openxmlformats.org/officeDocument/2006/relationships/themeOverride" Target="../theme/themeOverride4.xml"/><Relationship Id="rId6" Type="http://schemas.openxmlformats.org/officeDocument/2006/relationships/image" Target="../media/image71.png"/><Relationship Id="rId11" Type="http://schemas.openxmlformats.org/officeDocument/2006/relationships/image" Target="../media/image76.svg"/><Relationship Id="rId24" Type="http://schemas.openxmlformats.org/officeDocument/2006/relationships/image" Target="../media/image89.png"/><Relationship Id="rId32" Type="http://schemas.openxmlformats.org/officeDocument/2006/relationships/image" Target="../media/image97.svg"/><Relationship Id="rId37" Type="http://schemas.openxmlformats.org/officeDocument/2006/relationships/image" Target="../media/image102.png"/><Relationship Id="rId40" Type="http://schemas.openxmlformats.org/officeDocument/2006/relationships/image" Target="../media/image105.png"/><Relationship Id="rId5" Type="http://schemas.microsoft.com/office/2007/relationships/hdphoto" Target="../media/hdphoto1.wdp"/><Relationship Id="rId15" Type="http://schemas.openxmlformats.org/officeDocument/2006/relationships/image" Target="../media/image80.png"/><Relationship Id="rId23" Type="http://schemas.openxmlformats.org/officeDocument/2006/relationships/image" Target="../media/image88.png"/><Relationship Id="rId28" Type="http://schemas.openxmlformats.org/officeDocument/2006/relationships/image" Target="../media/image93.png"/><Relationship Id="rId36" Type="http://schemas.openxmlformats.org/officeDocument/2006/relationships/image" Target="../media/image101.svg"/><Relationship Id="rId10" Type="http://schemas.openxmlformats.org/officeDocument/2006/relationships/image" Target="../media/image75.png"/><Relationship Id="rId19" Type="http://schemas.openxmlformats.org/officeDocument/2006/relationships/image" Target="../media/image84.png"/><Relationship Id="rId31" Type="http://schemas.openxmlformats.org/officeDocument/2006/relationships/image" Target="../media/image96.png"/><Relationship Id="rId4" Type="http://schemas.openxmlformats.org/officeDocument/2006/relationships/image" Target="../media/image70.png"/><Relationship Id="rId9" Type="http://schemas.openxmlformats.org/officeDocument/2006/relationships/image" Target="../media/image74.svg"/><Relationship Id="rId14" Type="http://schemas.openxmlformats.org/officeDocument/2006/relationships/image" Target="../media/image79.png"/><Relationship Id="rId22" Type="http://schemas.openxmlformats.org/officeDocument/2006/relationships/image" Target="../media/image87.png"/><Relationship Id="rId27" Type="http://schemas.openxmlformats.org/officeDocument/2006/relationships/image" Target="../media/image92.png"/><Relationship Id="rId30" Type="http://schemas.openxmlformats.org/officeDocument/2006/relationships/image" Target="../media/image95.png"/><Relationship Id="rId35" Type="http://schemas.openxmlformats.org/officeDocument/2006/relationships/image" Target="../media/image100.png"/><Relationship Id="rId8" Type="http://schemas.openxmlformats.org/officeDocument/2006/relationships/image" Target="../media/image73.png"/><Relationship Id="rId3" Type="http://schemas.openxmlformats.org/officeDocument/2006/relationships/notesSlide" Target="../notesSlides/notesSlide6.xml"/><Relationship Id="rId12" Type="http://schemas.openxmlformats.org/officeDocument/2006/relationships/image" Target="../media/image77.png"/><Relationship Id="rId17" Type="http://schemas.openxmlformats.org/officeDocument/2006/relationships/image" Target="../media/image82.png"/><Relationship Id="rId25" Type="http://schemas.openxmlformats.org/officeDocument/2006/relationships/image" Target="../media/image90.png"/><Relationship Id="rId33" Type="http://schemas.openxmlformats.org/officeDocument/2006/relationships/image" Target="../media/image98.png"/><Relationship Id="rId38" Type="http://schemas.openxmlformats.org/officeDocument/2006/relationships/image" Target="../media/image103.sv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110.png"/><Relationship Id="rId2" Type="http://schemas.openxmlformats.org/officeDocument/2006/relationships/slideLayout" Target="../slideLayouts/slideLayout125.xml"/><Relationship Id="rId1" Type="http://schemas.openxmlformats.org/officeDocument/2006/relationships/tags" Target="../tags/tag9.xml"/><Relationship Id="rId6" Type="http://schemas.openxmlformats.org/officeDocument/2006/relationships/image" Target="../media/image109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108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ctrTitle"/>
          </p:nvPr>
        </p:nvSpPr>
        <p:spPr>
          <a:xfrm>
            <a:off x="453848" y="2365080"/>
            <a:ext cx="2759483" cy="1760369"/>
          </a:xfrm>
        </p:spPr>
        <p:txBody>
          <a:bodyPr/>
          <a:lstStyle/>
          <a:p>
            <a:pPr>
              <a:spcAft>
                <a:spcPts val="0"/>
              </a:spcAft>
            </a:pPr>
            <a:br>
              <a:rPr kumimoji="0" lang="sr-Latn-BA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j-ea"/>
                <a:cs typeface="+mj-cs"/>
              </a:rPr>
            </a:br>
            <a:br>
              <a:rPr kumimoji="0" lang="sr-Latn-BA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j-ea"/>
                <a:cs typeface="+mj-cs"/>
              </a:rPr>
            </a:br>
            <a:r>
              <a:rPr kumimoji="0" lang="sr-Latn-BA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j-ea"/>
                <a:cs typeface="+mj-cs"/>
              </a:rPr>
              <a:t>Digitalizacija kao odgovor na savremene izazove u sistemima daljinskog grejanja</a:t>
            </a:r>
            <a:br>
              <a:rPr kumimoji="0" lang="sr-Latn-BA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j-ea"/>
                <a:cs typeface="+mj-cs"/>
              </a:rPr>
            </a:br>
            <a:br>
              <a:rPr kumimoji="0" lang="sr-Latn-BA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j-ea"/>
                <a:cs typeface="+mj-cs"/>
              </a:rPr>
            </a:br>
            <a:endParaRPr lang="sl-SI" sz="1200" dirty="0"/>
          </a:p>
        </p:txBody>
      </p:sp>
      <p:sp>
        <p:nvSpPr>
          <p:cNvPr id="3" name="Podnaslov 2"/>
          <p:cNvSpPr>
            <a:spLocks noGrp="1"/>
          </p:cNvSpPr>
          <p:nvPr>
            <p:ph type="subTitle" idx="1"/>
          </p:nvPr>
        </p:nvSpPr>
        <p:spPr>
          <a:xfrm>
            <a:off x="453848" y="3983043"/>
            <a:ext cx="2825807" cy="1236757"/>
          </a:xfrm>
        </p:spPr>
        <p:txBody>
          <a:bodyPr/>
          <a:lstStyle/>
          <a:p>
            <a:endParaRPr lang="sl-SI" b="0" dirty="0"/>
          </a:p>
          <a:p>
            <a:r>
              <a:rPr lang="sl-SI" sz="1200" b="0" dirty="0"/>
              <a:t>Filip Žardin,</a:t>
            </a:r>
          </a:p>
          <a:p>
            <a:r>
              <a:rPr lang="sl-SI" sz="1200" b="0" dirty="0"/>
              <a:t>Danfoss d.o.o.</a:t>
            </a:r>
            <a:endParaRPr lang="en-US" sz="1200" b="0" dirty="0"/>
          </a:p>
        </p:txBody>
      </p:sp>
    </p:spTree>
    <p:extLst>
      <p:ext uri="{BB962C8B-B14F-4D97-AF65-F5344CB8AC3E}">
        <p14:creationId xmlns:p14="http://schemas.microsoft.com/office/powerpoint/2010/main" val="80611105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>
          <a:extLst>
            <a:ext uri="{FF2B5EF4-FFF2-40B4-BE49-F238E27FC236}">
              <a16:creationId xmlns:a16="http://schemas.microsoft.com/office/drawing/2014/main" id="{1FDDE900-54AB-FC1B-41F6-D234EB6568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Billede 27" descr="Et billede, der indeholder sky, udendørs, vej/gade, træ&#10;&#10;Indhold genereret af kunstig intelligens kan være forkert.">
            <a:extLst>
              <a:ext uri="{FF2B5EF4-FFF2-40B4-BE49-F238E27FC236}">
                <a16:creationId xmlns:a16="http://schemas.microsoft.com/office/drawing/2014/main" id="{3159037A-85F2-4B9B-B555-5A52B5804B21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01" t="26736" b="19378"/>
          <a:stretch/>
        </p:blipFill>
        <p:spPr>
          <a:xfrm>
            <a:off x="0" y="0"/>
            <a:ext cx="9144000" cy="4323804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5EAAB74B-9DF2-E4F1-CF38-E174F2815A12}"/>
              </a:ext>
            </a:extLst>
          </p:cNvPr>
          <p:cNvSpPr txBox="1"/>
          <p:nvPr/>
        </p:nvSpPr>
        <p:spPr>
          <a:xfrm>
            <a:off x="419886" y="179089"/>
            <a:ext cx="4455160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685800">
              <a:defRPr/>
            </a:pPr>
            <a:r>
              <a:rPr lang="en-GB" b="1" dirty="0">
                <a:solidFill>
                  <a:prstClr val="white"/>
                </a:solidFill>
                <a:latin typeface="Verdana"/>
              </a:rPr>
              <a:t>DEN </a:t>
            </a:r>
            <a:r>
              <a:rPr lang="sr-Latn-RS" b="1" dirty="0">
                <a:solidFill>
                  <a:prstClr val="white"/>
                </a:solidFill>
                <a:latin typeface="Verdana"/>
              </a:rPr>
              <a:t>pregled rešenja</a:t>
            </a:r>
            <a:br>
              <a:rPr lang="en-GB" dirty="0">
                <a:solidFill>
                  <a:prstClr val="white"/>
                </a:solidFill>
                <a:latin typeface=" Verdana Pro Light"/>
              </a:rPr>
            </a:br>
            <a:r>
              <a:rPr lang="en-GB" dirty="0">
                <a:solidFill>
                  <a:prstClr val="white"/>
                </a:solidFill>
                <a:latin typeface=" Verdana Pro Light"/>
              </a:rPr>
              <a:t>End-2-end </a:t>
            </a:r>
            <a:r>
              <a:rPr lang="en-GB" dirty="0" err="1">
                <a:solidFill>
                  <a:prstClr val="white"/>
                </a:solidFill>
                <a:latin typeface=" Verdana Pro Light"/>
              </a:rPr>
              <a:t>optimiza</a:t>
            </a:r>
            <a:r>
              <a:rPr lang="sr-Latn-RS" dirty="0">
                <a:solidFill>
                  <a:prstClr val="white"/>
                </a:solidFill>
                <a:latin typeface=" Verdana Pro Light"/>
              </a:rPr>
              <a:t>cija</a:t>
            </a:r>
            <a:endParaRPr lang="en-GB" dirty="0">
              <a:solidFill>
                <a:prstClr val="white"/>
              </a:solidFill>
              <a:latin typeface=" Verdana Pro Light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5CC5C950-B8B7-D2E8-9CD8-7128953DB338}"/>
              </a:ext>
            </a:extLst>
          </p:cNvPr>
          <p:cNvSpPr txBox="1"/>
          <p:nvPr/>
        </p:nvSpPr>
        <p:spPr>
          <a:xfrm>
            <a:off x="2386720" y="6426671"/>
            <a:ext cx="761894" cy="1731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5783">
              <a:spcAft>
                <a:spcPts val="300"/>
              </a:spcAft>
              <a:defRPr/>
            </a:pPr>
            <a:endParaRPr lang="sl-SI" sz="525" b="1" dirty="0">
              <a:solidFill>
                <a:prstClr val="white"/>
              </a:solidFill>
              <a:latin typeface="Verdana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4AEBB749-EA6D-3A74-60E4-BAC6E6D3084D}"/>
              </a:ext>
            </a:extLst>
          </p:cNvPr>
          <p:cNvSpPr/>
          <p:nvPr/>
        </p:nvSpPr>
        <p:spPr>
          <a:xfrm>
            <a:off x="615150" y="1795216"/>
            <a:ext cx="793832" cy="793832"/>
          </a:xfrm>
          <a:prstGeom prst="rect">
            <a:avLst/>
          </a:prstGeom>
          <a:solidFill>
            <a:schemeClr val="bg1">
              <a:alpha val="60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GB" sz="1350" dirty="0" err="1">
              <a:solidFill>
                <a:prstClr val="white"/>
              </a:solidFill>
              <a:latin typeface="Verdana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883D885-D84E-899C-7B94-B69F8631EF92}"/>
              </a:ext>
            </a:extLst>
          </p:cNvPr>
          <p:cNvSpPr/>
          <p:nvPr/>
        </p:nvSpPr>
        <p:spPr>
          <a:xfrm>
            <a:off x="615150" y="2589048"/>
            <a:ext cx="793832" cy="793832"/>
          </a:xfrm>
          <a:prstGeom prst="rect">
            <a:avLst/>
          </a:prstGeom>
          <a:solidFill>
            <a:srgbClr val="869098">
              <a:alpha val="66000"/>
            </a:srgb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GB" sz="1350" dirty="0" err="1">
              <a:solidFill>
                <a:prstClr val="white"/>
              </a:solidFill>
              <a:latin typeface="Verdana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11E8798-A0AF-3C93-339C-162CD1E753FA}"/>
              </a:ext>
            </a:extLst>
          </p:cNvPr>
          <p:cNvSpPr/>
          <p:nvPr/>
        </p:nvSpPr>
        <p:spPr>
          <a:xfrm>
            <a:off x="1408982" y="2589048"/>
            <a:ext cx="793832" cy="793832"/>
          </a:xfrm>
          <a:prstGeom prst="rect">
            <a:avLst/>
          </a:prstGeom>
          <a:solidFill>
            <a:schemeClr val="bg1">
              <a:alpha val="60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GB" sz="1350" dirty="0" err="1">
              <a:solidFill>
                <a:prstClr val="white"/>
              </a:solidFill>
              <a:latin typeface="Verdana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4F1B789-4E5B-021A-63C9-9723E10983B1}"/>
              </a:ext>
            </a:extLst>
          </p:cNvPr>
          <p:cNvSpPr/>
          <p:nvPr/>
        </p:nvSpPr>
        <p:spPr>
          <a:xfrm>
            <a:off x="1408982" y="1795216"/>
            <a:ext cx="793832" cy="793832"/>
          </a:xfrm>
          <a:prstGeom prst="rect">
            <a:avLst/>
          </a:prstGeom>
          <a:solidFill>
            <a:srgbClr val="869098">
              <a:alpha val="66000"/>
            </a:srgb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GB" sz="1350" dirty="0" err="1">
              <a:solidFill>
                <a:prstClr val="white"/>
              </a:solidFill>
              <a:latin typeface="Verdana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59C9D4B-41A2-41AB-3563-8F7D88712AF4}"/>
              </a:ext>
            </a:extLst>
          </p:cNvPr>
          <p:cNvSpPr/>
          <p:nvPr/>
        </p:nvSpPr>
        <p:spPr>
          <a:xfrm>
            <a:off x="615150" y="3382880"/>
            <a:ext cx="793832" cy="793832"/>
          </a:xfrm>
          <a:prstGeom prst="rect">
            <a:avLst/>
          </a:pr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GB" sz="1350" dirty="0" err="1">
              <a:solidFill>
                <a:prstClr val="white"/>
              </a:solidFill>
              <a:latin typeface="Verdana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EDFA82D-6263-AF3F-A920-E8EDCEC2D64B}"/>
              </a:ext>
            </a:extLst>
          </p:cNvPr>
          <p:cNvSpPr/>
          <p:nvPr/>
        </p:nvSpPr>
        <p:spPr>
          <a:xfrm>
            <a:off x="3348163" y="2589048"/>
            <a:ext cx="793832" cy="793832"/>
          </a:xfrm>
          <a:prstGeom prst="rect">
            <a:avLst/>
          </a:prstGeom>
          <a:solidFill>
            <a:schemeClr val="bg1">
              <a:alpha val="60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GB" sz="1350" dirty="0" err="1">
              <a:solidFill>
                <a:prstClr val="white"/>
              </a:solidFill>
              <a:latin typeface="Verdana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D4D7842-42ED-A221-C23E-636DDBD6FBD8}"/>
              </a:ext>
            </a:extLst>
          </p:cNvPr>
          <p:cNvSpPr/>
          <p:nvPr/>
        </p:nvSpPr>
        <p:spPr>
          <a:xfrm>
            <a:off x="3348163" y="3382880"/>
            <a:ext cx="793832" cy="793832"/>
          </a:xfrm>
          <a:prstGeom prst="rect">
            <a:avLst/>
          </a:pr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GB" sz="1350" dirty="0" err="1">
              <a:solidFill>
                <a:prstClr val="white"/>
              </a:solidFill>
              <a:latin typeface="Verdana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72A9072-C408-6F0B-3433-31D79E52B865}"/>
              </a:ext>
            </a:extLst>
          </p:cNvPr>
          <p:cNvSpPr/>
          <p:nvPr/>
        </p:nvSpPr>
        <p:spPr>
          <a:xfrm>
            <a:off x="5259369" y="2589048"/>
            <a:ext cx="793832" cy="793832"/>
          </a:xfrm>
          <a:prstGeom prst="rect">
            <a:avLst/>
          </a:prstGeom>
          <a:solidFill>
            <a:schemeClr val="bg1">
              <a:alpha val="60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GB" sz="1350" dirty="0" err="1">
              <a:solidFill>
                <a:prstClr val="white"/>
              </a:solidFill>
              <a:latin typeface="Verdana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BDA93EE5-2354-7832-FF29-678A714B4D9C}"/>
              </a:ext>
            </a:extLst>
          </p:cNvPr>
          <p:cNvSpPr/>
          <p:nvPr/>
        </p:nvSpPr>
        <p:spPr>
          <a:xfrm>
            <a:off x="5259369" y="3382880"/>
            <a:ext cx="793832" cy="793832"/>
          </a:xfrm>
          <a:prstGeom prst="rect">
            <a:avLst/>
          </a:pr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GB" sz="1350" dirty="0" err="1">
              <a:solidFill>
                <a:prstClr val="white"/>
              </a:solidFill>
              <a:latin typeface="Verdana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809B3228-3C2B-1CBF-19EC-01228C5530AE}"/>
              </a:ext>
            </a:extLst>
          </p:cNvPr>
          <p:cNvSpPr/>
          <p:nvPr/>
        </p:nvSpPr>
        <p:spPr>
          <a:xfrm>
            <a:off x="6847033" y="2589048"/>
            <a:ext cx="793832" cy="793832"/>
          </a:xfrm>
          <a:prstGeom prst="rect">
            <a:avLst/>
          </a:prstGeom>
          <a:solidFill>
            <a:schemeClr val="bg1">
              <a:alpha val="60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GB" sz="1350" dirty="0" err="1">
              <a:solidFill>
                <a:prstClr val="white"/>
              </a:solidFill>
              <a:latin typeface="Verdana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73DC5E61-8C9B-BB71-ABA9-C128ABCE926C}"/>
              </a:ext>
            </a:extLst>
          </p:cNvPr>
          <p:cNvSpPr/>
          <p:nvPr/>
        </p:nvSpPr>
        <p:spPr>
          <a:xfrm>
            <a:off x="6053201" y="1795216"/>
            <a:ext cx="793832" cy="793832"/>
          </a:xfrm>
          <a:prstGeom prst="rect">
            <a:avLst/>
          </a:prstGeom>
          <a:solidFill>
            <a:schemeClr val="bg1">
              <a:alpha val="60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GB" sz="1350" dirty="0" err="1">
              <a:solidFill>
                <a:prstClr val="white"/>
              </a:solidFill>
              <a:latin typeface="Verdana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1A8AE7E0-4BDC-F8EB-342C-C2E533643F94}"/>
              </a:ext>
            </a:extLst>
          </p:cNvPr>
          <p:cNvSpPr/>
          <p:nvPr/>
        </p:nvSpPr>
        <p:spPr>
          <a:xfrm>
            <a:off x="6847033" y="1795216"/>
            <a:ext cx="793832" cy="793832"/>
          </a:xfrm>
          <a:prstGeom prst="rect">
            <a:avLst/>
          </a:prstGeom>
          <a:solidFill>
            <a:schemeClr val="bg1">
              <a:alpha val="60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GB" sz="1350" dirty="0" err="1">
              <a:solidFill>
                <a:prstClr val="white"/>
              </a:solidFill>
              <a:latin typeface="Verdana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9161B041-05E5-510A-3574-D3A41BCC973D}"/>
              </a:ext>
            </a:extLst>
          </p:cNvPr>
          <p:cNvSpPr/>
          <p:nvPr/>
        </p:nvSpPr>
        <p:spPr>
          <a:xfrm>
            <a:off x="6053201" y="2589048"/>
            <a:ext cx="793832" cy="793832"/>
          </a:xfrm>
          <a:prstGeom prst="rect">
            <a:avLst/>
          </a:prstGeom>
          <a:solidFill>
            <a:srgbClr val="869098">
              <a:alpha val="66000"/>
            </a:srgb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GB" sz="1350" dirty="0" err="1">
              <a:solidFill>
                <a:prstClr val="white"/>
              </a:solidFill>
              <a:latin typeface="Verdana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67640FE1-7B6C-AB35-1A41-6A1985060D27}"/>
              </a:ext>
            </a:extLst>
          </p:cNvPr>
          <p:cNvSpPr/>
          <p:nvPr/>
        </p:nvSpPr>
        <p:spPr>
          <a:xfrm>
            <a:off x="6053201" y="1001383"/>
            <a:ext cx="793832" cy="793832"/>
          </a:xfrm>
          <a:prstGeom prst="rect">
            <a:avLst/>
          </a:prstGeom>
          <a:solidFill>
            <a:srgbClr val="869098">
              <a:alpha val="66000"/>
            </a:srgb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GB" sz="1350" dirty="0" err="1">
              <a:solidFill>
                <a:prstClr val="white"/>
              </a:solidFill>
              <a:latin typeface="Verdana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D4B635B2-7FAD-6887-7523-7B0CD3F0C946}"/>
              </a:ext>
            </a:extLst>
          </p:cNvPr>
          <p:cNvSpPr/>
          <p:nvPr/>
        </p:nvSpPr>
        <p:spPr>
          <a:xfrm>
            <a:off x="6847033" y="1001383"/>
            <a:ext cx="793832" cy="793832"/>
          </a:xfrm>
          <a:prstGeom prst="rect">
            <a:avLst/>
          </a:prstGeom>
          <a:solidFill>
            <a:schemeClr val="bg1">
              <a:alpha val="60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GB" sz="1350" dirty="0" err="1">
              <a:solidFill>
                <a:prstClr val="white"/>
              </a:solidFill>
              <a:latin typeface="Verdana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A3F9E66C-F383-F6A9-6C1C-690C9DB1AE32}"/>
              </a:ext>
            </a:extLst>
          </p:cNvPr>
          <p:cNvSpPr/>
          <p:nvPr/>
        </p:nvSpPr>
        <p:spPr>
          <a:xfrm>
            <a:off x="6847033" y="3382880"/>
            <a:ext cx="793832" cy="793832"/>
          </a:xfrm>
          <a:prstGeom prst="rect">
            <a:avLst/>
          </a:pr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GB" sz="1350" dirty="0" err="1">
              <a:solidFill>
                <a:prstClr val="white"/>
              </a:solidFill>
              <a:latin typeface="Verdana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9B1F69F7-835E-082C-371F-9D290032B819}"/>
              </a:ext>
            </a:extLst>
          </p:cNvPr>
          <p:cNvSpPr/>
          <p:nvPr/>
        </p:nvSpPr>
        <p:spPr>
          <a:xfrm>
            <a:off x="6847033" y="207551"/>
            <a:ext cx="793832" cy="793832"/>
          </a:xfrm>
          <a:prstGeom prst="rect">
            <a:avLst/>
          </a:prstGeom>
          <a:solidFill>
            <a:schemeClr val="bg1">
              <a:alpha val="60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GB" sz="1350" dirty="0" err="1">
              <a:solidFill>
                <a:prstClr val="white"/>
              </a:solidFill>
              <a:latin typeface="Verdana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1A948813-DCDE-259C-8324-ED283E7EE580}"/>
              </a:ext>
            </a:extLst>
          </p:cNvPr>
          <p:cNvSpPr/>
          <p:nvPr/>
        </p:nvSpPr>
        <p:spPr>
          <a:xfrm>
            <a:off x="7640865" y="207551"/>
            <a:ext cx="793832" cy="793832"/>
          </a:xfrm>
          <a:prstGeom prst="rect">
            <a:avLst/>
          </a:prstGeom>
          <a:solidFill>
            <a:srgbClr val="869098">
              <a:alpha val="66000"/>
            </a:srgb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GB" sz="1350" dirty="0" err="1">
              <a:solidFill>
                <a:prstClr val="white"/>
              </a:solidFill>
              <a:latin typeface="Verdana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73549CC2-2511-428A-9F9D-FF29362B454C}"/>
              </a:ext>
            </a:extLst>
          </p:cNvPr>
          <p:cNvSpPr/>
          <p:nvPr/>
        </p:nvSpPr>
        <p:spPr>
          <a:xfrm>
            <a:off x="7640865" y="1795216"/>
            <a:ext cx="793832" cy="793832"/>
          </a:xfrm>
          <a:prstGeom prst="rect">
            <a:avLst/>
          </a:prstGeom>
          <a:solidFill>
            <a:schemeClr val="bg1">
              <a:alpha val="60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GB" sz="1350" dirty="0" err="1">
              <a:solidFill>
                <a:prstClr val="white"/>
              </a:solidFill>
              <a:latin typeface="Verdana"/>
            </a:endParaRPr>
          </a:p>
        </p:txBody>
      </p:sp>
      <p:sp>
        <p:nvSpPr>
          <p:cNvPr id="43" name="TextBox 9">
            <a:extLst>
              <a:ext uri="{FF2B5EF4-FFF2-40B4-BE49-F238E27FC236}">
                <a16:creationId xmlns:a16="http://schemas.microsoft.com/office/drawing/2014/main" id="{EE3A4A53-D2E4-1D29-34B0-B51247E8F948}"/>
              </a:ext>
            </a:extLst>
          </p:cNvPr>
          <p:cNvSpPr txBox="1"/>
          <p:nvPr/>
        </p:nvSpPr>
        <p:spPr>
          <a:xfrm>
            <a:off x="615149" y="1831310"/>
            <a:ext cx="793832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 defTabSz="685783">
              <a:spcAft>
                <a:spcPts val="300"/>
              </a:spcAft>
              <a:defRPr/>
            </a:pPr>
            <a:r>
              <a:rPr lang="sl-SI" sz="600" dirty="0" err="1">
                <a:solidFill>
                  <a:srgbClr val="000000"/>
                </a:solidFill>
                <a:latin typeface="Verdana Pro Light" panose="020B0304030504040204" pitchFamily="34" charset="0"/>
              </a:rPr>
              <a:t>Leanheat</a:t>
            </a:r>
            <a:r>
              <a:rPr lang="sl-SI" sz="600" baseline="30000" dirty="0">
                <a:solidFill>
                  <a:srgbClr val="000000"/>
                </a:solidFill>
                <a:latin typeface="Verdana Pro Light" panose="020B0304030504040204" pitchFamily="34" charset="0"/>
              </a:rPr>
              <a:t>® </a:t>
            </a:r>
            <a:br>
              <a:rPr lang="sl-SI" sz="600" baseline="30000" dirty="0">
                <a:solidFill>
                  <a:srgbClr val="000000"/>
                </a:solidFill>
                <a:latin typeface="Verdana Pro Light" panose="020B0304030504040204" pitchFamily="34" charset="0"/>
              </a:rPr>
            </a:br>
            <a:r>
              <a:rPr lang="sl-SI" sz="600" dirty="0" err="1">
                <a:solidFill>
                  <a:srgbClr val="000000"/>
                </a:solidFill>
                <a:latin typeface="Verdana Pro Light" panose="020B0304030504040204" pitchFamily="34" charset="0"/>
              </a:rPr>
              <a:t>Production</a:t>
            </a:r>
            <a:r>
              <a:rPr lang="sl-SI" sz="600" dirty="0">
                <a:solidFill>
                  <a:srgbClr val="000000"/>
                </a:solidFill>
                <a:latin typeface="Verdana Pro Light" panose="020B0304030504040204" pitchFamily="34" charset="0"/>
              </a:rPr>
              <a:t> </a:t>
            </a:r>
            <a:endParaRPr lang="en-US" sz="600" dirty="0">
              <a:solidFill>
                <a:srgbClr val="000000"/>
              </a:solidFill>
              <a:latin typeface="Verdana Pro Light" panose="020B0304030504040204" pitchFamily="34" charset="0"/>
            </a:endParaRPr>
          </a:p>
        </p:txBody>
      </p:sp>
      <p:sp>
        <p:nvSpPr>
          <p:cNvPr id="44" name="TextBox 9">
            <a:extLst>
              <a:ext uri="{FF2B5EF4-FFF2-40B4-BE49-F238E27FC236}">
                <a16:creationId xmlns:a16="http://schemas.microsoft.com/office/drawing/2014/main" id="{3BD7CE2D-5D15-8029-B9EE-D442D5BC0BEA}"/>
              </a:ext>
            </a:extLst>
          </p:cNvPr>
          <p:cNvSpPr txBox="1"/>
          <p:nvPr/>
        </p:nvSpPr>
        <p:spPr>
          <a:xfrm>
            <a:off x="1408982" y="1831310"/>
            <a:ext cx="793832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 defTabSz="685783">
              <a:spcAft>
                <a:spcPts val="300"/>
              </a:spcAft>
              <a:defRPr/>
            </a:pPr>
            <a:r>
              <a:rPr lang="sl-SI" sz="600" dirty="0" err="1">
                <a:solidFill>
                  <a:prstClr val="white"/>
                </a:solidFill>
                <a:latin typeface="Verdana Pro Light" panose="020B0304030504040204" pitchFamily="34" charset="0"/>
              </a:rPr>
              <a:t>Renewable</a:t>
            </a:r>
            <a:r>
              <a:rPr lang="sl-SI" sz="600" dirty="0">
                <a:solidFill>
                  <a:prstClr val="white"/>
                </a:solidFill>
                <a:latin typeface="Verdana Pro Light" panose="020B0304030504040204" pitchFamily="34" charset="0"/>
              </a:rPr>
              <a:t> </a:t>
            </a:r>
            <a:br>
              <a:rPr lang="sl-SI" sz="600" dirty="0">
                <a:solidFill>
                  <a:prstClr val="white"/>
                </a:solidFill>
                <a:latin typeface="Verdana Pro Light" panose="020B0304030504040204" pitchFamily="34" charset="0"/>
              </a:rPr>
            </a:br>
            <a:r>
              <a:rPr lang="sl-SI" sz="600" dirty="0" err="1">
                <a:solidFill>
                  <a:prstClr val="white"/>
                </a:solidFill>
                <a:latin typeface="Verdana Pro Light" panose="020B0304030504040204" pitchFamily="34" charset="0"/>
              </a:rPr>
              <a:t>energy</a:t>
            </a:r>
            <a:r>
              <a:rPr lang="sl-SI" sz="600" dirty="0">
                <a:solidFill>
                  <a:prstClr val="white"/>
                </a:solidFill>
                <a:latin typeface="Verdana Pro Light" panose="020B0304030504040204" pitchFamily="34" charset="0"/>
              </a:rPr>
              <a:t> </a:t>
            </a:r>
            <a:r>
              <a:rPr lang="sl-SI" sz="600" dirty="0" err="1">
                <a:solidFill>
                  <a:prstClr val="white"/>
                </a:solidFill>
                <a:latin typeface="Verdana Pro Light" panose="020B0304030504040204" pitchFamily="34" charset="0"/>
              </a:rPr>
              <a:t>sources</a:t>
            </a:r>
            <a:r>
              <a:rPr lang="sl-SI" sz="600" dirty="0">
                <a:solidFill>
                  <a:prstClr val="white"/>
                </a:solidFill>
                <a:latin typeface="Verdana Pro Light" panose="020B0304030504040204" pitchFamily="34" charset="0"/>
              </a:rPr>
              <a:t> </a:t>
            </a:r>
            <a:endParaRPr lang="en-US" sz="600" dirty="0">
              <a:solidFill>
                <a:prstClr val="white"/>
              </a:solidFill>
              <a:latin typeface="Verdana Pro Light" panose="020B0304030504040204" pitchFamily="34" charset="0"/>
            </a:endParaRPr>
          </a:p>
        </p:txBody>
      </p:sp>
      <p:sp>
        <p:nvSpPr>
          <p:cNvPr id="45" name="TextBox 9">
            <a:extLst>
              <a:ext uri="{FF2B5EF4-FFF2-40B4-BE49-F238E27FC236}">
                <a16:creationId xmlns:a16="http://schemas.microsoft.com/office/drawing/2014/main" id="{1C6ACCD2-BF7E-B42A-8102-B587940AF31B}"/>
              </a:ext>
            </a:extLst>
          </p:cNvPr>
          <p:cNvSpPr txBox="1"/>
          <p:nvPr/>
        </p:nvSpPr>
        <p:spPr>
          <a:xfrm>
            <a:off x="1408982" y="2625142"/>
            <a:ext cx="793832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 defTabSz="685783">
              <a:spcAft>
                <a:spcPts val="300"/>
              </a:spcAft>
              <a:defRPr/>
            </a:pPr>
            <a:r>
              <a:rPr lang="sl-SI" sz="600" dirty="0" err="1">
                <a:solidFill>
                  <a:srgbClr val="000000"/>
                </a:solidFill>
                <a:latin typeface="Verdana Pro Light" panose="020B0304030504040204" pitchFamily="34" charset="0"/>
              </a:rPr>
              <a:t>Leanheat</a:t>
            </a:r>
            <a:r>
              <a:rPr lang="sl-SI" sz="600" baseline="30000" dirty="0">
                <a:solidFill>
                  <a:srgbClr val="000000"/>
                </a:solidFill>
                <a:latin typeface="Verdana Pro Light" panose="020B0304030504040204" pitchFamily="34" charset="0"/>
              </a:rPr>
              <a:t>® </a:t>
            </a:r>
            <a:br>
              <a:rPr lang="sl-SI" sz="600" baseline="30000" dirty="0">
                <a:solidFill>
                  <a:srgbClr val="000000"/>
                </a:solidFill>
                <a:latin typeface="Verdana Pro Light" panose="020B0304030504040204" pitchFamily="34" charset="0"/>
              </a:rPr>
            </a:br>
            <a:r>
              <a:rPr lang="sl-SI" sz="600" dirty="0" err="1">
                <a:solidFill>
                  <a:srgbClr val="000000"/>
                </a:solidFill>
                <a:latin typeface="Verdana Pro Light" panose="020B0304030504040204" pitchFamily="34" charset="0"/>
              </a:rPr>
              <a:t>Network</a:t>
            </a:r>
            <a:r>
              <a:rPr lang="sl-SI" sz="600" dirty="0">
                <a:solidFill>
                  <a:srgbClr val="000000"/>
                </a:solidFill>
                <a:latin typeface="Verdana Pro Light" panose="020B0304030504040204" pitchFamily="34" charset="0"/>
              </a:rPr>
              <a:t> </a:t>
            </a:r>
            <a:endParaRPr lang="en-US" sz="600" dirty="0">
              <a:solidFill>
                <a:srgbClr val="000000"/>
              </a:solidFill>
              <a:latin typeface="Verdana Pro Light" panose="020B0304030504040204" pitchFamily="34" charset="0"/>
            </a:endParaRPr>
          </a:p>
        </p:txBody>
      </p:sp>
      <p:sp>
        <p:nvSpPr>
          <p:cNvPr id="46" name="TextBox 9">
            <a:extLst>
              <a:ext uri="{FF2B5EF4-FFF2-40B4-BE49-F238E27FC236}">
                <a16:creationId xmlns:a16="http://schemas.microsoft.com/office/drawing/2014/main" id="{56C26BED-1261-6579-FC5F-D1655061C0BD}"/>
              </a:ext>
            </a:extLst>
          </p:cNvPr>
          <p:cNvSpPr txBox="1"/>
          <p:nvPr/>
        </p:nvSpPr>
        <p:spPr>
          <a:xfrm>
            <a:off x="615149" y="2625142"/>
            <a:ext cx="793832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 defTabSz="685783">
              <a:spcAft>
                <a:spcPts val="300"/>
              </a:spcAft>
              <a:defRPr/>
            </a:pPr>
            <a:r>
              <a:rPr lang="sl-SI" sz="600" dirty="0" err="1">
                <a:solidFill>
                  <a:prstClr val="white"/>
                </a:solidFill>
                <a:latin typeface="Verdana Pro Light" panose="020B0304030504040204" pitchFamily="34" charset="0"/>
              </a:rPr>
              <a:t>Heating</a:t>
            </a:r>
            <a:r>
              <a:rPr lang="sl-SI" sz="600" dirty="0">
                <a:solidFill>
                  <a:prstClr val="white"/>
                </a:solidFill>
                <a:latin typeface="Verdana Pro Light" panose="020B0304030504040204" pitchFamily="34" charset="0"/>
              </a:rPr>
              <a:t> </a:t>
            </a:r>
            <a:br>
              <a:rPr lang="sl-SI" sz="600" dirty="0">
                <a:solidFill>
                  <a:prstClr val="white"/>
                </a:solidFill>
                <a:latin typeface="Verdana Pro Light" panose="020B0304030504040204" pitchFamily="34" charset="0"/>
              </a:rPr>
            </a:br>
            <a:r>
              <a:rPr lang="sl-SI" sz="600" dirty="0" err="1">
                <a:solidFill>
                  <a:prstClr val="white"/>
                </a:solidFill>
                <a:latin typeface="Verdana Pro Light" panose="020B0304030504040204" pitchFamily="34" charset="0"/>
              </a:rPr>
              <a:t>production</a:t>
            </a:r>
            <a:endParaRPr lang="en-US" sz="600" dirty="0">
              <a:solidFill>
                <a:prstClr val="white"/>
              </a:solidFill>
              <a:latin typeface="Verdana Pro Light" panose="020B0304030504040204" pitchFamily="34" charset="0"/>
            </a:endParaRPr>
          </a:p>
        </p:txBody>
      </p:sp>
      <p:sp>
        <p:nvSpPr>
          <p:cNvPr id="47" name="TextBox 9">
            <a:extLst>
              <a:ext uri="{FF2B5EF4-FFF2-40B4-BE49-F238E27FC236}">
                <a16:creationId xmlns:a16="http://schemas.microsoft.com/office/drawing/2014/main" id="{51350A42-B943-B634-C6B1-A6F41C8545DE}"/>
              </a:ext>
            </a:extLst>
          </p:cNvPr>
          <p:cNvSpPr txBox="1"/>
          <p:nvPr/>
        </p:nvSpPr>
        <p:spPr>
          <a:xfrm>
            <a:off x="3348162" y="2631934"/>
            <a:ext cx="793832" cy="9233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 defTabSz="685783">
              <a:spcAft>
                <a:spcPts val="300"/>
              </a:spcAft>
              <a:defRPr/>
            </a:pPr>
            <a:r>
              <a:rPr lang="sl-SI" sz="600" dirty="0" err="1">
                <a:solidFill>
                  <a:srgbClr val="000000"/>
                </a:solidFill>
                <a:latin typeface="Verdana Pro Light" panose="020B0304030504040204" pitchFamily="34" charset="0"/>
              </a:rPr>
              <a:t>Villa</a:t>
            </a:r>
            <a:r>
              <a:rPr lang="sl-SI" sz="600" dirty="0">
                <a:solidFill>
                  <a:srgbClr val="000000"/>
                </a:solidFill>
                <a:latin typeface="Verdana Pro Light" panose="020B0304030504040204" pitchFamily="34" charset="0"/>
              </a:rPr>
              <a:t> </a:t>
            </a:r>
            <a:r>
              <a:rPr lang="sl-SI" sz="600" dirty="0" err="1">
                <a:solidFill>
                  <a:srgbClr val="000000"/>
                </a:solidFill>
                <a:latin typeface="Verdana Pro Light" panose="020B0304030504040204" pitchFamily="34" charset="0"/>
              </a:rPr>
              <a:t>substation</a:t>
            </a:r>
            <a:endParaRPr lang="en-US" sz="600" dirty="0">
              <a:solidFill>
                <a:srgbClr val="000000"/>
              </a:solidFill>
              <a:latin typeface="Verdana Pro Light" panose="020B0304030504040204" pitchFamily="34" charset="0"/>
            </a:endParaRPr>
          </a:p>
        </p:txBody>
      </p:sp>
      <p:sp>
        <p:nvSpPr>
          <p:cNvPr id="48" name="TextBox 9">
            <a:extLst>
              <a:ext uri="{FF2B5EF4-FFF2-40B4-BE49-F238E27FC236}">
                <a16:creationId xmlns:a16="http://schemas.microsoft.com/office/drawing/2014/main" id="{1DAE5CF7-E347-25B7-F70D-8AC0A06466C6}"/>
              </a:ext>
            </a:extLst>
          </p:cNvPr>
          <p:cNvSpPr txBox="1"/>
          <p:nvPr/>
        </p:nvSpPr>
        <p:spPr>
          <a:xfrm>
            <a:off x="5259368" y="2625142"/>
            <a:ext cx="793832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 defTabSz="685783">
              <a:spcAft>
                <a:spcPts val="300"/>
              </a:spcAft>
              <a:defRPr/>
            </a:pPr>
            <a:r>
              <a:rPr lang="sl-SI" sz="600" dirty="0" err="1">
                <a:solidFill>
                  <a:srgbClr val="000000"/>
                </a:solidFill>
                <a:latin typeface="Verdana Pro Light" panose="020B0304030504040204" pitchFamily="34" charset="0"/>
              </a:rPr>
              <a:t>Multi-family</a:t>
            </a:r>
            <a:r>
              <a:rPr lang="sl-SI" sz="600" dirty="0">
                <a:solidFill>
                  <a:srgbClr val="000000"/>
                </a:solidFill>
                <a:latin typeface="Verdana Pro Light" panose="020B0304030504040204" pitchFamily="34" charset="0"/>
              </a:rPr>
              <a:t> </a:t>
            </a:r>
            <a:br>
              <a:rPr lang="sl-SI" sz="600" dirty="0">
                <a:solidFill>
                  <a:srgbClr val="000000"/>
                </a:solidFill>
                <a:latin typeface="Verdana Pro Light" panose="020B0304030504040204" pitchFamily="34" charset="0"/>
              </a:rPr>
            </a:br>
            <a:r>
              <a:rPr lang="sl-SI" sz="600" dirty="0" err="1">
                <a:solidFill>
                  <a:srgbClr val="000000"/>
                </a:solidFill>
                <a:latin typeface="Verdana Pro Light" panose="020B0304030504040204" pitchFamily="34" charset="0"/>
              </a:rPr>
              <a:t>substation</a:t>
            </a:r>
            <a:endParaRPr lang="en-US" sz="600" dirty="0">
              <a:solidFill>
                <a:srgbClr val="000000"/>
              </a:solidFill>
              <a:latin typeface="Verdana Pro Light" panose="020B0304030504040204" pitchFamily="34" charset="0"/>
            </a:endParaRPr>
          </a:p>
        </p:txBody>
      </p:sp>
      <p:sp>
        <p:nvSpPr>
          <p:cNvPr id="49" name="TextBox 9">
            <a:extLst>
              <a:ext uri="{FF2B5EF4-FFF2-40B4-BE49-F238E27FC236}">
                <a16:creationId xmlns:a16="http://schemas.microsoft.com/office/drawing/2014/main" id="{841B37BF-58FD-2FC3-FC47-1FA3A2CF6946}"/>
              </a:ext>
            </a:extLst>
          </p:cNvPr>
          <p:cNvSpPr txBox="1"/>
          <p:nvPr/>
        </p:nvSpPr>
        <p:spPr>
          <a:xfrm>
            <a:off x="6053201" y="1822445"/>
            <a:ext cx="793832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 defTabSz="685783">
              <a:spcAft>
                <a:spcPts val="300"/>
              </a:spcAft>
              <a:defRPr/>
            </a:pPr>
            <a:r>
              <a:rPr lang="sl-SI" sz="600" dirty="0" err="1">
                <a:solidFill>
                  <a:srgbClr val="000000"/>
                </a:solidFill>
                <a:latin typeface="Verdana Pro Light" panose="020B0304030504040204" pitchFamily="34" charset="0"/>
              </a:rPr>
              <a:t>Micro</a:t>
            </a:r>
            <a:r>
              <a:rPr lang="sl-SI" sz="600" dirty="0">
                <a:solidFill>
                  <a:srgbClr val="000000"/>
                </a:solidFill>
                <a:latin typeface="Verdana Pro Light" panose="020B0304030504040204" pitchFamily="34" charset="0"/>
              </a:rPr>
              <a:t> Plate™ </a:t>
            </a:r>
            <a:br>
              <a:rPr lang="sl-SI" sz="600" dirty="0">
                <a:solidFill>
                  <a:srgbClr val="000000"/>
                </a:solidFill>
                <a:latin typeface="Verdana Pro Light" panose="020B0304030504040204" pitchFamily="34" charset="0"/>
              </a:rPr>
            </a:br>
            <a:r>
              <a:rPr lang="sl-SI" sz="600" dirty="0" err="1">
                <a:solidFill>
                  <a:srgbClr val="000000"/>
                </a:solidFill>
                <a:latin typeface="Verdana Pro Light" panose="020B0304030504040204" pitchFamily="34" charset="0"/>
              </a:rPr>
              <a:t>heat</a:t>
            </a:r>
            <a:r>
              <a:rPr lang="sl-SI" sz="600" dirty="0">
                <a:solidFill>
                  <a:srgbClr val="000000"/>
                </a:solidFill>
                <a:latin typeface="Verdana Pro Light" panose="020B0304030504040204" pitchFamily="34" charset="0"/>
              </a:rPr>
              <a:t> </a:t>
            </a:r>
            <a:r>
              <a:rPr lang="sl-SI" sz="600" dirty="0" err="1">
                <a:solidFill>
                  <a:srgbClr val="000000"/>
                </a:solidFill>
                <a:latin typeface="Verdana Pro Light" panose="020B0304030504040204" pitchFamily="34" charset="0"/>
              </a:rPr>
              <a:t>exchanger</a:t>
            </a:r>
            <a:endParaRPr lang="en-US" sz="600" dirty="0">
              <a:solidFill>
                <a:srgbClr val="000000"/>
              </a:solidFill>
              <a:latin typeface="Verdana Pro Light" panose="020B0304030504040204" pitchFamily="34" charset="0"/>
            </a:endParaRPr>
          </a:p>
        </p:txBody>
      </p:sp>
      <p:sp>
        <p:nvSpPr>
          <p:cNvPr id="50" name="TextBox 9">
            <a:extLst>
              <a:ext uri="{FF2B5EF4-FFF2-40B4-BE49-F238E27FC236}">
                <a16:creationId xmlns:a16="http://schemas.microsoft.com/office/drawing/2014/main" id="{F1EE286D-44D7-01B1-5C26-B3DF389D839B}"/>
              </a:ext>
            </a:extLst>
          </p:cNvPr>
          <p:cNvSpPr txBox="1"/>
          <p:nvPr/>
        </p:nvSpPr>
        <p:spPr>
          <a:xfrm>
            <a:off x="6847033" y="1826821"/>
            <a:ext cx="793832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 defTabSz="685783">
              <a:spcAft>
                <a:spcPts val="300"/>
              </a:spcAft>
              <a:defRPr/>
            </a:pPr>
            <a:r>
              <a:rPr lang="sl-SI" sz="600" dirty="0" err="1">
                <a:solidFill>
                  <a:srgbClr val="000000"/>
                </a:solidFill>
                <a:latin typeface="Verdana Pro Light" panose="020B0304030504040204" pitchFamily="34" charset="0"/>
              </a:rPr>
              <a:t>Sono</a:t>
            </a:r>
            <a:r>
              <a:rPr lang="sl-SI" sz="600" baseline="30000" dirty="0">
                <a:solidFill>
                  <a:srgbClr val="000000"/>
                </a:solidFill>
                <a:latin typeface="Verdana Pro Light" panose="020B0304030504040204" pitchFamily="34" charset="0"/>
              </a:rPr>
              <a:t>®</a:t>
            </a:r>
            <a:r>
              <a:rPr lang="sl-SI" sz="600" dirty="0">
                <a:solidFill>
                  <a:srgbClr val="000000"/>
                </a:solidFill>
                <a:latin typeface="Verdana Pro Light" panose="020B0304030504040204" pitchFamily="34" charset="0"/>
              </a:rPr>
              <a:t> </a:t>
            </a:r>
            <a:r>
              <a:rPr lang="sl-SI" sz="600" dirty="0" err="1">
                <a:solidFill>
                  <a:srgbClr val="000000"/>
                </a:solidFill>
                <a:latin typeface="Verdana Pro Light" panose="020B0304030504040204" pitchFamily="34" charset="0"/>
              </a:rPr>
              <a:t>ultrasonic</a:t>
            </a:r>
            <a:br>
              <a:rPr lang="sl-SI" sz="600" dirty="0">
                <a:solidFill>
                  <a:srgbClr val="000000"/>
                </a:solidFill>
                <a:latin typeface="Verdana Pro Light" panose="020B0304030504040204" pitchFamily="34" charset="0"/>
              </a:rPr>
            </a:br>
            <a:r>
              <a:rPr lang="sl-SI" sz="600" dirty="0" err="1">
                <a:solidFill>
                  <a:srgbClr val="000000"/>
                </a:solidFill>
                <a:latin typeface="Verdana Pro Light" panose="020B0304030504040204" pitchFamily="34" charset="0"/>
              </a:rPr>
              <a:t>energy</a:t>
            </a:r>
            <a:r>
              <a:rPr lang="sl-SI" sz="600" dirty="0">
                <a:solidFill>
                  <a:srgbClr val="000000"/>
                </a:solidFill>
                <a:latin typeface="Verdana Pro Light" panose="020B0304030504040204" pitchFamily="34" charset="0"/>
              </a:rPr>
              <a:t> meter</a:t>
            </a:r>
            <a:endParaRPr lang="en-US" sz="600" dirty="0">
              <a:solidFill>
                <a:srgbClr val="000000"/>
              </a:solidFill>
              <a:latin typeface="Verdana Pro Light" panose="020B0304030504040204" pitchFamily="34" charset="0"/>
            </a:endParaRPr>
          </a:p>
        </p:txBody>
      </p:sp>
      <p:sp>
        <p:nvSpPr>
          <p:cNvPr id="51" name="TextBox 9">
            <a:extLst>
              <a:ext uri="{FF2B5EF4-FFF2-40B4-BE49-F238E27FC236}">
                <a16:creationId xmlns:a16="http://schemas.microsoft.com/office/drawing/2014/main" id="{14BB56A1-B82D-5012-4D35-483489CAC3F0}"/>
              </a:ext>
            </a:extLst>
          </p:cNvPr>
          <p:cNvSpPr txBox="1"/>
          <p:nvPr/>
        </p:nvSpPr>
        <p:spPr>
          <a:xfrm>
            <a:off x="6847033" y="2625142"/>
            <a:ext cx="793832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 defTabSz="685783">
              <a:spcAft>
                <a:spcPts val="300"/>
              </a:spcAft>
              <a:defRPr/>
            </a:pPr>
            <a:r>
              <a:rPr lang="sl-SI" sz="600" dirty="0" err="1">
                <a:solidFill>
                  <a:srgbClr val="000000"/>
                </a:solidFill>
                <a:latin typeface="Verdana Pro Light" panose="020B0304030504040204" pitchFamily="34" charset="0"/>
              </a:rPr>
              <a:t>Commercial</a:t>
            </a:r>
            <a:r>
              <a:rPr lang="sl-SI" sz="600" dirty="0">
                <a:solidFill>
                  <a:srgbClr val="000000"/>
                </a:solidFill>
                <a:latin typeface="Verdana Pro Light" panose="020B0304030504040204" pitchFamily="34" charset="0"/>
              </a:rPr>
              <a:t> </a:t>
            </a:r>
            <a:br>
              <a:rPr lang="sl-SI" sz="600" dirty="0">
                <a:solidFill>
                  <a:srgbClr val="000000"/>
                </a:solidFill>
                <a:latin typeface="Verdana Pro Light" panose="020B0304030504040204" pitchFamily="34" charset="0"/>
              </a:rPr>
            </a:br>
            <a:r>
              <a:rPr lang="sl-SI" sz="600" dirty="0" err="1">
                <a:solidFill>
                  <a:srgbClr val="000000"/>
                </a:solidFill>
                <a:latin typeface="Verdana Pro Light" panose="020B0304030504040204" pitchFamily="34" charset="0"/>
              </a:rPr>
              <a:t>building</a:t>
            </a:r>
            <a:r>
              <a:rPr lang="sl-SI" sz="600" dirty="0">
                <a:solidFill>
                  <a:srgbClr val="000000"/>
                </a:solidFill>
                <a:latin typeface="Verdana Pro Light" panose="020B0304030504040204" pitchFamily="34" charset="0"/>
              </a:rPr>
              <a:t> </a:t>
            </a:r>
            <a:r>
              <a:rPr lang="sl-SI" sz="600" dirty="0" err="1">
                <a:solidFill>
                  <a:srgbClr val="000000"/>
                </a:solidFill>
                <a:latin typeface="Verdana Pro Light" panose="020B0304030504040204" pitchFamily="34" charset="0"/>
              </a:rPr>
              <a:t>substation</a:t>
            </a:r>
            <a:endParaRPr lang="en-US" sz="600" dirty="0">
              <a:solidFill>
                <a:srgbClr val="000000"/>
              </a:solidFill>
              <a:latin typeface="Verdana Pro Light" panose="020B0304030504040204" pitchFamily="34" charset="0"/>
            </a:endParaRPr>
          </a:p>
        </p:txBody>
      </p:sp>
      <p:sp>
        <p:nvSpPr>
          <p:cNvPr id="53" name="TextBox 9">
            <a:extLst>
              <a:ext uri="{FF2B5EF4-FFF2-40B4-BE49-F238E27FC236}">
                <a16:creationId xmlns:a16="http://schemas.microsoft.com/office/drawing/2014/main" id="{E50050E1-1FEB-C70C-8E74-1F15DE3075C4}"/>
              </a:ext>
            </a:extLst>
          </p:cNvPr>
          <p:cNvSpPr txBox="1"/>
          <p:nvPr/>
        </p:nvSpPr>
        <p:spPr>
          <a:xfrm>
            <a:off x="6847033" y="1037478"/>
            <a:ext cx="793832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 defTabSz="685783">
              <a:spcAft>
                <a:spcPts val="300"/>
              </a:spcAft>
              <a:defRPr/>
            </a:pPr>
            <a:r>
              <a:rPr lang="sl-SI" sz="600" dirty="0">
                <a:solidFill>
                  <a:srgbClr val="000000"/>
                </a:solidFill>
                <a:latin typeface="Verdana Pro Light" panose="020B0304030504040204" pitchFamily="34" charset="0"/>
              </a:rPr>
              <a:t>ECL </a:t>
            </a:r>
            <a:r>
              <a:rPr lang="sl-SI" sz="600" dirty="0" err="1">
                <a:solidFill>
                  <a:srgbClr val="000000"/>
                </a:solidFill>
                <a:latin typeface="Verdana Pro Light" panose="020B0304030504040204" pitchFamily="34" charset="0"/>
              </a:rPr>
              <a:t>Comfort</a:t>
            </a:r>
            <a:r>
              <a:rPr lang="sl-SI" sz="600" dirty="0">
                <a:solidFill>
                  <a:srgbClr val="000000"/>
                </a:solidFill>
                <a:latin typeface="Verdana Pro Light" panose="020B0304030504040204" pitchFamily="34" charset="0"/>
              </a:rPr>
              <a:t> </a:t>
            </a:r>
            <a:br>
              <a:rPr lang="sl-SI" sz="600" dirty="0">
                <a:solidFill>
                  <a:srgbClr val="000000"/>
                </a:solidFill>
                <a:latin typeface="Verdana Pro Light" panose="020B0304030504040204" pitchFamily="34" charset="0"/>
              </a:rPr>
            </a:br>
            <a:r>
              <a:rPr lang="sl-SI" sz="600" dirty="0" err="1">
                <a:solidFill>
                  <a:srgbClr val="000000"/>
                </a:solidFill>
                <a:latin typeface="Verdana Pro Light" panose="020B0304030504040204" pitchFamily="34" charset="0"/>
              </a:rPr>
              <a:t>controller</a:t>
            </a:r>
            <a:endParaRPr lang="en-US" sz="600" dirty="0">
              <a:solidFill>
                <a:srgbClr val="000000"/>
              </a:solidFill>
              <a:latin typeface="Verdana Pro Light" panose="020B0304030504040204" pitchFamily="34" charset="0"/>
            </a:endParaRPr>
          </a:p>
        </p:txBody>
      </p:sp>
      <p:sp>
        <p:nvSpPr>
          <p:cNvPr id="54" name="TextBox 9">
            <a:extLst>
              <a:ext uri="{FF2B5EF4-FFF2-40B4-BE49-F238E27FC236}">
                <a16:creationId xmlns:a16="http://schemas.microsoft.com/office/drawing/2014/main" id="{52F61D23-F01F-120D-D1A0-57D304A15CDF}"/>
              </a:ext>
            </a:extLst>
          </p:cNvPr>
          <p:cNvSpPr txBox="1"/>
          <p:nvPr/>
        </p:nvSpPr>
        <p:spPr>
          <a:xfrm>
            <a:off x="6847033" y="243645"/>
            <a:ext cx="793832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 defTabSz="685783">
              <a:spcAft>
                <a:spcPts val="300"/>
              </a:spcAft>
              <a:defRPr/>
            </a:pPr>
            <a:r>
              <a:rPr lang="sl-SI" sz="600" dirty="0" err="1">
                <a:solidFill>
                  <a:srgbClr val="000000"/>
                </a:solidFill>
                <a:latin typeface="Verdana Pro Light" panose="020B0304030504040204" pitchFamily="34" charset="0"/>
              </a:rPr>
              <a:t>Leanheat</a:t>
            </a:r>
            <a:r>
              <a:rPr lang="sl-SI" sz="600" baseline="30000" dirty="0">
                <a:solidFill>
                  <a:srgbClr val="000000"/>
                </a:solidFill>
                <a:latin typeface="Verdana Pro Light" panose="020B0304030504040204" pitchFamily="34" charset="0"/>
              </a:rPr>
              <a:t>®</a:t>
            </a:r>
            <a:r>
              <a:rPr lang="sl-SI" sz="600" dirty="0">
                <a:solidFill>
                  <a:srgbClr val="000000"/>
                </a:solidFill>
                <a:latin typeface="Verdana Pro Light" panose="020B0304030504040204" pitchFamily="34" charset="0"/>
              </a:rPr>
              <a:t> </a:t>
            </a:r>
            <a:br>
              <a:rPr lang="sl-SI" sz="600" dirty="0">
                <a:solidFill>
                  <a:srgbClr val="000000"/>
                </a:solidFill>
                <a:latin typeface="Verdana Pro Light" panose="020B0304030504040204" pitchFamily="34" charset="0"/>
              </a:rPr>
            </a:br>
            <a:r>
              <a:rPr lang="sl-SI" sz="600" dirty="0">
                <a:solidFill>
                  <a:srgbClr val="000000"/>
                </a:solidFill>
                <a:latin typeface="Verdana Pro Light" panose="020B0304030504040204" pitchFamily="34" charset="0"/>
              </a:rPr>
              <a:t>Monitor</a:t>
            </a:r>
            <a:endParaRPr lang="en-US" sz="600" dirty="0">
              <a:solidFill>
                <a:srgbClr val="000000"/>
              </a:solidFill>
              <a:latin typeface="Verdana Pro Light" panose="020B0304030504040204" pitchFamily="34" charset="0"/>
            </a:endParaRPr>
          </a:p>
        </p:txBody>
      </p:sp>
      <p:sp>
        <p:nvSpPr>
          <p:cNvPr id="55" name="TextBox 9">
            <a:extLst>
              <a:ext uri="{FF2B5EF4-FFF2-40B4-BE49-F238E27FC236}">
                <a16:creationId xmlns:a16="http://schemas.microsoft.com/office/drawing/2014/main" id="{6C509612-2FE2-A113-3E04-2286EFB48F90}"/>
              </a:ext>
            </a:extLst>
          </p:cNvPr>
          <p:cNvSpPr txBox="1"/>
          <p:nvPr/>
        </p:nvSpPr>
        <p:spPr>
          <a:xfrm>
            <a:off x="7640865" y="1814679"/>
            <a:ext cx="793832" cy="2769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 defTabSz="685783">
              <a:spcAft>
                <a:spcPts val="300"/>
              </a:spcAft>
              <a:defRPr/>
            </a:pPr>
            <a:r>
              <a:rPr lang="en-GB" sz="600" dirty="0">
                <a:solidFill>
                  <a:srgbClr val="000000"/>
                </a:solidFill>
                <a:latin typeface="Verdana Pro Light" panose="020B0304030504040204" pitchFamily="34" charset="0"/>
              </a:rPr>
              <a:t>Virtus heavy-duty pressure and flow controller</a:t>
            </a:r>
            <a:endParaRPr lang="en-US" sz="600" dirty="0">
              <a:solidFill>
                <a:srgbClr val="000000"/>
              </a:solidFill>
              <a:latin typeface="Verdana Pro Light" panose="020B0304030504040204" pitchFamily="34" charset="0"/>
            </a:endParaRPr>
          </a:p>
        </p:txBody>
      </p:sp>
      <p:pic>
        <p:nvPicPr>
          <p:cNvPr id="61" name="Picture 60">
            <a:extLst>
              <a:ext uri="{FF2B5EF4-FFF2-40B4-BE49-F238E27FC236}">
                <a16:creationId xmlns:a16="http://schemas.microsoft.com/office/drawing/2014/main" id="{D575F81B-C366-5F66-64CB-DE4ACF6DFC1A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929" b="22422"/>
          <a:stretch/>
        </p:blipFill>
        <p:spPr>
          <a:xfrm>
            <a:off x="300731" y="2045584"/>
            <a:ext cx="1426257" cy="526166"/>
          </a:xfrm>
          <a:prstGeom prst="rect">
            <a:avLst/>
          </a:prstGeom>
        </p:spPr>
      </p:pic>
      <p:pic>
        <p:nvPicPr>
          <p:cNvPr id="63" name="Picture 62">
            <a:extLst>
              <a:ext uri="{FF2B5EF4-FFF2-40B4-BE49-F238E27FC236}">
                <a16:creationId xmlns:a16="http://schemas.microsoft.com/office/drawing/2014/main" id="{C514DB92-FB32-74CE-DFF4-FE8DCAC6C430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102" b="22586"/>
          <a:stretch/>
        </p:blipFill>
        <p:spPr>
          <a:xfrm>
            <a:off x="1085201" y="2839417"/>
            <a:ext cx="1435620" cy="526166"/>
          </a:xfrm>
          <a:prstGeom prst="rect">
            <a:avLst/>
          </a:prstGeom>
        </p:spPr>
      </p:pic>
      <p:pic>
        <p:nvPicPr>
          <p:cNvPr id="65" name="Graphic 64">
            <a:extLst>
              <a:ext uri="{FF2B5EF4-FFF2-40B4-BE49-F238E27FC236}">
                <a16:creationId xmlns:a16="http://schemas.microsoft.com/office/drawing/2014/main" id="{C70B2FB4-A346-AFA8-3CEA-5765514AF6B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547480" y="2049474"/>
            <a:ext cx="503290" cy="472601"/>
          </a:xfrm>
          <a:prstGeom prst="rect">
            <a:avLst/>
          </a:prstGeom>
        </p:spPr>
      </p:pic>
      <p:pic>
        <p:nvPicPr>
          <p:cNvPr id="67" name="Graphic 66">
            <a:extLst>
              <a:ext uri="{FF2B5EF4-FFF2-40B4-BE49-F238E27FC236}">
                <a16:creationId xmlns:a16="http://schemas.microsoft.com/office/drawing/2014/main" id="{88670E6D-08DE-259C-9EB3-BDD766220F3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70001" y="2916919"/>
            <a:ext cx="693663" cy="369521"/>
          </a:xfrm>
          <a:prstGeom prst="rect">
            <a:avLst/>
          </a:prstGeom>
        </p:spPr>
      </p:pic>
      <p:pic>
        <p:nvPicPr>
          <p:cNvPr id="71" name="Picture 70">
            <a:extLst>
              <a:ext uri="{FF2B5EF4-FFF2-40B4-BE49-F238E27FC236}">
                <a16:creationId xmlns:a16="http://schemas.microsoft.com/office/drawing/2014/main" id="{65197137-5658-03A3-CEBB-87F9B7BD5BBA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2603" y="2752638"/>
            <a:ext cx="962082" cy="641388"/>
          </a:xfrm>
          <a:prstGeom prst="rect">
            <a:avLst/>
          </a:prstGeom>
        </p:spPr>
      </p:pic>
      <p:pic>
        <p:nvPicPr>
          <p:cNvPr id="73" name="Picture 72">
            <a:extLst>
              <a:ext uri="{FF2B5EF4-FFF2-40B4-BE49-F238E27FC236}">
                <a16:creationId xmlns:a16="http://schemas.microsoft.com/office/drawing/2014/main" id="{770831E9-A12F-0E0F-4DC2-3D79058386DD}"/>
              </a:ext>
            </a:extLst>
          </p:cNvPr>
          <p:cNvPicPr>
            <a:picLocks noChangeAspect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531"/>
          <a:stretch/>
        </p:blipFill>
        <p:spPr>
          <a:xfrm>
            <a:off x="6653340" y="457878"/>
            <a:ext cx="1193777" cy="652046"/>
          </a:xfrm>
          <a:prstGeom prst="rect">
            <a:avLst/>
          </a:prstGeom>
        </p:spPr>
      </p:pic>
      <p:pic>
        <p:nvPicPr>
          <p:cNvPr id="75" name="Picture 74">
            <a:extLst>
              <a:ext uri="{FF2B5EF4-FFF2-40B4-BE49-F238E27FC236}">
                <a16:creationId xmlns:a16="http://schemas.microsoft.com/office/drawing/2014/main" id="{8D271C2D-D72C-CBDF-5C91-34EB256DD1A7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65056" y="2066905"/>
            <a:ext cx="757784" cy="463145"/>
          </a:xfrm>
          <a:prstGeom prst="rect">
            <a:avLst/>
          </a:prstGeom>
        </p:spPr>
      </p:pic>
      <p:pic>
        <p:nvPicPr>
          <p:cNvPr id="77" name="Picture 76">
            <a:extLst>
              <a:ext uri="{FF2B5EF4-FFF2-40B4-BE49-F238E27FC236}">
                <a16:creationId xmlns:a16="http://schemas.microsoft.com/office/drawing/2014/main" id="{3E5A8480-6B79-1A35-E2E7-5DD4BBE643D4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5016" y="2084817"/>
            <a:ext cx="365528" cy="523187"/>
          </a:xfrm>
          <a:prstGeom prst="rect">
            <a:avLst/>
          </a:prstGeom>
        </p:spPr>
      </p:pic>
      <p:pic>
        <p:nvPicPr>
          <p:cNvPr id="79" name="Picture 78">
            <a:extLst>
              <a:ext uri="{FF2B5EF4-FFF2-40B4-BE49-F238E27FC236}">
                <a16:creationId xmlns:a16="http://schemas.microsoft.com/office/drawing/2014/main" id="{53675443-6832-8253-9C4C-26312AE2FCE4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17120" y="2814343"/>
            <a:ext cx="878326" cy="584714"/>
          </a:xfrm>
          <a:prstGeom prst="rect">
            <a:avLst/>
          </a:prstGeom>
        </p:spPr>
      </p:pic>
      <p:pic>
        <p:nvPicPr>
          <p:cNvPr id="83" name="Picture 82">
            <a:extLst>
              <a:ext uri="{FF2B5EF4-FFF2-40B4-BE49-F238E27FC236}">
                <a16:creationId xmlns:a16="http://schemas.microsoft.com/office/drawing/2014/main" id="{55A7044F-F1E6-B706-3825-EE9F4904D9A3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77484" y="2045585"/>
            <a:ext cx="158375" cy="505786"/>
          </a:xfrm>
          <a:prstGeom prst="rect">
            <a:avLst/>
          </a:prstGeom>
        </p:spPr>
      </p:pic>
      <p:pic>
        <p:nvPicPr>
          <p:cNvPr id="89" name="Graphic 88">
            <a:extLst>
              <a:ext uri="{FF2B5EF4-FFF2-40B4-BE49-F238E27FC236}">
                <a16:creationId xmlns:a16="http://schemas.microsoft.com/office/drawing/2014/main" id="{48A26D3A-EFAF-E13A-04D1-E56475AC3BE5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6735179" y="2819373"/>
            <a:ext cx="1017539" cy="574653"/>
          </a:xfrm>
          <a:prstGeom prst="rect">
            <a:avLst/>
          </a:prstGeom>
        </p:spPr>
      </p:pic>
      <p:sp>
        <p:nvSpPr>
          <p:cNvPr id="90" name="TextBox 9">
            <a:extLst>
              <a:ext uri="{FF2B5EF4-FFF2-40B4-BE49-F238E27FC236}">
                <a16:creationId xmlns:a16="http://schemas.microsoft.com/office/drawing/2014/main" id="{9409A741-E852-B738-CE58-70B94C355123}"/>
              </a:ext>
            </a:extLst>
          </p:cNvPr>
          <p:cNvSpPr txBox="1"/>
          <p:nvPr/>
        </p:nvSpPr>
        <p:spPr>
          <a:xfrm>
            <a:off x="7640865" y="817913"/>
            <a:ext cx="793832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 defTabSz="685783">
              <a:spcAft>
                <a:spcPts val="300"/>
              </a:spcAft>
              <a:defRPr/>
            </a:pPr>
            <a:r>
              <a:rPr lang="en-GB" sz="450" dirty="0">
                <a:solidFill>
                  <a:prstClr val="white"/>
                </a:solidFill>
                <a:latin typeface="Verdana Pro" panose="020B0604030504040204" pitchFamily="34" charset="0"/>
              </a:rPr>
              <a:t>Scan to visit</a:t>
            </a:r>
            <a:br>
              <a:rPr lang="sl-SI" sz="450" dirty="0">
                <a:solidFill>
                  <a:prstClr val="white"/>
                </a:solidFill>
                <a:latin typeface="Verdana Pro" panose="020B0604030504040204" pitchFamily="34" charset="0"/>
              </a:rPr>
            </a:br>
            <a:r>
              <a:rPr lang="en-GB" sz="450" dirty="0">
                <a:solidFill>
                  <a:prstClr val="white"/>
                </a:solidFill>
                <a:latin typeface="Verdana Pro" panose="020B0604030504040204" pitchFamily="34" charset="0"/>
              </a:rPr>
              <a:t>Leanheat.danfoss.com</a:t>
            </a:r>
            <a:endParaRPr lang="en-US" sz="450" dirty="0">
              <a:solidFill>
                <a:prstClr val="white"/>
              </a:solidFill>
              <a:latin typeface="Verdana Pro" panose="020B0604030504040204" pitchFamily="34" charset="0"/>
            </a:endParaRPr>
          </a:p>
        </p:txBody>
      </p:sp>
      <p:sp>
        <p:nvSpPr>
          <p:cNvPr id="91" name="TextBox 9">
            <a:extLst>
              <a:ext uri="{FF2B5EF4-FFF2-40B4-BE49-F238E27FC236}">
                <a16:creationId xmlns:a16="http://schemas.microsoft.com/office/drawing/2014/main" id="{EF0B2867-760D-5958-39F8-7BB58596ECE0}"/>
              </a:ext>
            </a:extLst>
          </p:cNvPr>
          <p:cNvSpPr txBox="1"/>
          <p:nvPr/>
        </p:nvSpPr>
        <p:spPr>
          <a:xfrm>
            <a:off x="6053200" y="1610804"/>
            <a:ext cx="793832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 defTabSz="685783">
              <a:spcAft>
                <a:spcPts val="300"/>
              </a:spcAft>
              <a:defRPr/>
            </a:pPr>
            <a:r>
              <a:rPr lang="en-GB" sz="450" dirty="0">
                <a:solidFill>
                  <a:prstClr val="white"/>
                </a:solidFill>
                <a:latin typeface="Verdana Pro" panose="020B0604030504040204" pitchFamily="34" charset="0"/>
              </a:rPr>
              <a:t>Scan to visit</a:t>
            </a:r>
            <a:br>
              <a:rPr lang="sl-SI" sz="450" dirty="0">
                <a:solidFill>
                  <a:prstClr val="white"/>
                </a:solidFill>
                <a:latin typeface="Verdana Pro" panose="020B0604030504040204" pitchFamily="34" charset="0"/>
              </a:rPr>
            </a:br>
            <a:r>
              <a:rPr lang="en-GB" sz="450" dirty="0">
                <a:solidFill>
                  <a:prstClr val="white"/>
                </a:solidFill>
                <a:latin typeface="Verdana Pro" panose="020B0604030504040204" pitchFamily="34" charset="0"/>
              </a:rPr>
              <a:t>ECL.danfoss.com</a:t>
            </a:r>
            <a:endParaRPr lang="en-US" sz="450" dirty="0">
              <a:solidFill>
                <a:prstClr val="white"/>
              </a:solidFill>
              <a:latin typeface="Verdana Pro" panose="020B0604030504040204" pitchFamily="34" charset="0"/>
            </a:endParaRPr>
          </a:p>
        </p:txBody>
      </p:sp>
      <p:sp>
        <p:nvSpPr>
          <p:cNvPr id="92" name="TextBox 9">
            <a:extLst>
              <a:ext uri="{FF2B5EF4-FFF2-40B4-BE49-F238E27FC236}">
                <a16:creationId xmlns:a16="http://schemas.microsoft.com/office/drawing/2014/main" id="{2DF7E15A-0094-281B-227F-A9F7A3ED026E}"/>
              </a:ext>
            </a:extLst>
          </p:cNvPr>
          <p:cNvSpPr txBox="1"/>
          <p:nvPr/>
        </p:nvSpPr>
        <p:spPr>
          <a:xfrm>
            <a:off x="6053200" y="3199281"/>
            <a:ext cx="793832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 defTabSz="685783">
              <a:spcAft>
                <a:spcPts val="300"/>
              </a:spcAft>
              <a:defRPr/>
            </a:pPr>
            <a:r>
              <a:rPr lang="en-GB" sz="450" dirty="0">
                <a:solidFill>
                  <a:prstClr val="white"/>
                </a:solidFill>
                <a:latin typeface="Verdana Pro" panose="020B0604030504040204" pitchFamily="34" charset="0"/>
              </a:rPr>
              <a:t>Scan to visit</a:t>
            </a:r>
            <a:br>
              <a:rPr lang="sl-SI" sz="450" dirty="0">
                <a:solidFill>
                  <a:prstClr val="white"/>
                </a:solidFill>
                <a:latin typeface="Verdana Pro" panose="020B0604030504040204" pitchFamily="34" charset="0"/>
              </a:rPr>
            </a:br>
            <a:r>
              <a:rPr lang="en-GB" sz="450" dirty="0">
                <a:solidFill>
                  <a:prstClr val="white"/>
                </a:solidFill>
                <a:latin typeface="Verdana Pro" panose="020B0604030504040204" pitchFamily="34" charset="0"/>
              </a:rPr>
              <a:t>substations.danfoss.com</a:t>
            </a:r>
            <a:endParaRPr lang="en-US" sz="450" dirty="0">
              <a:solidFill>
                <a:prstClr val="white"/>
              </a:solidFill>
              <a:latin typeface="Verdana Pro" panose="020B0604030504040204" pitchFamily="34" charset="0"/>
            </a:endParaRPr>
          </a:p>
        </p:txBody>
      </p:sp>
      <p:pic>
        <p:nvPicPr>
          <p:cNvPr id="94" name="Graphic 93">
            <a:extLst>
              <a:ext uri="{FF2B5EF4-FFF2-40B4-BE49-F238E27FC236}">
                <a16:creationId xmlns:a16="http://schemas.microsoft.com/office/drawing/2014/main" id="{43EB2FD2-8EEA-9EAB-ED18-6D31A1976D5F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7796798" y="291032"/>
            <a:ext cx="484061" cy="484061"/>
          </a:xfrm>
          <a:prstGeom prst="rect">
            <a:avLst/>
          </a:prstGeom>
        </p:spPr>
      </p:pic>
      <p:pic>
        <p:nvPicPr>
          <p:cNvPr id="96" name="Graphic 95">
            <a:extLst>
              <a:ext uri="{FF2B5EF4-FFF2-40B4-BE49-F238E27FC236}">
                <a16:creationId xmlns:a16="http://schemas.microsoft.com/office/drawing/2014/main" id="{5E1BF77F-881D-B799-FBCC-A49AAC038043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6216729" y="1089305"/>
            <a:ext cx="466773" cy="466773"/>
          </a:xfrm>
          <a:prstGeom prst="rect">
            <a:avLst/>
          </a:prstGeom>
        </p:spPr>
      </p:pic>
      <p:pic>
        <p:nvPicPr>
          <p:cNvPr id="98" name="Graphic 97">
            <a:extLst>
              <a:ext uri="{FF2B5EF4-FFF2-40B4-BE49-F238E27FC236}">
                <a16:creationId xmlns:a16="http://schemas.microsoft.com/office/drawing/2014/main" id="{71854CAC-3BAF-A34B-E923-DA46EF525C9C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6204481" y="2684320"/>
            <a:ext cx="484061" cy="484061"/>
          </a:xfrm>
          <a:prstGeom prst="rect">
            <a:avLst/>
          </a:prstGeom>
        </p:spPr>
      </p:pic>
      <p:cxnSp>
        <p:nvCxnSpPr>
          <p:cNvPr id="102" name="Straight Connector 101">
            <a:extLst>
              <a:ext uri="{FF2B5EF4-FFF2-40B4-BE49-F238E27FC236}">
                <a16:creationId xmlns:a16="http://schemas.microsoft.com/office/drawing/2014/main" id="{A9B28644-4298-BA18-C3A5-9B8E9DD98420}"/>
              </a:ext>
            </a:extLst>
          </p:cNvPr>
          <p:cNvCxnSpPr/>
          <p:nvPr/>
        </p:nvCxnSpPr>
        <p:spPr>
          <a:xfrm flipH="1">
            <a:off x="6847032" y="4176712"/>
            <a:ext cx="653906" cy="0"/>
          </a:xfrm>
          <a:prstGeom prst="line">
            <a:avLst/>
          </a:prstGeom>
          <a:ln w="12700">
            <a:solidFill>
              <a:srgbClr val="E2000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Straight Connector 102">
            <a:extLst>
              <a:ext uri="{FF2B5EF4-FFF2-40B4-BE49-F238E27FC236}">
                <a16:creationId xmlns:a16="http://schemas.microsoft.com/office/drawing/2014/main" id="{D57412A0-AE65-6CE5-62C4-F25BBD444C8A}"/>
              </a:ext>
            </a:extLst>
          </p:cNvPr>
          <p:cNvCxnSpPr>
            <a:cxnSpLocks/>
          </p:cNvCxnSpPr>
          <p:nvPr/>
        </p:nvCxnSpPr>
        <p:spPr>
          <a:xfrm flipH="1">
            <a:off x="6847033" y="3382880"/>
            <a:ext cx="793832" cy="0"/>
          </a:xfrm>
          <a:prstGeom prst="line">
            <a:avLst/>
          </a:prstGeom>
          <a:ln w="12700">
            <a:solidFill>
              <a:srgbClr val="E2000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Connector 110">
            <a:extLst>
              <a:ext uri="{FF2B5EF4-FFF2-40B4-BE49-F238E27FC236}">
                <a16:creationId xmlns:a16="http://schemas.microsoft.com/office/drawing/2014/main" id="{83D19AAC-A8CD-2538-3D11-D03802A6C0B3}"/>
              </a:ext>
            </a:extLst>
          </p:cNvPr>
          <p:cNvCxnSpPr>
            <a:cxnSpLocks/>
          </p:cNvCxnSpPr>
          <p:nvPr/>
        </p:nvCxnSpPr>
        <p:spPr>
          <a:xfrm flipV="1">
            <a:off x="6847032" y="1001383"/>
            <a:ext cx="0" cy="3175329"/>
          </a:xfrm>
          <a:prstGeom prst="line">
            <a:avLst/>
          </a:prstGeom>
          <a:ln w="12700">
            <a:solidFill>
              <a:srgbClr val="E2000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Straight Connector 118">
            <a:extLst>
              <a:ext uri="{FF2B5EF4-FFF2-40B4-BE49-F238E27FC236}">
                <a16:creationId xmlns:a16="http://schemas.microsoft.com/office/drawing/2014/main" id="{1E2B683B-9342-C992-7A55-8D77BE34521F}"/>
              </a:ext>
            </a:extLst>
          </p:cNvPr>
          <p:cNvCxnSpPr>
            <a:cxnSpLocks/>
          </p:cNvCxnSpPr>
          <p:nvPr/>
        </p:nvCxnSpPr>
        <p:spPr>
          <a:xfrm flipH="1">
            <a:off x="6847032" y="1001383"/>
            <a:ext cx="1587665" cy="0"/>
          </a:xfrm>
          <a:prstGeom prst="line">
            <a:avLst/>
          </a:prstGeom>
          <a:ln w="12700">
            <a:solidFill>
              <a:srgbClr val="E2000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Straight Connector 123">
            <a:extLst>
              <a:ext uri="{FF2B5EF4-FFF2-40B4-BE49-F238E27FC236}">
                <a16:creationId xmlns:a16="http://schemas.microsoft.com/office/drawing/2014/main" id="{F95AB106-6FFE-7F2D-F1F6-AF5940DD4416}"/>
              </a:ext>
            </a:extLst>
          </p:cNvPr>
          <p:cNvCxnSpPr>
            <a:cxnSpLocks/>
          </p:cNvCxnSpPr>
          <p:nvPr/>
        </p:nvCxnSpPr>
        <p:spPr>
          <a:xfrm flipH="1">
            <a:off x="6847032" y="2590305"/>
            <a:ext cx="1587665" cy="0"/>
          </a:xfrm>
          <a:prstGeom prst="line">
            <a:avLst/>
          </a:prstGeom>
          <a:ln w="12700">
            <a:solidFill>
              <a:srgbClr val="E2000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3" name="Picture 132">
            <a:extLst>
              <a:ext uri="{FF2B5EF4-FFF2-40B4-BE49-F238E27FC236}">
                <a16:creationId xmlns:a16="http://schemas.microsoft.com/office/drawing/2014/main" id="{5D2FB57D-1ABB-CDF6-FBEC-A58EE403308B}"/>
              </a:ext>
            </a:extLst>
          </p:cNvPr>
          <p:cNvPicPr>
            <a:picLocks noChangeAspect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24713" y="1241359"/>
            <a:ext cx="673906" cy="448628"/>
          </a:xfrm>
          <a:prstGeom prst="rect">
            <a:avLst/>
          </a:prstGeom>
        </p:spPr>
      </p:pic>
      <p:pic>
        <p:nvPicPr>
          <p:cNvPr id="21" name="Grafik 20">
            <a:extLst>
              <a:ext uri="{FF2B5EF4-FFF2-40B4-BE49-F238E27FC236}">
                <a16:creationId xmlns:a16="http://schemas.microsoft.com/office/drawing/2014/main" id="{19526B84-6AE3-47A9-F079-E1735526E982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1059720" y="4025864"/>
            <a:ext cx="6604254" cy="586359"/>
          </a:xfrm>
          <a:prstGeom prst="rect">
            <a:avLst/>
          </a:prstGeom>
        </p:spPr>
      </p:pic>
      <p:pic>
        <p:nvPicPr>
          <p:cNvPr id="24" name="Grafik 23">
            <a:extLst>
              <a:ext uri="{FF2B5EF4-FFF2-40B4-BE49-F238E27FC236}">
                <a16:creationId xmlns:a16="http://schemas.microsoft.com/office/drawing/2014/main" id="{58198BE0-9872-5A27-A156-5FAD0C9C577D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950564" y="4023843"/>
            <a:ext cx="6721479" cy="699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0554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>
          <a:extLst>
            <a:ext uri="{FF2B5EF4-FFF2-40B4-BE49-F238E27FC236}">
              <a16:creationId xmlns:a16="http://schemas.microsoft.com/office/drawing/2014/main" id="{57B8ADB6-108C-0532-9600-3F33F178924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Billede 27" descr="Et billede, der indeholder sky, udendørs, vej/gade, træ&#10;&#10;Indhold genereret af kunstig intelligens kan være forkert.">
            <a:extLst>
              <a:ext uri="{FF2B5EF4-FFF2-40B4-BE49-F238E27FC236}">
                <a16:creationId xmlns:a16="http://schemas.microsoft.com/office/drawing/2014/main" id="{DF948B26-1885-1937-4605-82D4B2A26B6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01" t="26736" b="19378"/>
          <a:stretch/>
        </p:blipFill>
        <p:spPr>
          <a:xfrm>
            <a:off x="0" y="-19053"/>
            <a:ext cx="9144000" cy="4323804"/>
          </a:xfrm>
          <a:prstGeom prst="rect">
            <a:avLst/>
          </a:prstGeom>
        </p:spPr>
      </p:pic>
      <p:sp>
        <p:nvSpPr>
          <p:cNvPr id="52" name="TextBox 51">
            <a:extLst>
              <a:ext uri="{FF2B5EF4-FFF2-40B4-BE49-F238E27FC236}">
                <a16:creationId xmlns:a16="http://schemas.microsoft.com/office/drawing/2014/main" id="{73362569-D7A8-BD77-1114-D2B68EFE7953}"/>
              </a:ext>
            </a:extLst>
          </p:cNvPr>
          <p:cNvSpPr txBox="1"/>
          <p:nvPr/>
        </p:nvSpPr>
        <p:spPr>
          <a:xfrm>
            <a:off x="2386720" y="6426671"/>
            <a:ext cx="761894" cy="1731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5783">
              <a:spcAft>
                <a:spcPts val="300"/>
              </a:spcAft>
              <a:defRPr/>
            </a:pPr>
            <a:endParaRPr lang="sl-SI" sz="525" b="1" dirty="0">
              <a:solidFill>
                <a:prstClr val="white"/>
              </a:solidFill>
              <a:latin typeface="Verdana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E6BF65D3-9905-B661-EDF2-FEC88556D10E}"/>
              </a:ext>
            </a:extLst>
          </p:cNvPr>
          <p:cNvSpPr/>
          <p:nvPr/>
        </p:nvSpPr>
        <p:spPr>
          <a:xfrm>
            <a:off x="871818" y="392566"/>
            <a:ext cx="793832" cy="793832"/>
          </a:xfrm>
          <a:prstGeom prst="rect">
            <a:avLst/>
          </a:prstGeom>
          <a:solidFill>
            <a:schemeClr val="bg1">
              <a:alpha val="60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GB" sz="1350" dirty="0" err="1">
              <a:solidFill>
                <a:prstClr val="white"/>
              </a:solidFill>
              <a:latin typeface="Verdana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A9FD3A7-C753-C22F-5E28-41936DF586FB}"/>
              </a:ext>
            </a:extLst>
          </p:cNvPr>
          <p:cNvSpPr/>
          <p:nvPr/>
        </p:nvSpPr>
        <p:spPr>
          <a:xfrm>
            <a:off x="4220417" y="392566"/>
            <a:ext cx="793832" cy="793832"/>
          </a:xfrm>
          <a:prstGeom prst="rect">
            <a:avLst/>
          </a:prstGeom>
          <a:solidFill>
            <a:schemeClr val="bg1">
              <a:alpha val="60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GB" sz="1350" dirty="0" err="1">
              <a:solidFill>
                <a:prstClr val="white"/>
              </a:solidFill>
              <a:latin typeface="Verdana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CD3B3675-5AA7-334B-D31D-FB4BA0524E23}"/>
              </a:ext>
            </a:extLst>
          </p:cNvPr>
          <p:cNvSpPr/>
          <p:nvPr/>
        </p:nvSpPr>
        <p:spPr>
          <a:xfrm>
            <a:off x="7127887" y="392608"/>
            <a:ext cx="793832" cy="793832"/>
          </a:xfrm>
          <a:prstGeom prst="rect">
            <a:avLst/>
          </a:prstGeom>
          <a:solidFill>
            <a:schemeClr val="bg1">
              <a:alpha val="60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GB" sz="1350" dirty="0" err="1">
              <a:solidFill>
                <a:prstClr val="white"/>
              </a:solidFill>
              <a:latin typeface="Verdana"/>
            </a:endParaRPr>
          </a:p>
        </p:txBody>
      </p:sp>
      <p:sp>
        <p:nvSpPr>
          <p:cNvPr id="43" name="TextBox 9">
            <a:extLst>
              <a:ext uri="{FF2B5EF4-FFF2-40B4-BE49-F238E27FC236}">
                <a16:creationId xmlns:a16="http://schemas.microsoft.com/office/drawing/2014/main" id="{2E1FED8B-55DD-435E-4BFD-1C1CB733395A}"/>
              </a:ext>
            </a:extLst>
          </p:cNvPr>
          <p:cNvSpPr txBox="1"/>
          <p:nvPr/>
        </p:nvSpPr>
        <p:spPr>
          <a:xfrm>
            <a:off x="871817" y="428660"/>
            <a:ext cx="793832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 defTabSz="685783">
              <a:spcAft>
                <a:spcPts val="300"/>
              </a:spcAft>
              <a:defRPr/>
            </a:pPr>
            <a:r>
              <a:rPr lang="sl-SI" sz="600" dirty="0" err="1">
                <a:solidFill>
                  <a:srgbClr val="000000"/>
                </a:solidFill>
                <a:latin typeface="Verdana Pro Light" panose="020B0304030504040204" pitchFamily="34" charset="0"/>
              </a:rPr>
              <a:t>Leanheat</a:t>
            </a:r>
            <a:r>
              <a:rPr lang="sl-SI" sz="600" baseline="30000" dirty="0">
                <a:solidFill>
                  <a:srgbClr val="000000"/>
                </a:solidFill>
                <a:latin typeface="Verdana Pro Light" panose="020B0304030504040204" pitchFamily="34" charset="0"/>
              </a:rPr>
              <a:t>® </a:t>
            </a:r>
            <a:br>
              <a:rPr lang="sl-SI" sz="600" baseline="30000" dirty="0">
                <a:solidFill>
                  <a:srgbClr val="000000"/>
                </a:solidFill>
                <a:latin typeface="Verdana Pro Light" panose="020B0304030504040204" pitchFamily="34" charset="0"/>
              </a:rPr>
            </a:br>
            <a:r>
              <a:rPr lang="sl-SI" sz="600" dirty="0" err="1">
                <a:solidFill>
                  <a:srgbClr val="000000"/>
                </a:solidFill>
                <a:latin typeface="Verdana Pro Light" panose="020B0304030504040204" pitchFamily="34" charset="0"/>
              </a:rPr>
              <a:t>Production</a:t>
            </a:r>
            <a:r>
              <a:rPr lang="sl-SI" sz="600" dirty="0">
                <a:solidFill>
                  <a:srgbClr val="000000"/>
                </a:solidFill>
                <a:latin typeface="Verdana Pro Light" panose="020B0304030504040204" pitchFamily="34" charset="0"/>
              </a:rPr>
              <a:t> </a:t>
            </a:r>
            <a:endParaRPr lang="en-US" sz="600" dirty="0">
              <a:solidFill>
                <a:srgbClr val="000000"/>
              </a:solidFill>
              <a:latin typeface="Verdana Pro Light" panose="020B0304030504040204" pitchFamily="34" charset="0"/>
            </a:endParaRPr>
          </a:p>
        </p:txBody>
      </p:sp>
      <p:sp>
        <p:nvSpPr>
          <p:cNvPr id="45" name="TextBox 9">
            <a:extLst>
              <a:ext uri="{FF2B5EF4-FFF2-40B4-BE49-F238E27FC236}">
                <a16:creationId xmlns:a16="http://schemas.microsoft.com/office/drawing/2014/main" id="{F350CE83-48F7-D431-017E-B270E12A1E85}"/>
              </a:ext>
            </a:extLst>
          </p:cNvPr>
          <p:cNvSpPr txBox="1"/>
          <p:nvPr/>
        </p:nvSpPr>
        <p:spPr>
          <a:xfrm>
            <a:off x="4220417" y="428660"/>
            <a:ext cx="793832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 defTabSz="685783">
              <a:spcAft>
                <a:spcPts val="300"/>
              </a:spcAft>
              <a:defRPr/>
            </a:pPr>
            <a:r>
              <a:rPr lang="sl-SI" sz="600" dirty="0" err="1">
                <a:solidFill>
                  <a:srgbClr val="000000"/>
                </a:solidFill>
                <a:latin typeface="Verdana Pro Light" panose="020B0304030504040204" pitchFamily="34" charset="0"/>
              </a:rPr>
              <a:t>Leanheat</a:t>
            </a:r>
            <a:r>
              <a:rPr lang="sl-SI" sz="600" baseline="30000" dirty="0">
                <a:solidFill>
                  <a:srgbClr val="000000"/>
                </a:solidFill>
                <a:latin typeface="Verdana Pro Light" panose="020B0304030504040204" pitchFamily="34" charset="0"/>
              </a:rPr>
              <a:t>® </a:t>
            </a:r>
            <a:br>
              <a:rPr lang="sl-SI" sz="600" baseline="30000" dirty="0">
                <a:solidFill>
                  <a:srgbClr val="000000"/>
                </a:solidFill>
                <a:latin typeface="Verdana Pro Light" panose="020B0304030504040204" pitchFamily="34" charset="0"/>
              </a:rPr>
            </a:br>
            <a:r>
              <a:rPr lang="sl-SI" sz="600" dirty="0" err="1">
                <a:solidFill>
                  <a:srgbClr val="000000"/>
                </a:solidFill>
                <a:latin typeface="Verdana Pro Light" panose="020B0304030504040204" pitchFamily="34" charset="0"/>
              </a:rPr>
              <a:t>Network</a:t>
            </a:r>
            <a:r>
              <a:rPr lang="sl-SI" sz="600" dirty="0">
                <a:solidFill>
                  <a:srgbClr val="000000"/>
                </a:solidFill>
                <a:latin typeface="Verdana Pro Light" panose="020B0304030504040204" pitchFamily="34" charset="0"/>
              </a:rPr>
              <a:t> </a:t>
            </a:r>
            <a:endParaRPr lang="en-US" sz="600" dirty="0">
              <a:solidFill>
                <a:srgbClr val="000000"/>
              </a:solidFill>
              <a:latin typeface="Verdana Pro Light" panose="020B0304030504040204" pitchFamily="34" charset="0"/>
            </a:endParaRPr>
          </a:p>
        </p:txBody>
      </p:sp>
      <p:sp>
        <p:nvSpPr>
          <p:cNvPr id="54" name="TextBox 9">
            <a:extLst>
              <a:ext uri="{FF2B5EF4-FFF2-40B4-BE49-F238E27FC236}">
                <a16:creationId xmlns:a16="http://schemas.microsoft.com/office/drawing/2014/main" id="{EB66059C-60B7-D41C-7B33-FF5825ED7B12}"/>
              </a:ext>
            </a:extLst>
          </p:cNvPr>
          <p:cNvSpPr txBox="1"/>
          <p:nvPr/>
        </p:nvSpPr>
        <p:spPr>
          <a:xfrm>
            <a:off x="7127887" y="428702"/>
            <a:ext cx="793832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 defTabSz="685783">
              <a:spcAft>
                <a:spcPts val="300"/>
              </a:spcAft>
              <a:defRPr/>
            </a:pPr>
            <a:r>
              <a:rPr lang="sl-SI" sz="600" dirty="0" err="1">
                <a:solidFill>
                  <a:srgbClr val="000000"/>
                </a:solidFill>
                <a:latin typeface="Verdana Pro Light" panose="020B0304030504040204" pitchFamily="34" charset="0"/>
              </a:rPr>
              <a:t>Leanheat</a:t>
            </a:r>
            <a:r>
              <a:rPr lang="sl-SI" sz="600" baseline="30000" dirty="0">
                <a:solidFill>
                  <a:srgbClr val="000000"/>
                </a:solidFill>
                <a:latin typeface="Verdana Pro Light" panose="020B0304030504040204" pitchFamily="34" charset="0"/>
              </a:rPr>
              <a:t>®</a:t>
            </a:r>
            <a:r>
              <a:rPr lang="sl-SI" sz="600" dirty="0">
                <a:solidFill>
                  <a:srgbClr val="000000"/>
                </a:solidFill>
                <a:latin typeface="Verdana Pro Light" panose="020B0304030504040204" pitchFamily="34" charset="0"/>
              </a:rPr>
              <a:t> </a:t>
            </a:r>
            <a:br>
              <a:rPr lang="sl-SI" sz="600" dirty="0">
                <a:solidFill>
                  <a:srgbClr val="000000"/>
                </a:solidFill>
                <a:latin typeface="Verdana Pro Light" panose="020B0304030504040204" pitchFamily="34" charset="0"/>
              </a:rPr>
            </a:br>
            <a:r>
              <a:rPr lang="sl-SI" sz="600" dirty="0">
                <a:solidFill>
                  <a:srgbClr val="000000"/>
                </a:solidFill>
                <a:latin typeface="Verdana Pro Light" panose="020B0304030504040204" pitchFamily="34" charset="0"/>
              </a:rPr>
              <a:t>Monitor</a:t>
            </a:r>
            <a:endParaRPr lang="en-US" sz="600" dirty="0">
              <a:solidFill>
                <a:srgbClr val="000000"/>
              </a:solidFill>
              <a:latin typeface="Verdana Pro Light" panose="020B0304030504040204" pitchFamily="34" charset="0"/>
            </a:endParaRPr>
          </a:p>
        </p:txBody>
      </p:sp>
      <p:pic>
        <p:nvPicPr>
          <p:cNvPr id="61" name="Picture 60">
            <a:extLst>
              <a:ext uri="{FF2B5EF4-FFF2-40B4-BE49-F238E27FC236}">
                <a16:creationId xmlns:a16="http://schemas.microsoft.com/office/drawing/2014/main" id="{EDDEB718-815F-69A8-6491-71D8444377A9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929" b="22422"/>
          <a:stretch/>
        </p:blipFill>
        <p:spPr>
          <a:xfrm>
            <a:off x="582964" y="666129"/>
            <a:ext cx="1426257" cy="526166"/>
          </a:xfrm>
          <a:prstGeom prst="rect">
            <a:avLst/>
          </a:prstGeom>
        </p:spPr>
      </p:pic>
      <p:pic>
        <p:nvPicPr>
          <p:cNvPr id="63" name="Picture 62">
            <a:extLst>
              <a:ext uri="{FF2B5EF4-FFF2-40B4-BE49-F238E27FC236}">
                <a16:creationId xmlns:a16="http://schemas.microsoft.com/office/drawing/2014/main" id="{1D136CC2-B0CC-0498-99E9-C035521CCBA2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102" b="22586"/>
          <a:stretch/>
        </p:blipFill>
        <p:spPr>
          <a:xfrm>
            <a:off x="3896636" y="642935"/>
            <a:ext cx="1435620" cy="526166"/>
          </a:xfrm>
          <a:prstGeom prst="rect">
            <a:avLst/>
          </a:prstGeom>
        </p:spPr>
      </p:pic>
      <p:pic>
        <p:nvPicPr>
          <p:cNvPr id="73" name="Picture 72">
            <a:extLst>
              <a:ext uri="{FF2B5EF4-FFF2-40B4-BE49-F238E27FC236}">
                <a16:creationId xmlns:a16="http://schemas.microsoft.com/office/drawing/2014/main" id="{0C3051CF-D351-747D-A110-F47346A5C48A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531"/>
          <a:stretch/>
        </p:blipFill>
        <p:spPr>
          <a:xfrm>
            <a:off x="6934194" y="642935"/>
            <a:ext cx="1193777" cy="652046"/>
          </a:xfrm>
          <a:prstGeom prst="rect">
            <a:avLst/>
          </a:prstGeom>
        </p:spPr>
      </p:pic>
      <p:sp>
        <p:nvSpPr>
          <p:cNvPr id="788" name="PoljeZBesedilom 18">
            <a:extLst>
              <a:ext uri="{FF2B5EF4-FFF2-40B4-BE49-F238E27FC236}">
                <a16:creationId xmlns:a16="http://schemas.microsoft.com/office/drawing/2014/main" id="{3B0CA6C5-30D5-D6F5-1974-53A4B51B5A98}"/>
              </a:ext>
            </a:extLst>
          </p:cNvPr>
          <p:cNvSpPr txBox="1"/>
          <p:nvPr/>
        </p:nvSpPr>
        <p:spPr>
          <a:xfrm>
            <a:off x="597905" y="1213066"/>
            <a:ext cx="1440000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1" i="0" u="none" strike="noStrike" kern="1200" cap="none" spc="0" normalizeH="0" baseline="0" noProof="0" dirty="0">
                <a:ln>
                  <a:noFill/>
                </a:ln>
                <a:solidFill>
                  <a:srgbClr val="E60A1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ro</a:t>
            </a:r>
            <a:r>
              <a:rPr kumimoji="0" lang="sr-Latn-BA" sz="1400" b="1" i="0" u="none" strike="noStrike" kern="1200" cap="none" spc="0" normalizeH="0" baseline="0" noProof="0" dirty="0">
                <a:ln>
                  <a:noFill/>
                </a:ln>
                <a:solidFill>
                  <a:srgbClr val="E60A1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izvodnja</a:t>
            </a:r>
            <a:endParaRPr kumimoji="0" lang="da-DK" sz="1400" b="0" i="0" u="none" strike="noStrike" kern="1200" cap="none" spc="0" normalizeH="0" baseline="0" noProof="0" dirty="0">
              <a:ln>
                <a:noFill/>
              </a:ln>
              <a:solidFill>
                <a:srgbClr val="E60A11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90" name="PoljeZBesedilom 19">
            <a:extLst>
              <a:ext uri="{FF2B5EF4-FFF2-40B4-BE49-F238E27FC236}">
                <a16:creationId xmlns:a16="http://schemas.microsoft.com/office/drawing/2014/main" id="{C50D277B-43B1-162D-2389-389AC35FB153}"/>
              </a:ext>
            </a:extLst>
          </p:cNvPr>
          <p:cNvSpPr txBox="1"/>
          <p:nvPr/>
        </p:nvSpPr>
        <p:spPr>
          <a:xfrm>
            <a:off x="3856399" y="1184518"/>
            <a:ext cx="1440000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1" i="0" u="none" strike="noStrike" kern="1200" cap="none" spc="0" normalizeH="0" baseline="0" noProof="0" dirty="0">
                <a:ln>
                  <a:noFill/>
                </a:ln>
                <a:solidFill>
                  <a:srgbClr val="E60A1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Distribu</a:t>
            </a:r>
            <a:r>
              <a:rPr kumimoji="0" lang="sr-Latn-BA" sz="1400" b="1" i="0" u="none" strike="noStrike" kern="1200" cap="none" spc="0" normalizeH="0" baseline="0" noProof="0" dirty="0">
                <a:ln>
                  <a:noFill/>
                </a:ln>
                <a:solidFill>
                  <a:srgbClr val="E60A1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ija</a:t>
            </a:r>
            <a:endParaRPr kumimoji="0" lang="da-DK" sz="1400" b="1" i="0" u="none" strike="noStrike" kern="1200" cap="none" spc="0" normalizeH="0" baseline="0" noProof="0" dirty="0">
              <a:ln>
                <a:noFill/>
              </a:ln>
              <a:solidFill>
                <a:srgbClr val="E60A11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91" name="PoljeZBesedilom 20">
            <a:extLst>
              <a:ext uri="{FF2B5EF4-FFF2-40B4-BE49-F238E27FC236}">
                <a16:creationId xmlns:a16="http://schemas.microsoft.com/office/drawing/2014/main" id="{EDF92389-DC71-5599-B2A2-12D9E5464DE1}"/>
              </a:ext>
            </a:extLst>
          </p:cNvPr>
          <p:cNvSpPr txBox="1"/>
          <p:nvPr/>
        </p:nvSpPr>
        <p:spPr>
          <a:xfrm>
            <a:off x="6798644" y="1212649"/>
            <a:ext cx="1440000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1" i="0" u="none" strike="noStrike" kern="1200" cap="none" spc="0" normalizeH="0" baseline="0" noProof="0" dirty="0">
                <a:ln>
                  <a:noFill/>
                </a:ln>
                <a:solidFill>
                  <a:srgbClr val="E60A1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onitoring</a:t>
            </a:r>
          </a:p>
        </p:txBody>
      </p:sp>
      <p:grpSp>
        <p:nvGrpSpPr>
          <p:cNvPr id="800" name="Skupina 15">
            <a:extLst>
              <a:ext uri="{FF2B5EF4-FFF2-40B4-BE49-F238E27FC236}">
                <a16:creationId xmlns:a16="http://schemas.microsoft.com/office/drawing/2014/main" id="{52F76CD2-B705-E022-1B82-6BE92BAAE358}"/>
              </a:ext>
            </a:extLst>
          </p:cNvPr>
          <p:cNvGrpSpPr/>
          <p:nvPr/>
        </p:nvGrpSpPr>
        <p:grpSpPr>
          <a:xfrm>
            <a:off x="104560" y="1889937"/>
            <a:ext cx="2831620" cy="1206128"/>
            <a:chOff x="488789" y="1983976"/>
            <a:chExt cx="1604657" cy="1206128"/>
          </a:xfrm>
        </p:grpSpPr>
        <p:sp>
          <p:nvSpPr>
            <p:cNvPr id="801" name="PoljeZBesedilom 31">
              <a:extLst>
                <a:ext uri="{FF2B5EF4-FFF2-40B4-BE49-F238E27FC236}">
                  <a16:creationId xmlns:a16="http://schemas.microsoft.com/office/drawing/2014/main" id="{468B38F7-ED02-20CC-EF6E-99EEE9DC968E}"/>
                </a:ext>
              </a:extLst>
            </p:cNvPr>
            <p:cNvSpPr txBox="1"/>
            <p:nvPr/>
          </p:nvSpPr>
          <p:spPr>
            <a:xfrm>
              <a:off x="488789" y="1983976"/>
              <a:ext cx="1440000" cy="24622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02" name="TextBox 20">
              <a:extLst>
                <a:ext uri="{FF2B5EF4-FFF2-40B4-BE49-F238E27FC236}">
                  <a16:creationId xmlns:a16="http://schemas.microsoft.com/office/drawing/2014/main" id="{BB2B6707-462F-8B76-6AEF-0C674D38DCAA}"/>
                </a:ext>
              </a:extLst>
            </p:cNvPr>
            <p:cNvSpPr txBox="1"/>
            <p:nvPr/>
          </p:nvSpPr>
          <p:spPr>
            <a:xfrm>
              <a:off x="653446" y="2212913"/>
              <a:ext cx="1440000" cy="97719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r-Latn-BA" sz="85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Verdana"/>
                  <a:ea typeface="+mn-ea"/>
                  <a:cs typeface="+mn-cs"/>
                </a:rPr>
                <a:t>Predviđanje toplotnog opterećenja</a:t>
              </a:r>
              <a:endParaRPr kumimoji="0" lang="da-DK" sz="85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/>
                <a:ea typeface="+mn-ea"/>
                <a:cs typeface="+mn-cs"/>
              </a:endParaRPr>
            </a:p>
            <a:p>
              <a:pPr marL="0" marR="0" lvl="0" indent="0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l-SI" sz="85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Verdana"/>
                  <a:ea typeface="+mn-ea"/>
                  <a:cs typeface="+mn-cs"/>
                </a:rPr>
                <a:t>Optimizacija temperature razvodne vode na osnovu statistike</a:t>
              </a:r>
              <a:endParaRPr kumimoji="0" lang="da-DK" sz="85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/>
                <a:ea typeface="+mn-ea"/>
                <a:cs typeface="+mn-cs"/>
              </a:endParaRPr>
            </a:p>
            <a:p>
              <a:pPr marL="0" marR="0" lvl="0" indent="0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r-Latn-BA" sz="85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Verdana"/>
                  <a:ea typeface="+mn-ea"/>
                  <a:cs typeface="+mn-cs"/>
                </a:rPr>
                <a:t>Optimizacija proizvodnje</a:t>
              </a:r>
              <a:endParaRPr kumimoji="0" lang="da-DK" sz="85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/>
                <a:ea typeface="+mn-ea"/>
                <a:cs typeface="+mn-cs"/>
              </a:endParaRPr>
            </a:p>
            <a:p>
              <a:pPr marL="0" marR="0" lvl="0" indent="0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r-Latn-BA" sz="85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Verdana"/>
                  <a:ea typeface="+mn-ea"/>
                  <a:cs typeface="+mn-cs"/>
                </a:rPr>
                <a:t>Planiranje proizvodnje</a:t>
              </a:r>
              <a:endParaRPr kumimoji="0" lang="da-DK" sz="85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805" name="TextBox 19">
            <a:extLst>
              <a:ext uri="{FF2B5EF4-FFF2-40B4-BE49-F238E27FC236}">
                <a16:creationId xmlns:a16="http://schemas.microsoft.com/office/drawing/2014/main" id="{07F23310-7613-FE88-BBAE-6BDC9272EE7D}"/>
              </a:ext>
            </a:extLst>
          </p:cNvPr>
          <p:cNvSpPr txBox="1"/>
          <p:nvPr/>
        </p:nvSpPr>
        <p:spPr>
          <a:xfrm>
            <a:off x="3892237" y="2136158"/>
            <a:ext cx="1993950" cy="12977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354" rtl="0" eaLnBrk="1" fontAlgn="auto" latinLnBrk="0" hangingPunct="1">
              <a:lnSpc>
                <a:spcPts val="102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sr-Latn-BA" sz="9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/>
                <a:ea typeface="+mn-ea"/>
                <a:cs typeface="+mn-cs"/>
              </a:rPr>
              <a:t>Projektovanje mreže</a:t>
            </a:r>
            <a:endParaRPr kumimoji="0" lang="da-DK" sz="9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0" indent="0" defTabSz="914354" rtl="0" eaLnBrk="1" fontAlgn="auto" latinLnBrk="0" hangingPunct="1">
              <a:lnSpc>
                <a:spcPts val="102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sr-Latn-BA" sz="9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/>
                <a:ea typeface="+mn-ea"/>
                <a:cs typeface="+mn-cs"/>
              </a:rPr>
              <a:t>Vizuelizacija i „</a:t>
            </a:r>
            <a:r>
              <a:rPr kumimoji="0" lang="da-DK" sz="9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/>
                <a:ea typeface="+mn-ea"/>
                <a:cs typeface="+mn-cs"/>
              </a:rPr>
              <a:t>On line</a:t>
            </a:r>
            <a:r>
              <a:rPr kumimoji="0" lang="sr-Latn-BA" sz="9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/>
                <a:ea typeface="+mn-ea"/>
                <a:cs typeface="+mn-cs"/>
              </a:rPr>
              <a:t>“ upravljanje mrežom </a:t>
            </a:r>
            <a:endParaRPr kumimoji="0" lang="da-DK" sz="9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0" indent="0" defTabSz="914354" rtl="0" eaLnBrk="1" fontAlgn="auto" latinLnBrk="0" hangingPunct="1">
              <a:lnSpc>
                <a:spcPts val="102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9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/>
                <a:ea typeface="+mn-ea"/>
                <a:cs typeface="+mn-cs"/>
              </a:rPr>
              <a:t>H</a:t>
            </a:r>
            <a:r>
              <a:rPr kumimoji="0" lang="sr-Latn-RS" sz="9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/>
                <a:ea typeface="+mn-ea"/>
                <a:cs typeface="+mn-cs"/>
              </a:rPr>
              <a:t>i</a:t>
            </a:r>
            <a:r>
              <a:rPr kumimoji="0" lang="da-DK" sz="9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/>
                <a:ea typeface="+mn-ea"/>
                <a:cs typeface="+mn-cs"/>
              </a:rPr>
              <a:t>drauli</a:t>
            </a:r>
            <a:r>
              <a:rPr kumimoji="0" lang="sr-Latn-BA" sz="9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/>
                <a:ea typeface="+mn-ea"/>
                <a:cs typeface="+mn-cs"/>
              </a:rPr>
              <a:t>čko optimizovanje razvodne temperature</a:t>
            </a:r>
            <a:r>
              <a:rPr kumimoji="0" lang="da-DK" sz="9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</a:p>
          <a:p>
            <a:pPr marL="0" marR="0" lvl="0" indent="0" defTabSz="914354" rtl="0" eaLnBrk="1" fontAlgn="auto" latinLnBrk="0" hangingPunct="1">
              <a:lnSpc>
                <a:spcPts val="102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sr-Latn-BA" sz="9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/>
                <a:ea typeface="+mn-ea"/>
                <a:cs typeface="+mn-cs"/>
              </a:rPr>
              <a:t>Optimizacija pritiska</a:t>
            </a:r>
            <a:endParaRPr kumimoji="0" lang="da-DK" sz="9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0" indent="0" algn="ctr" defTabSz="914354" rtl="0" eaLnBrk="1" fontAlgn="auto" latinLnBrk="0" hangingPunct="1">
              <a:lnSpc>
                <a:spcPts val="102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a-DK" sz="850" b="0" i="0" u="none" strike="noStrike" kern="1200" cap="none" spc="0" normalizeH="0" baseline="0" noProof="0" dirty="0">
              <a:ln>
                <a:noFill/>
              </a:ln>
              <a:solidFill>
                <a:srgbClr val="B4BCC3">
                  <a:lumMod val="50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08" name="TextBox 30">
            <a:extLst>
              <a:ext uri="{FF2B5EF4-FFF2-40B4-BE49-F238E27FC236}">
                <a16:creationId xmlns:a16="http://schemas.microsoft.com/office/drawing/2014/main" id="{2C28DFC5-63FE-9ACC-F5D6-9457042E13AA}"/>
              </a:ext>
            </a:extLst>
          </p:cNvPr>
          <p:cNvSpPr txBox="1"/>
          <p:nvPr/>
        </p:nvSpPr>
        <p:spPr>
          <a:xfrm>
            <a:off x="6828417" y="2013047"/>
            <a:ext cx="1993950" cy="10926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354" rtl="0" eaLnBrk="1" fontAlgn="auto" latinLnBrk="0" hangingPunct="1">
              <a:lnSpc>
                <a:spcPts val="102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sr-Latn-RS" sz="85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/>
                <a:ea typeface="+mn-ea"/>
                <a:cs typeface="+mn-cs"/>
              </a:rPr>
              <a:t>Nadzor i upravljanje</a:t>
            </a:r>
            <a:endParaRPr kumimoji="0" lang="da-DK" sz="85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0" indent="0" defTabSz="914354" rtl="0" eaLnBrk="1" fontAlgn="auto" latinLnBrk="0" hangingPunct="1">
              <a:lnSpc>
                <a:spcPts val="102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sr-Latn-BA" sz="85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/>
                <a:ea typeface="+mn-ea"/>
                <a:cs typeface="+mn-cs"/>
              </a:rPr>
              <a:t>Laka integracija podataka </a:t>
            </a:r>
            <a:endParaRPr kumimoji="0" lang="en-US" sz="85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0" indent="0" defTabSz="914354" rtl="0" eaLnBrk="1" fontAlgn="auto" latinLnBrk="0" hangingPunct="1">
              <a:lnSpc>
                <a:spcPts val="102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sr-Latn-BA" sz="85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/>
                <a:ea typeface="+mn-ea"/>
                <a:cs typeface="+mn-cs"/>
              </a:rPr>
              <a:t>Jednostavna ekstrakcija i interpretacija podataka</a:t>
            </a:r>
            <a:r>
              <a:rPr kumimoji="0" lang="en-US" sz="85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</a:p>
          <a:p>
            <a:pPr marL="0" marR="0" lvl="0" indent="0" defTabSz="914354" rtl="0" eaLnBrk="1" fontAlgn="auto" latinLnBrk="0" hangingPunct="1">
              <a:lnSpc>
                <a:spcPts val="102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5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Verdana"/>
                <a:ea typeface="+mn-ea"/>
                <a:cs typeface="+mn-cs"/>
              </a:rPr>
              <a:t>Integr</a:t>
            </a:r>
            <a:r>
              <a:rPr kumimoji="0" lang="sr-Latn-BA" sz="85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/>
                <a:ea typeface="+mn-ea"/>
                <a:cs typeface="+mn-cs"/>
              </a:rPr>
              <a:t>isanje uređaja sa različitim protokolima</a:t>
            </a:r>
            <a:endParaRPr kumimoji="0" lang="en-US" sz="85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818" name="Skupina 413">
            <a:extLst>
              <a:ext uri="{FF2B5EF4-FFF2-40B4-BE49-F238E27FC236}">
                <a16:creationId xmlns:a16="http://schemas.microsoft.com/office/drawing/2014/main" id="{3C1A9A44-6371-84F6-FC41-5039E178B81B}"/>
              </a:ext>
            </a:extLst>
          </p:cNvPr>
          <p:cNvGrpSpPr/>
          <p:nvPr/>
        </p:nvGrpSpPr>
        <p:grpSpPr>
          <a:xfrm>
            <a:off x="697245" y="1493913"/>
            <a:ext cx="1142975" cy="377825"/>
            <a:chOff x="601663" y="1366838"/>
            <a:chExt cx="1142975" cy="377825"/>
          </a:xfrm>
        </p:grpSpPr>
        <p:grpSp>
          <p:nvGrpSpPr>
            <p:cNvPr id="819" name="Skupina 251">
              <a:extLst>
                <a:ext uri="{FF2B5EF4-FFF2-40B4-BE49-F238E27FC236}">
                  <a16:creationId xmlns:a16="http://schemas.microsoft.com/office/drawing/2014/main" id="{8013ED67-ACAD-E61F-6FB6-6F2FE8DFFD20}"/>
                </a:ext>
              </a:extLst>
            </p:cNvPr>
            <p:cNvGrpSpPr/>
            <p:nvPr/>
          </p:nvGrpSpPr>
          <p:grpSpPr>
            <a:xfrm>
              <a:off x="904876" y="1458913"/>
              <a:ext cx="282575" cy="285750"/>
              <a:chOff x="904876" y="1458913"/>
              <a:chExt cx="282575" cy="285750"/>
            </a:xfrm>
          </p:grpSpPr>
          <p:sp>
            <p:nvSpPr>
              <p:cNvPr id="970" name="Freeform 16">
                <a:extLst>
                  <a:ext uri="{FF2B5EF4-FFF2-40B4-BE49-F238E27FC236}">
                    <a16:creationId xmlns:a16="http://schemas.microsoft.com/office/drawing/2014/main" id="{A8F0F1B2-E671-1978-B24B-35F8C6BF88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04876" y="1700213"/>
                <a:ext cx="82550" cy="44450"/>
              </a:xfrm>
              <a:custGeom>
                <a:avLst/>
                <a:gdLst>
                  <a:gd name="T0" fmla="*/ 257 w 257"/>
                  <a:gd name="T1" fmla="*/ 68 h 137"/>
                  <a:gd name="T2" fmla="*/ 257 w 257"/>
                  <a:gd name="T3" fmla="*/ 65 h 137"/>
                  <a:gd name="T4" fmla="*/ 251 w 257"/>
                  <a:gd name="T5" fmla="*/ 0 h 137"/>
                  <a:gd name="T6" fmla="*/ 36 w 257"/>
                  <a:gd name="T7" fmla="*/ 0 h 137"/>
                  <a:gd name="T8" fmla="*/ 36 w 257"/>
                  <a:gd name="T9" fmla="*/ 0 h 137"/>
                  <a:gd name="T10" fmla="*/ 36 w 257"/>
                  <a:gd name="T11" fmla="*/ 0 h 137"/>
                  <a:gd name="T12" fmla="*/ 21 w 257"/>
                  <a:gd name="T13" fmla="*/ 44 h 137"/>
                  <a:gd name="T14" fmla="*/ 0 w 257"/>
                  <a:gd name="T15" fmla="*/ 83 h 137"/>
                  <a:gd name="T16" fmla="*/ 36 w 257"/>
                  <a:gd name="T17" fmla="*/ 107 h 137"/>
                  <a:gd name="T18" fmla="*/ 94 w 257"/>
                  <a:gd name="T19" fmla="*/ 120 h 137"/>
                  <a:gd name="T20" fmla="*/ 164 w 257"/>
                  <a:gd name="T21" fmla="*/ 128 h 137"/>
                  <a:gd name="T22" fmla="*/ 202 w 257"/>
                  <a:gd name="T23" fmla="*/ 112 h 137"/>
                  <a:gd name="T24" fmla="*/ 257 w 257"/>
                  <a:gd name="T25" fmla="*/ 68 h 1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7" h="137">
                    <a:moveTo>
                      <a:pt x="257" y="68"/>
                    </a:moveTo>
                    <a:cubicBezTo>
                      <a:pt x="257" y="67"/>
                      <a:pt x="257" y="66"/>
                      <a:pt x="257" y="65"/>
                    </a:cubicBezTo>
                    <a:cubicBezTo>
                      <a:pt x="251" y="0"/>
                      <a:pt x="251" y="0"/>
                      <a:pt x="251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36" y="0"/>
                      <a:pt x="33" y="13"/>
                      <a:pt x="21" y="44"/>
                    </a:cubicBezTo>
                    <a:cubicBezTo>
                      <a:pt x="16" y="57"/>
                      <a:pt x="0" y="83"/>
                      <a:pt x="0" y="83"/>
                    </a:cubicBezTo>
                    <a:cubicBezTo>
                      <a:pt x="0" y="83"/>
                      <a:pt x="5" y="106"/>
                      <a:pt x="36" y="107"/>
                    </a:cubicBezTo>
                    <a:cubicBezTo>
                      <a:pt x="65" y="108"/>
                      <a:pt x="77" y="112"/>
                      <a:pt x="94" y="120"/>
                    </a:cubicBezTo>
                    <a:cubicBezTo>
                      <a:pt x="124" y="135"/>
                      <a:pt x="144" y="137"/>
                      <a:pt x="164" y="128"/>
                    </a:cubicBezTo>
                    <a:cubicBezTo>
                      <a:pt x="178" y="121"/>
                      <a:pt x="192" y="116"/>
                      <a:pt x="202" y="112"/>
                    </a:cubicBezTo>
                    <a:cubicBezTo>
                      <a:pt x="235" y="103"/>
                      <a:pt x="257" y="87"/>
                      <a:pt x="257" y="68"/>
                    </a:cubicBezTo>
                  </a:path>
                </a:pathLst>
              </a:custGeom>
              <a:solidFill>
                <a:srgbClr val="98A9B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971" name="Freeform 17">
                <a:extLst>
                  <a:ext uri="{FF2B5EF4-FFF2-40B4-BE49-F238E27FC236}">
                    <a16:creationId xmlns:a16="http://schemas.microsoft.com/office/drawing/2014/main" id="{C7C0A3F8-6435-CEA8-C825-8901E549238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06476" y="1458913"/>
                <a:ext cx="180975" cy="279400"/>
              </a:xfrm>
              <a:custGeom>
                <a:avLst/>
                <a:gdLst>
                  <a:gd name="T0" fmla="*/ 564 w 564"/>
                  <a:gd name="T1" fmla="*/ 286 h 864"/>
                  <a:gd name="T2" fmla="*/ 548 w 564"/>
                  <a:gd name="T3" fmla="*/ 242 h 864"/>
                  <a:gd name="T4" fmla="*/ 557 w 564"/>
                  <a:gd name="T5" fmla="*/ 209 h 864"/>
                  <a:gd name="T6" fmla="*/ 520 w 564"/>
                  <a:gd name="T7" fmla="*/ 152 h 864"/>
                  <a:gd name="T8" fmla="*/ 420 w 564"/>
                  <a:gd name="T9" fmla="*/ 60 h 864"/>
                  <a:gd name="T10" fmla="*/ 399 w 564"/>
                  <a:gd name="T11" fmla="*/ 62 h 864"/>
                  <a:gd name="T12" fmla="*/ 327 w 564"/>
                  <a:gd name="T13" fmla="*/ 5 h 864"/>
                  <a:gd name="T14" fmla="*/ 288 w 564"/>
                  <a:gd name="T15" fmla="*/ 17 h 864"/>
                  <a:gd name="T16" fmla="*/ 239 w 564"/>
                  <a:gd name="T17" fmla="*/ 0 h 864"/>
                  <a:gd name="T18" fmla="*/ 165 w 564"/>
                  <a:gd name="T19" fmla="*/ 52 h 864"/>
                  <a:gd name="T20" fmla="*/ 72 w 564"/>
                  <a:gd name="T21" fmla="*/ 146 h 864"/>
                  <a:gd name="T22" fmla="*/ 72 w 564"/>
                  <a:gd name="T23" fmla="*/ 148 h 864"/>
                  <a:gd name="T24" fmla="*/ 10 w 564"/>
                  <a:gd name="T25" fmla="*/ 211 h 864"/>
                  <a:gd name="T26" fmla="*/ 18 w 564"/>
                  <a:gd name="T27" fmla="*/ 241 h 864"/>
                  <a:gd name="T28" fmla="*/ 0 w 564"/>
                  <a:gd name="T29" fmla="*/ 288 h 864"/>
                  <a:gd name="T30" fmla="*/ 69 w 564"/>
                  <a:gd name="T31" fmla="*/ 362 h 864"/>
                  <a:gd name="T32" fmla="*/ 145 w 564"/>
                  <a:gd name="T33" fmla="*/ 409 h 864"/>
                  <a:gd name="T34" fmla="*/ 164 w 564"/>
                  <a:gd name="T35" fmla="*/ 407 h 864"/>
                  <a:gd name="T36" fmla="*/ 213 w 564"/>
                  <a:gd name="T37" fmla="*/ 571 h 864"/>
                  <a:gd name="T38" fmla="*/ 195 w 564"/>
                  <a:gd name="T39" fmla="*/ 830 h 864"/>
                  <a:gd name="T40" fmla="*/ 195 w 564"/>
                  <a:gd name="T41" fmla="*/ 832 h 864"/>
                  <a:gd name="T42" fmla="*/ 267 w 564"/>
                  <a:gd name="T43" fmla="*/ 864 h 864"/>
                  <a:gd name="T44" fmla="*/ 339 w 564"/>
                  <a:gd name="T45" fmla="*/ 832 h 864"/>
                  <a:gd name="T46" fmla="*/ 338 w 564"/>
                  <a:gd name="T47" fmla="*/ 830 h 864"/>
                  <a:gd name="T48" fmla="*/ 315 w 564"/>
                  <a:gd name="T49" fmla="*/ 736 h 864"/>
                  <a:gd name="T50" fmla="*/ 283 w 564"/>
                  <a:gd name="T51" fmla="*/ 521 h 864"/>
                  <a:gd name="T52" fmla="*/ 339 w 564"/>
                  <a:gd name="T53" fmla="*/ 441 h 864"/>
                  <a:gd name="T54" fmla="*/ 390 w 564"/>
                  <a:gd name="T55" fmla="*/ 466 h 864"/>
                  <a:gd name="T56" fmla="*/ 437 w 564"/>
                  <a:gd name="T57" fmla="*/ 447 h 864"/>
                  <a:gd name="T58" fmla="*/ 469 w 564"/>
                  <a:gd name="T59" fmla="*/ 455 h 864"/>
                  <a:gd name="T60" fmla="*/ 536 w 564"/>
                  <a:gd name="T61" fmla="*/ 388 h 864"/>
                  <a:gd name="T62" fmla="*/ 522 w 564"/>
                  <a:gd name="T63" fmla="*/ 348 h 864"/>
                  <a:gd name="T64" fmla="*/ 564 w 564"/>
                  <a:gd name="T65" fmla="*/ 286 h 864"/>
                  <a:gd name="T66" fmla="*/ 261 w 564"/>
                  <a:gd name="T67" fmla="*/ 335 h 864"/>
                  <a:gd name="T68" fmla="*/ 257 w 564"/>
                  <a:gd name="T69" fmla="*/ 380 h 864"/>
                  <a:gd name="T70" fmla="*/ 249 w 564"/>
                  <a:gd name="T71" fmla="*/ 339 h 864"/>
                  <a:gd name="T72" fmla="*/ 261 w 564"/>
                  <a:gd name="T73" fmla="*/ 335 h 864"/>
                  <a:gd name="T74" fmla="*/ 190 w 564"/>
                  <a:gd name="T75" fmla="*/ 394 h 864"/>
                  <a:gd name="T76" fmla="*/ 216 w 564"/>
                  <a:gd name="T77" fmla="*/ 369 h 864"/>
                  <a:gd name="T78" fmla="*/ 225 w 564"/>
                  <a:gd name="T79" fmla="*/ 448 h 864"/>
                  <a:gd name="T80" fmla="*/ 190 w 564"/>
                  <a:gd name="T81" fmla="*/ 394 h 864"/>
                  <a:gd name="T82" fmla="*/ 281 w 564"/>
                  <a:gd name="T83" fmla="*/ 465 h 864"/>
                  <a:gd name="T84" fmla="*/ 284 w 564"/>
                  <a:gd name="T85" fmla="*/ 372 h 864"/>
                  <a:gd name="T86" fmla="*/ 324 w 564"/>
                  <a:gd name="T87" fmla="*/ 403 h 864"/>
                  <a:gd name="T88" fmla="*/ 327 w 564"/>
                  <a:gd name="T89" fmla="*/ 419 h 864"/>
                  <a:gd name="T90" fmla="*/ 281 w 564"/>
                  <a:gd name="T91" fmla="*/ 465 h 8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564" h="864">
                    <a:moveTo>
                      <a:pt x="564" y="286"/>
                    </a:moveTo>
                    <a:cubicBezTo>
                      <a:pt x="564" y="269"/>
                      <a:pt x="558" y="254"/>
                      <a:pt x="548" y="242"/>
                    </a:cubicBezTo>
                    <a:cubicBezTo>
                      <a:pt x="554" y="233"/>
                      <a:pt x="557" y="221"/>
                      <a:pt x="557" y="209"/>
                    </a:cubicBezTo>
                    <a:cubicBezTo>
                      <a:pt x="557" y="183"/>
                      <a:pt x="542" y="162"/>
                      <a:pt x="520" y="152"/>
                    </a:cubicBezTo>
                    <a:cubicBezTo>
                      <a:pt x="516" y="100"/>
                      <a:pt x="473" y="60"/>
                      <a:pt x="420" y="60"/>
                    </a:cubicBezTo>
                    <a:cubicBezTo>
                      <a:pt x="413" y="60"/>
                      <a:pt x="406" y="60"/>
                      <a:pt x="399" y="62"/>
                    </a:cubicBezTo>
                    <a:cubicBezTo>
                      <a:pt x="391" y="29"/>
                      <a:pt x="362" y="5"/>
                      <a:pt x="327" y="5"/>
                    </a:cubicBezTo>
                    <a:cubicBezTo>
                      <a:pt x="313" y="5"/>
                      <a:pt x="299" y="9"/>
                      <a:pt x="288" y="17"/>
                    </a:cubicBezTo>
                    <a:cubicBezTo>
                      <a:pt x="274" y="6"/>
                      <a:pt x="257" y="0"/>
                      <a:pt x="239" y="0"/>
                    </a:cubicBezTo>
                    <a:cubicBezTo>
                      <a:pt x="205" y="0"/>
                      <a:pt x="175" y="22"/>
                      <a:pt x="165" y="52"/>
                    </a:cubicBezTo>
                    <a:cubicBezTo>
                      <a:pt x="113" y="53"/>
                      <a:pt x="72" y="95"/>
                      <a:pt x="72" y="146"/>
                    </a:cubicBezTo>
                    <a:cubicBezTo>
                      <a:pt x="72" y="147"/>
                      <a:pt x="72" y="147"/>
                      <a:pt x="72" y="148"/>
                    </a:cubicBezTo>
                    <a:cubicBezTo>
                      <a:pt x="38" y="149"/>
                      <a:pt x="10" y="177"/>
                      <a:pt x="10" y="211"/>
                    </a:cubicBezTo>
                    <a:cubicBezTo>
                      <a:pt x="10" y="222"/>
                      <a:pt x="13" y="232"/>
                      <a:pt x="18" y="241"/>
                    </a:cubicBezTo>
                    <a:cubicBezTo>
                      <a:pt x="7" y="254"/>
                      <a:pt x="0" y="270"/>
                      <a:pt x="0" y="288"/>
                    </a:cubicBezTo>
                    <a:cubicBezTo>
                      <a:pt x="0" y="328"/>
                      <a:pt x="31" y="359"/>
                      <a:pt x="69" y="362"/>
                    </a:cubicBezTo>
                    <a:cubicBezTo>
                      <a:pt x="83" y="390"/>
                      <a:pt x="111" y="409"/>
                      <a:pt x="145" y="409"/>
                    </a:cubicBezTo>
                    <a:cubicBezTo>
                      <a:pt x="151" y="409"/>
                      <a:pt x="158" y="408"/>
                      <a:pt x="164" y="407"/>
                    </a:cubicBezTo>
                    <a:cubicBezTo>
                      <a:pt x="217" y="444"/>
                      <a:pt x="213" y="571"/>
                      <a:pt x="213" y="571"/>
                    </a:cubicBezTo>
                    <a:cubicBezTo>
                      <a:pt x="195" y="830"/>
                      <a:pt x="195" y="830"/>
                      <a:pt x="195" y="830"/>
                    </a:cubicBezTo>
                    <a:cubicBezTo>
                      <a:pt x="195" y="830"/>
                      <a:pt x="195" y="831"/>
                      <a:pt x="195" y="832"/>
                    </a:cubicBezTo>
                    <a:cubicBezTo>
                      <a:pt x="195" y="850"/>
                      <a:pt x="227" y="864"/>
                      <a:pt x="267" y="864"/>
                    </a:cubicBezTo>
                    <a:cubicBezTo>
                      <a:pt x="306" y="864"/>
                      <a:pt x="339" y="850"/>
                      <a:pt x="339" y="832"/>
                    </a:cubicBezTo>
                    <a:cubicBezTo>
                      <a:pt x="339" y="831"/>
                      <a:pt x="338" y="830"/>
                      <a:pt x="338" y="830"/>
                    </a:cubicBezTo>
                    <a:cubicBezTo>
                      <a:pt x="330" y="800"/>
                      <a:pt x="322" y="768"/>
                      <a:pt x="315" y="736"/>
                    </a:cubicBezTo>
                    <a:cubicBezTo>
                      <a:pt x="298" y="661"/>
                      <a:pt x="288" y="588"/>
                      <a:pt x="283" y="521"/>
                    </a:cubicBezTo>
                    <a:cubicBezTo>
                      <a:pt x="292" y="488"/>
                      <a:pt x="312" y="460"/>
                      <a:pt x="339" y="441"/>
                    </a:cubicBezTo>
                    <a:cubicBezTo>
                      <a:pt x="351" y="456"/>
                      <a:pt x="370" y="466"/>
                      <a:pt x="390" y="466"/>
                    </a:cubicBezTo>
                    <a:cubicBezTo>
                      <a:pt x="408" y="466"/>
                      <a:pt x="425" y="459"/>
                      <a:pt x="437" y="447"/>
                    </a:cubicBezTo>
                    <a:cubicBezTo>
                      <a:pt x="446" y="452"/>
                      <a:pt x="457" y="455"/>
                      <a:pt x="469" y="455"/>
                    </a:cubicBezTo>
                    <a:cubicBezTo>
                      <a:pt x="506" y="455"/>
                      <a:pt x="536" y="425"/>
                      <a:pt x="536" y="388"/>
                    </a:cubicBezTo>
                    <a:cubicBezTo>
                      <a:pt x="536" y="373"/>
                      <a:pt x="531" y="359"/>
                      <a:pt x="522" y="348"/>
                    </a:cubicBezTo>
                    <a:cubicBezTo>
                      <a:pt x="547" y="338"/>
                      <a:pt x="564" y="314"/>
                      <a:pt x="564" y="286"/>
                    </a:cubicBezTo>
                    <a:moveTo>
                      <a:pt x="261" y="335"/>
                    </a:moveTo>
                    <a:cubicBezTo>
                      <a:pt x="257" y="380"/>
                      <a:pt x="257" y="380"/>
                      <a:pt x="257" y="380"/>
                    </a:cubicBezTo>
                    <a:cubicBezTo>
                      <a:pt x="255" y="363"/>
                      <a:pt x="252" y="349"/>
                      <a:pt x="249" y="339"/>
                    </a:cubicBezTo>
                    <a:cubicBezTo>
                      <a:pt x="253" y="338"/>
                      <a:pt x="257" y="337"/>
                      <a:pt x="261" y="335"/>
                    </a:cubicBezTo>
                    <a:moveTo>
                      <a:pt x="190" y="394"/>
                    </a:moveTo>
                    <a:cubicBezTo>
                      <a:pt x="198" y="388"/>
                      <a:pt x="210" y="378"/>
                      <a:pt x="216" y="369"/>
                    </a:cubicBezTo>
                    <a:cubicBezTo>
                      <a:pt x="220" y="389"/>
                      <a:pt x="223" y="415"/>
                      <a:pt x="225" y="448"/>
                    </a:cubicBezTo>
                    <a:cubicBezTo>
                      <a:pt x="215" y="423"/>
                      <a:pt x="203" y="407"/>
                      <a:pt x="190" y="394"/>
                    </a:cubicBezTo>
                    <a:moveTo>
                      <a:pt x="281" y="465"/>
                    </a:moveTo>
                    <a:cubicBezTo>
                      <a:pt x="280" y="432"/>
                      <a:pt x="281" y="401"/>
                      <a:pt x="284" y="372"/>
                    </a:cubicBezTo>
                    <a:cubicBezTo>
                      <a:pt x="294" y="386"/>
                      <a:pt x="307" y="397"/>
                      <a:pt x="324" y="403"/>
                    </a:cubicBezTo>
                    <a:cubicBezTo>
                      <a:pt x="324" y="409"/>
                      <a:pt x="325" y="414"/>
                      <a:pt x="327" y="419"/>
                    </a:cubicBezTo>
                    <a:cubicBezTo>
                      <a:pt x="309" y="431"/>
                      <a:pt x="293" y="447"/>
                      <a:pt x="281" y="465"/>
                    </a:cubicBezTo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972" name="Freeform 18">
                <a:extLst>
                  <a:ext uri="{FF2B5EF4-FFF2-40B4-BE49-F238E27FC236}">
                    <a16:creationId xmlns:a16="http://schemas.microsoft.com/office/drawing/2014/main" id="{55F970C2-58FE-21B8-3371-088A9DED0BE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36626" y="1458913"/>
                <a:ext cx="180975" cy="279400"/>
              </a:xfrm>
              <a:custGeom>
                <a:avLst/>
                <a:gdLst>
                  <a:gd name="T0" fmla="*/ 563 w 563"/>
                  <a:gd name="T1" fmla="*/ 286 h 864"/>
                  <a:gd name="T2" fmla="*/ 547 w 563"/>
                  <a:gd name="T3" fmla="*/ 242 h 864"/>
                  <a:gd name="T4" fmla="*/ 557 w 563"/>
                  <a:gd name="T5" fmla="*/ 209 h 864"/>
                  <a:gd name="T6" fmla="*/ 520 w 563"/>
                  <a:gd name="T7" fmla="*/ 152 h 864"/>
                  <a:gd name="T8" fmla="*/ 419 w 563"/>
                  <a:gd name="T9" fmla="*/ 60 h 864"/>
                  <a:gd name="T10" fmla="*/ 398 w 563"/>
                  <a:gd name="T11" fmla="*/ 62 h 864"/>
                  <a:gd name="T12" fmla="*/ 327 w 563"/>
                  <a:gd name="T13" fmla="*/ 5 h 864"/>
                  <a:gd name="T14" fmla="*/ 287 w 563"/>
                  <a:gd name="T15" fmla="*/ 17 h 864"/>
                  <a:gd name="T16" fmla="*/ 238 w 563"/>
                  <a:gd name="T17" fmla="*/ 0 h 864"/>
                  <a:gd name="T18" fmla="*/ 164 w 563"/>
                  <a:gd name="T19" fmla="*/ 52 h 864"/>
                  <a:gd name="T20" fmla="*/ 71 w 563"/>
                  <a:gd name="T21" fmla="*/ 146 h 864"/>
                  <a:gd name="T22" fmla="*/ 71 w 563"/>
                  <a:gd name="T23" fmla="*/ 148 h 864"/>
                  <a:gd name="T24" fmla="*/ 10 w 563"/>
                  <a:gd name="T25" fmla="*/ 211 h 864"/>
                  <a:gd name="T26" fmla="*/ 17 w 563"/>
                  <a:gd name="T27" fmla="*/ 241 h 864"/>
                  <a:gd name="T28" fmla="*/ 0 w 563"/>
                  <a:gd name="T29" fmla="*/ 288 h 864"/>
                  <a:gd name="T30" fmla="*/ 69 w 563"/>
                  <a:gd name="T31" fmla="*/ 362 h 864"/>
                  <a:gd name="T32" fmla="*/ 144 w 563"/>
                  <a:gd name="T33" fmla="*/ 409 h 864"/>
                  <a:gd name="T34" fmla="*/ 164 w 563"/>
                  <a:gd name="T35" fmla="*/ 407 h 864"/>
                  <a:gd name="T36" fmla="*/ 212 w 563"/>
                  <a:gd name="T37" fmla="*/ 571 h 864"/>
                  <a:gd name="T38" fmla="*/ 195 w 563"/>
                  <a:gd name="T39" fmla="*/ 830 h 864"/>
                  <a:gd name="T40" fmla="*/ 194 w 563"/>
                  <a:gd name="T41" fmla="*/ 832 h 864"/>
                  <a:gd name="T42" fmla="*/ 266 w 563"/>
                  <a:gd name="T43" fmla="*/ 864 h 864"/>
                  <a:gd name="T44" fmla="*/ 338 w 563"/>
                  <a:gd name="T45" fmla="*/ 832 h 864"/>
                  <a:gd name="T46" fmla="*/ 338 w 563"/>
                  <a:gd name="T47" fmla="*/ 830 h 864"/>
                  <a:gd name="T48" fmla="*/ 314 w 563"/>
                  <a:gd name="T49" fmla="*/ 736 h 864"/>
                  <a:gd name="T50" fmla="*/ 283 w 563"/>
                  <a:gd name="T51" fmla="*/ 521 h 864"/>
                  <a:gd name="T52" fmla="*/ 338 w 563"/>
                  <a:gd name="T53" fmla="*/ 441 h 864"/>
                  <a:gd name="T54" fmla="*/ 390 w 563"/>
                  <a:gd name="T55" fmla="*/ 466 h 864"/>
                  <a:gd name="T56" fmla="*/ 436 w 563"/>
                  <a:gd name="T57" fmla="*/ 447 h 864"/>
                  <a:gd name="T58" fmla="*/ 468 w 563"/>
                  <a:gd name="T59" fmla="*/ 455 h 864"/>
                  <a:gd name="T60" fmla="*/ 535 w 563"/>
                  <a:gd name="T61" fmla="*/ 388 h 864"/>
                  <a:gd name="T62" fmla="*/ 522 w 563"/>
                  <a:gd name="T63" fmla="*/ 348 h 864"/>
                  <a:gd name="T64" fmla="*/ 563 w 563"/>
                  <a:gd name="T65" fmla="*/ 286 h 864"/>
                  <a:gd name="T66" fmla="*/ 260 w 563"/>
                  <a:gd name="T67" fmla="*/ 335 h 864"/>
                  <a:gd name="T68" fmla="*/ 257 w 563"/>
                  <a:gd name="T69" fmla="*/ 380 h 864"/>
                  <a:gd name="T70" fmla="*/ 249 w 563"/>
                  <a:gd name="T71" fmla="*/ 339 h 864"/>
                  <a:gd name="T72" fmla="*/ 260 w 563"/>
                  <a:gd name="T73" fmla="*/ 335 h 864"/>
                  <a:gd name="T74" fmla="*/ 189 w 563"/>
                  <a:gd name="T75" fmla="*/ 394 h 864"/>
                  <a:gd name="T76" fmla="*/ 215 w 563"/>
                  <a:gd name="T77" fmla="*/ 369 h 864"/>
                  <a:gd name="T78" fmla="*/ 224 w 563"/>
                  <a:gd name="T79" fmla="*/ 448 h 864"/>
                  <a:gd name="T80" fmla="*/ 189 w 563"/>
                  <a:gd name="T81" fmla="*/ 394 h 864"/>
                  <a:gd name="T82" fmla="*/ 280 w 563"/>
                  <a:gd name="T83" fmla="*/ 465 h 864"/>
                  <a:gd name="T84" fmla="*/ 283 w 563"/>
                  <a:gd name="T85" fmla="*/ 372 h 864"/>
                  <a:gd name="T86" fmla="*/ 323 w 563"/>
                  <a:gd name="T87" fmla="*/ 403 h 864"/>
                  <a:gd name="T88" fmla="*/ 326 w 563"/>
                  <a:gd name="T89" fmla="*/ 419 h 864"/>
                  <a:gd name="T90" fmla="*/ 280 w 563"/>
                  <a:gd name="T91" fmla="*/ 465 h 8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563" h="864">
                    <a:moveTo>
                      <a:pt x="563" y="286"/>
                    </a:moveTo>
                    <a:cubicBezTo>
                      <a:pt x="563" y="269"/>
                      <a:pt x="557" y="254"/>
                      <a:pt x="547" y="242"/>
                    </a:cubicBezTo>
                    <a:cubicBezTo>
                      <a:pt x="553" y="233"/>
                      <a:pt x="557" y="221"/>
                      <a:pt x="557" y="209"/>
                    </a:cubicBezTo>
                    <a:cubicBezTo>
                      <a:pt x="557" y="183"/>
                      <a:pt x="541" y="162"/>
                      <a:pt x="520" y="152"/>
                    </a:cubicBezTo>
                    <a:cubicBezTo>
                      <a:pt x="515" y="100"/>
                      <a:pt x="472" y="60"/>
                      <a:pt x="419" y="60"/>
                    </a:cubicBezTo>
                    <a:cubicBezTo>
                      <a:pt x="412" y="60"/>
                      <a:pt x="405" y="60"/>
                      <a:pt x="398" y="62"/>
                    </a:cubicBezTo>
                    <a:cubicBezTo>
                      <a:pt x="390" y="29"/>
                      <a:pt x="361" y="5"/>
                      <a:pt x="327" y="5"/>
                    </a:cubicBezTo>
                    <a:cubicBezTo>
                      <a:pt x="312" y="5"/>
                      <a:pt x="299" y="9"/>
                      <a:pt x="287" y="17"/>
                    </a:cubicBezTo>
                    <a:cubicBezTo>
                      <a:pt x="274" y="6"/>
                      <a:pt x="257" y="0"/>
                      <a:pt x="238" y="0"/>
                    </a:cubicBezTo>
                    <a:cubicBezTo>
                      <a:pt x="204" y="0"/>
                      <a:pt x="175" y="22"/>
                      <a:pt x="164" y="52"/>
                    </a:cubicBezTo>
                    <a:cubicBezTo>
                      <a:pt x="113" y="53"/>
                      <a:pt x="71" y="95"/>
                      <a:pt x="71" y="146"/>
                    </a:cubicBezTo>
                    <a:cubicBezTo>
                      <a:pt x="71" y="147"/>
                      <a:pt x="71" y="147"/>
                      <a:pt x="71" y="148"/>
                    </a:cubicBezTo>
                    <a:cubicBezTo>
                      <a:pt x="37" y="149"/>
                      <a:pt x="10" y="177"/>
                      <a:pt x="10" y="211"/>
                    </a:cubicBezTo>
                    <a:cubicBezTo>
                      <a:pt x="10" y="222"/>
                      <a:pt x="12" y="232"/>
                      <a:pt x="17" y="241"/>
                    </a:cubicBezTo>
                    <a:cubicBezTo>
                      <a:pt x="6" y="254"/>
                      <a:pt x="0" y="270"/>
                      <a:pt x="0" y="288"/>
                    </a:cubicBezTo>
                    <a:cubicBezTo>
                      <a:pt x="0" y="328"/>
                      <a:pt x="30" y="359"/>
                      <a:pt x="69" y="362"/>
                    </a:cubicBezTo>
                    <a:cubicBezTo>
                      <a:pt x="82" y="390"/>
                      <a:pt x="111" y="409"/>
                      <a:pt x="144" y="409"/>
                    </a:cubicBezTo>
                    <a:cubicBezTo>
                      <a:pt x="151" y="409"/>
                      <a:pt x="157" y="408"/>
                      <a:pt x="164" y="407"/>
                    </a:cubicBezTo>
                    <a:cubicBezTo>
                      <a:pt x="217" y="444"/>
                      <a:pt x="212" y="571"/>
                      <a:pt x="212" y="571"/>
                    </a:cubicBezTo>
                    <a:cubicBezTo>
                      <a:pt x="195" y="830"/>
                      <a:pt x="195" y="830"/>
                      <a:pt x="195" y="830"/>
                    </a:cubicBezTo>
                    <a:cubicBezTo>
                      <a:pt x="194" y="830"/>
                      <a:pt x="194" y="831"/>
                      <a:pt x="194" y="832"/>
                    </a:cubicBezTo>
                    <a:cubicBezTo>
                      <a:pt x="194" y="850"/>
                      <a:pt x="226" y="864"/>
                      <a:pt x="266" y="864"/>
                    </a:cubicBezTo>
                    <a:cubicBezTo>
                      <a:pt x="306" y="864"/>
                      <a:pt x="338" y="850"/>
                      <a:pt x="338" y="832"/>
                    </a:cubicBezTo>
                    <a:cubicBezTo>
                      <a:pt x="338" y="831"/>
                      <a:pt x="338" y="830"/>
                      <a:pt x="338" y="830"/>
                    </a:cubicBezTo>
                    <a:cubicBezTo>
                      <a:pt x="329" y="800"/>
                      <a:pt x="321" y="768"/>
                      <a:pt x="314" y="736"/>
                    </a:cubicBezTo>
                    <a:cubicBezTo>
                      <a:pt x="298" y="661"/>
                      <a:pt x="287" y="588"/>
                      <a:pt x="283" y="521"/>
                    </a:cubicBezTo>
                    <a:cubicBezTo>
                      <a:pt x="291" y="488"/>
                      <a:pt x="311" y="460"/>
                      <a:pt x="338" y="441"/>
                    </a:cubicBezTo>
                    <a:cubicBezTo>
                      <a:pt x="350" y="456"/>
                      <a:pt x="369" y="466"/>
                      <a:pt x="390" y="466"/>
                    </a:cubicBezTo>
                    <a:cubicBezTo>
                      <a:pt x="408" y="466"/>
                      <a:pt x="424" y="459"/>
                      <a:pt x="436" y="447"/>
                    </a:cubicBezTo>
                    <a:cubicBezTo>
                      <a:pt x="446" y="452"/>
                      <a:pt x="457" y="455"/>
                      <a:pt x="468" y="455"/>
                    </a:cubicBezTo>
                    <a:cubicBezTo>
                      <a:pt x="505" y="455"/>
                      <a:pt x="535" y="425"/>
                      <a:pt x="535" y="388"/>
                    </a:cubicBezTo>
                    <a:cubicBezTo>
                      <a:pt x="535" y="373"/>
                      <a:pt x="530" y="359"/>
                      <a:pt x="522" y="348"/>
                    </a:cubicBezTo>
                    <a:cubicBezTo>
                      <a:pt x="546" y="338"/>
                      <a:pt x="563" y="314"/>
                      <a:pt x="563" y="286"/>
                    </a:cubicBezTo>
                    <a:moveTo>
                      <a:pt x="260" y="335"/>
                    </a:moveTo>
                    <a:cubicBezTo>
                      <a:pt x="257" y="380"/>
                      <a:pt x="257" y="380"/>
                      <a:pt x="257" y="380"/>
                    </a:cubicBezTo>
                    <a:cubicBezTo>
                      <a:pt x="254" y="363"/>
                      <a:pt x="251" y="349"/>
                      <a:pt x="249" y="339"/>
                    </a:cubicBezTo>
                    <a:cubicBezTo>
                      <a:pt x="253" y="338"/>
                      <a:pt x="257" y="337"/>
                      <a:pt x="260" y="335"/>
                    </a:cubicBezTo>
                    <a:moveTo>
                      <a:pt x="189" y="394"/>
                    </a:moveTo>
                    <a:cubicBezTo>
                      <a:pt x="198" y="388"/>
                      <a:pt x="209" y="378"/>
                      <a:pt x="215" y="369"/>
                    </a:cubicBezTo>
                    <a:cubicBezTo>
                      <a:pt x="219" y="389"/>
                      <a:pt x="223" y="415"/>
                      <a:pt x="224" y="448"/>
                    </a:cubicBezTo>
                    <a:cubicBezTo>
                      <a:pt x="214" y="423"/>
                      <a:pt x="202" y="407"/>
                      <a:pt x="189" y="394"/>
                    </a:cubicBezTo>
                    <a:moveTo>
                      <a:pt x="280" y="465"/>
                    </a:moveTo>
                    <a:cubicBezTo>
                      <a:pt x="280" y="432"/>
                      <a:pt x="281" y="401"/>
                      <a:pt x="283" y="372"/>
                    </a:cubicBezTo>
                    <a:cubicBezTo>
                      <a:pt x="293" y="386"/>
                      <a:pt x="307" y="397"/>
                      <a:pt x="323" y="403"/>
                    </a:cubicBezTo>
                    <a:cubicBezTo>
                      <a:pt x="323" y="409"/>
                      <a:pt x="324" y="414"/>
                      <a:pt x="326" y="419"/>
                    </a:cubicBezTo>
                    <a:cubicBezTo>
                      <a:pt x="308" y="431"/>
                      <a:pt x="292" y="447"/>
                      <a:pt x="280" y="465"/>
                    </a:cubicBezTo>
                  </a:path>
                </a:pathLst>
              </a:custGeom>
              <a:solidFill>
                <a:srgbClr val="8093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973" name="Oval 19">
                <a:extLst>
                  <a:ext uri="{FF2B5EF4-FFF2-40B4-BE49-F238E27FC236}">
                    <a16:creationId xmlns:a16="http://schemas.microsoft.com/office/drawing/2014/main" id="{75946738-C861-7E63-2AF8-1AC658EDA0B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15988" y="1684338"/>
                <a:ext cx="69850" cy="31750"/>
              </a:xfrm>
              <a:prstGeom prst="ellipse">
                <a:avLst/>
              </a:pr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974" name="Oval 20">
                <a:extLst>
                  <a:ext uri="{FF2B5EF4-FFF2-40B4-BE49-F238E27FC236}">
                    <a16:creationId xmlns:a16="http://schemas.microsoft.com/office/drawing/2014/main" id="{C45E9D12-0128-6F3B-8AE8-35718AF5269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20751" y="1687513"/>
                <a:ext cx="61913" cy="26988"/>
              </a:xfrm>
              <a:prstGeom prst="ellipse">
                <a:avLst/>
              </a:prstGeom>
              <a:solidFill>
                <a:srgbClr val="98A9B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975" name="Oval 21">
                <a:extLst>
                  <a:ext uri="{FF2B5EF4-FFF2-40B4-BE49-F238E27FC236}">
                    <a16:creationId xmlns:a16="http://schemas.microsoft.com/office/drawing/2014/main" id="{992B3C72-A18A-6128-0B3A-C2BAA347744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23926" y="1689101"/>
                <a:ext cx="55563" cy="23813"/>
              </a:xfrm>
              <a:prstGeom prst="ellipse">
                <a:avLst/>
              </a:pr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976" name="Oval 22">
                <a:extLst>
                  <a:ext uri="{FF2B5EF4-FFF2-40B4-BE49-F238E27FC236}">
                    <a16:creationId xmlns:a16="http://schemas.microsoft.com/office/drawing/2014/main" id="{5C595BD6-10DF-0F42-4C56-FCEA133E5F9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27101" y="1690688"/>
                <a:ext cx="47625" cy="20638"/>
              </a:xfrm>
              <a:prstGeom prst="ellipse">
                <a:avLst/>
              </a:prstGeom>
              <a:solidFill>
                <a:srgbClr val="98A9B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977" name="Oval 23">
                <a:extLst>
                  <a:ext uri="{FF2B5EF4-FFF2-40B4-BE49-F238E27FC236}">
                    <a16:creationId xmlns:a16="http://schemas.microsoft.com/office/drawing/2014/main" id="{40B43A34-0431-9CF8-F610-11345C48D92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31863" y="1692276"/>
                <a:ext cx="39688" cy="17463"/>
              </a:xfrm>
              <a:prstGeom prst="ellipse">
                <a:avLst/>
              </a:pr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978" name="Oval 24">
                <a:extLst>
                  <a:ext uri="{FF2B5EF4-FFF2-40B4-BE49-F238E27FC236}">
                    <a16:creationId xmlns:a16="http://schemas.microsoft.com/office/drawing/2014/main" id="{150E7075-DCA3-8C5A-849D-C21F9BD206F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35038" y="1693863"/>
                <a:ext cx="33338" cy="14288"/>
              </a:xfrm>
              <a:prstGeom prst="ellipse">
                <a:avLst/>
              </a:pr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979" name="Oval 25">
                <a:extLst>
                  <a:ext uri="{FF2B5EF4-FFF2-40B4-BE49-F238E27FC236}">
                    <a16:creationId xmlns:a16="http://schemas.microsoft.com/office/drawing/2014/main" id="{604B5750-78F9-3F0E-D7E4-9D8699EAAC2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35038" y="1693863"/>
                <a:ext cx="33338" cy="14288"/>
              </a:xfrm>
              <a:prstGeom prst="ellipse">
                <a:avLst/>
              </a:prstGeom>
              <a:solidFill>
                <a:srgbClr val="98A9B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980" name="Oval 26">
                <a:extLst>
                  <a:ext uri="{FF2B5EF4-FFF2-40B4-BE49-F238E27FC236}">
                    <a16:creationId xmlns:a16="http://schemas.microsoft.com/office/drawing/2014/main" id="{05603510-7F1D-3EF3-E86C-1A173161C09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38213" y="1695451"/>
                <a:ext cx="25400" cy="11113"/>
              </a:xfrm>
              <a:prstGeom prst="ellipse">
                <a:avLst/>
              </a:pr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820" name="Skupina 263">
              <a:extLst>
                <a:ext uri="{FF2B5EF4-FFF2-40B4-BE49-F238E27FC236}">
                  <a16:creationId xmlns:a16="http://schemas.microsoft.com/office/drawing/2014/main" id="{CFF68059-CD4A-AFBD-1143-ED3F9548E89D}"/>
                </a:ext>
              </a:extLst>
            </p:cNvPr>
            <p:cNvGrpSpPr/>
            <p:nvPr/>
          </p:nvGrpSpPr>
          <p:grpSpPr>
            <a:xfrm>
              <a:off x="1231901" y="1390651"/>
              <a:ext cx="219075" cy="347662"/>
              <a:chOff x="1231901" y="1390651"/>
              <a:chExt cx="219075" cy="347662"/>
            </a:xfrm>
          </p:grpSpPr>
          <p:sp>
            <p:nvSpPr>
              <p:cNvPr id="857" name="Oval 27">
                <a:extLst>
                  <a:ext uri="{FF2B5EF4-FFF2-40B4-BE49-F238E27FC236}">
                    <a16:creationId xmlns:a16="http://schemas.microsoft.com/office/drawing/2014/main" id="{57B1B052-E30C-DE2D-0F9E-CFACFDAA248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95401" y="1416051"/>
                <a:ext cx="92075" cy="92075"/>
              </a:xfrm>
              <a:prstGeom prst="ellipse">
                <a:avLst/>
              </a:prstGeom>
              <a:solidFill>
                <a:srgbClr val="98A9B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858" name="Freeform 28">
                <a:extLst>
                  <a:ext uri="{FF2B5EF4-FFF2-40B4-BE49-F238E27FC236}">
                    <a16:creationId xmlns:a16="http://schemas.microsoft.com/office/drawing/2014/main" id="{44248878-5A48-9B33-0033-7DBE1A469F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33501" y="1390651"/>
                <a:ext cx="15875" cy="17463"/>
              </a:xfrm>
              <a:custGeom>
                <a:avLst/>
                <a:gdLst>
                  <a:gd name="T0" fmla="*/ 0 w 10"/>
                  <a:gd name="T1" fmla="*/ 11 h 11"/>
                  <a:gd name="T2" fmla="*/ 5 w 10"/>
                  <a:gd name="T3" fmla="*/ 0 h 11"/>
                  <a:gd name="T4" fmla="*/ 10 w 10"/>
                  <a:gd name="T5" fmla="*/ 11 h 11"/>
                  <a:gd name="T6" fmla="*/ 0 w 10"/>
                  <a:gd name="T7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" h="11">
                    <a:moveTo>
                      <a:pt x="0" y="11"/>
                    </a:moveTo>
                    <a:lnTo>
                      <a:pt x="5" y="0"/>
                    </a:lnTo>
                    <a:lnTo>
                      <a:pt x="10" y="11"/>
                    </a:lnTo>
                    <a:lnTo>
                      <a:pt x="0" y="11"/>
                    </a:lnTo>
                    <a:close/>
                  </a:path>
                </a:pathLst>
              </a:custGeom>
              <a:solidFill>
                <a:srgbClr val="98A9B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859" name="Freeform 29">
                <a:extLst>
                  <a:ext uri="{FF2B5EF4-FFF2-40B4-BE49-F238E27FC236}">
                    <a16:creationId xmlns:a16="http://schemas.microsoft.com/office/drawing/2014/main" id="{F69D73FD-AD2F-7361-F05B-0A089A4632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33501" y="1516063"/>
                <a:ext cx="15875" cy="15875"/>
              </a:xfrm>
              <a:custGeom>
                <a:avLst/>
                <a:gdLst>
                  <a:gd name="T0" fmla="*/ 0 w 10"/>
                  <a:gd name="T1" fmla="*/ 0 h 10"/>
                  <a:gd name="T2" fmla="*/ 5 w 10"/>
                  <a:gd name="T3" fmla="*/ 10 h 10"/>
                  <a:gd name="T4" fmla="*/ 10 w 10"/>
                  <a:gd name="T5" fmla="*/ 0 h 10"/>
                  <a:gd name="T6" fmla="*/ 0 w 10"/>
                  <a:gd name="T7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" h="10">
                    <a:moveTo>
                      <a:pt x="0" y="0"/>
                    </a:moveTo>
                    <a:lnTo>
                      <a:pt x="5" y="10"/>
                    </a:lnTo>
                    <a:lnTo>
                      <a:pt x="1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8A9B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860" name="Freeform 30">
                <a:extLst>
                  <a:ext uri="{FF2B5EF4-FFF2-40B4-BE49-F238E27FC236}">
                    <a16:creationId xmlns:a16="http://schemas.microsoft.com/office/drawing/2014/main" id="{C8FF9245-920A-6986-8797-615DB914DA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04926" y="1400176"/>
                <a:ext cx="15875" cy="19050"/>
              </a:xfrm>
              <a:custGeom>
                <a:avLst/>
                <a:gdLst>
                  <a:gd name="T0" fmla="*/ 1 w 10"/>
                  <a:gd name="T1" fmla="*/ 12 h 12"/>
                  <a:gd name="T2" fmla="*/ 0 w 10"/>
                  <a:gd name="T3" fmla="*/ 0 h 12"/>
                  <a:gd name="T4" fmla="*/ 10 w 10"/>
                  <a:gd name="T5" fmla="*/ 7 h 12"/>
                  <a:gd name="T6" fmla="*/ 1 w 10"/>
                  <a:gd name="T7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" h="12">
                    <a:moveTo>
                      <a:pt x="1" y="12"/>
                    </a:moveTo>
                    <a:lnTo>
                      <a:pt x="0" y="0"/>
                    </a:lnTo>
                    <a:lnTo>
                      <a:pt x="10" y="7"/>
                    </a:lnTo>
                    <a:lnTo>
                      <a:pt x="1" y="12"/>
                    </a:lnTo>
                    <a:close/>
                  </a:path>
                </a:pathLst>
              </a:custGeom>
              <a:solidFill>
                <a:srgbClr val="98A9B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861" name="Freeform 31">
                <a:extLst>
                  <a:ext uri="{FF2B5EF4-FFF2-40B4-BE49-F238E27FC236}">
                    <a16:creationId xmlns:a16="http://schemas.microsoft.com/office/drawing/2014/main" id="{7A5BAB58-6490-1C76-E68E-BDDBF625BC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60488" y="1504951"/>
                <a:ext cx="15875" cy="17463"/>
              </a:xfrm>
              <a:custGeom>
                <a:avLst/>
                <a:gdLst>
                  <a:gd name="T0" fmla="*/ 0 w 10"/>
                  <a:gd name="T1" fmla="*/ 5 h 11"/>
                  <a:gd name="T2" fmla="*/ 10 w 10"/>
                  <a:gd name="T3" fmla="*/ 11 h 11"/>
                  <a:gd name="T4" fmla="*/ 9 w 10"/>
                  <a:gd name="T5" fmla="*/ 0 h 11"/>
                  <a:gd name="T6" fmla="*/ 0 w 10"/>
                  <a:gd name="T7" fmla="*/ 5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" h="11">
                    <a:moveTo>
                      <a:pt x="0" y="5"/>
                    </a:moveTo>
                    <a:lnTo>
                      <a:pt x="10" y="11"/>
                    </a:lnTo>
                    <a:lnTo>
                      <a:pt x="9" y="0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98A9B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862" name="Freeform 32">
                <a:extLst>
                  <a:ext uri="{FF2B5EF4-FFF2-40B4-BE49-F238E27FC236}">
                    <a16:creationId xmlns:a16="http://schemas.microsoft.com/office/drawing/2014/main" id="{24228A9E-4299-7D3C-65BD-B7B6319882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9526" y="1425576"/>
                <a:ext cx="19050" cy="15875"/>
              </a:xfrm>
              <a:custGeom>
                <a:avLst/>
                <a:gdLst>
                  <a:gd name="T0" fmla="*/ 7 w 12"/>
                  <a:gd name="T1" fmla="*/ 10 h 10"/>
                  <a:gd name="T2" fmla="*/ 0 w 12"/>
                  <a:gd name="T3" fmla="*/ 0 h 10"/>
                  <a:gd name="T4" fmla="*/ 12 w 12"/>
                  <a:gd name="T5" fmla="*/ 1 h 10"/>
                  <a:gd name="T6" fmla="*/ 7 w 12"/>
                  <a:gd name="T7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2" h="10">
                    <a:moveTo>
                      <a:pt x="7" y="10"/>
                    </a:moveTo>
                    <a:lnTo>
                      <a:pt x="0" y="0"/>
                    </a:lnTo>
                    <a:lnTo>
                      <a:pt x="12" y="1"/>
                    </a:lnTo>
                    <a:lnTo>
                      <a:pt x="7" y="10"/>
                    </a:lnTo>
                    <a:close/>
                  </a:path>
                </a:pathLst>
              </a:custGeom>
              <a:solidFill>
                <a:srgbClr val="98A9B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863" name="Freeform 33">
                <a:extLst>
                  <a:ext uri="{FF2B5EF4-FFF2-40B4-BE49-F238E27FC236}">
                    <a16:creationId xmlns:a16="http://schemas.microsoft.com/office/drawing/2014/main" id="{290C070D-1970-0DA9-FDA8-581706E48D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84301" y="1482726"/>
                <a:ext cx="17463" cy="14288"/>
              </a:xfrm>
              <a:custGeom>
                <a:avLst/>
                <a:gdLst>
                  <a:gd name="T0" fmla="*/ 0 w 11"/>
                  <a:gd name="T1" fmla="*/ 8 h 9"/>
                  <a:gd name="T2" fmla="*/ 11 w 11"/>
                  <a:gd name="T3" fmla="*/ 9 h 9"/>
                  <a:gd name="T4" fmla="*/ 5 w 11"/>
                  <a:gd name="T5" fmla="*/ 0 h 9"/>
                  <a:gd name="T6" fmla="*/ 0 w 11"/>
                  <a:gd name="T7" fmla="*/ 8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1" h="9">
                    <a:moveTo>
                      <a:pt x="0" y="8"/>
                    </a:moveTo>
                    <a:lnTo>
                      <a:pt x="11" y="9"/>
                    </a:lnTo>
                    <a:lnTo>
                      <a:pt x="5" y="0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rgbClr val="98A9B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864" name="Freeform 34">
                <a:extLst>
                  <a:ext uri="{FF2B5EF4-FFF2-40B4-BE49-F238E27FC236}">
                    <a16:creationId xmlns:a16="http://schemas.microsoft.com/office/drawing/2014/main" id="{2A12B23A-DCD9-85E1-8CEC-3230775BA7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0001" y="1454151"/>
                <a:ext cx="17463" cy="15875"/>
              </a:xfrm>
              <a:custGeom>
                <a:avLst/>
                <a:gdLst>
                  <a:gd name="T0" fmla="*/ 11 w 11"/>
                  <a:gd name="T1" fmla="*/ 10 h 10"/>
                  <a:gd name="T2" fmla="*/ 0 w 11"/>
                  <a:gd name="T3" fmla="*/ 5 h 10"/>
                  <a:gd name="T4" fmla="*/ 11 w 11"/>
                  <a:gd name="T5" fmla="*/ 0 h 10"/>
                  <a:gd name="T6" fmla="*/ 11 w 11"/>
                  <a:gd name="T7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1" h="10">
                    <a:moveTo>
                      <a:pt x="11" y="10"/>
                    </a:moveTo>
                    <a:lnTo>
                      <a:pt x="0" y="5"/>
                    </a:lnTo>
                    <a:lnTo>
                      <a:pt x="11" y="0"/>
                    </a:lnTo>
                    <a:lnTo>
                      <a:pt x="11" y="10"/>
                    </a:lnTo>
                    <a:close/>
                  </a:path>
                </a:pathLst>
              </a:custGeom>
              <a:solidFill>
                <a:srgbClr val="98A9B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865" name="Freeform 35">
                <a:extLst>
                  <a:ext uri="{FF2B5EF4-FFF2-40B4-BE49-F238E27FC236}">
                    <a16:creationId xmlns:a16="http://schemas.microsoft.com/office/drawing/2014/main" id="{46547EEF-8C07-6D1D-C153-CCADA7882B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95413" y="1454151"/>
                <a:ext cx="15875" cy="15875"/>
              </a:xfrm>
              <a:custGeom>
                <a:avLst/>
                <a:gdLst>
                  <a:gd name="T0" fmla="*/ 0 w 10"/>
                  <a:gd name="T1" fmla="*/ 10 h 10"/>
                  <a:gd name="T2" fmla="*/ 10 w 10"/>
                  <a:gd name="T3" fmla="*/ 5 h 10"/>
                  <a:gd name="T4" fmla="*/ 0 w 10"/>
                  <a:gd name="T5" fmla="*/ 0 h 10"/>
                  <a:gd name="T6" fmla="*/ 0 w 10"/>
                  <a:gd name="T7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" h="10">
                    <a:moveTo>
                      <a:pt x="0" y="10"/>
                    </a:moveTo>
                    <a:lnTo>
                      <a:pt x="10" y="5"/>
                    </a:lnTo>
                    <a:lnTo>
                      <a:pt x="0" y="0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98A9B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866" name="Freeform 36">
                <a:extLst>
                  <a:ext uri="{FF2B5EF4-FFF2-40B4-BE49-F238E27FC236}">
                    <a16:creationId xmlns:a16="http://schemas.microsoft.com/office/drawing/2014/main" id="{164A30A9-BF43-C67C-FA04-C093002D6E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9526" y="1482726"/>
                <a:ext cx="19050" cy="14288"/>
              </a:xfrm>
              <a:custGeom>
                <a:avLst/>
                <a:gdLst>
                  <a:gd name="T0" fmla="*/ 12 w 12"/>
                  <a:gd name="T1" fmla="*/ 8 h 9"/>
                  <a:gd name="T2" fmla="*/ 0 w 12"/>
                  <a:gd name="T3" fmla="*/ 9 h 9"/>
                  <a:gd name="T4" fmla="*/ 7 w 12"/>
                  <a:gd name="T5" fmla="*/ 0 h 9"/>
                  <a:gd name="T6" fmla="*/ 12 w 12"/>
                  <a:gd name="T7" fmla="*/ 8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2" h="9">
                    <a:moveTo>
                      <a:pt x="12" y="8"/>
                    </a:moveTo>
                    <a:lnTo>
                      <a:pt x="0" y="9"/>
                    </a:lnTo>
                    <a:lnTo>
                      <a:pt x="7" y="0"/>
                    </a:lnTo>
                    <a:lnTo>
                      <a:pt x="12" y="8"/>
                    </a:lnTo>
                    <a:close/>
                  </a:path>
                </a:pathLst>
              </a:custGeom>
              <a:solidFill>
                <a:srgbClr val="98A9B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867" name="Freeform 37">
                <a:extLst>
                  <a:ext uri="{FF2B5EF4-FFF2-40B4-BE49-F238E27FC236}">
                    <a16:creationId xmlns:a16="http://schemas.microsoft.com/office/drawing/2014/main" id="{C00D8AB5-89FA-3456-3309-E04EAB9457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84301" y="1425576"/>
                <a:ext cx="17463" cy="15875"/>
              </a:xfrm>
              <a:custGeom>
                <a:avLst/>
                <a:gdLst>
                  <a:gd name="T0" fmla="*/ 5 w 11"/>
                  <a:gd name="T1" fmla="*/ 10 h 10"/>
                  <a:gd name="T2" fmla="*/ 11 w 11"/>
                  <a:gd name="T3" fmla="*/ 0 h 10"/>
                  <a:gd name="T4" fmla="*/ 0 w 11"/>
                  <a:gd name="T5" fmla="*/ 1 h 10"/>
                  <a:gd name="T6" fmla="*/ 5 w 11"/>
                  <a:gd name="T7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1" h="10">
                    <a:moveTo>
                      <a:pt x="5" y="10"/>
                    </a:moveTo>
                    <a:lnTo>
                      <a:pt x="11" y="0"/>
                    </a:lnTo>
                    <a:lnTo>
                      <a:pt x="0" y="1"/>
                    </a:lnTo>
                    <a:lnTo>
                      <a:pt x="5" y="10"/>
                    </a:lnTo>
                    <a:close/>
                  </a:path>
                </a:pathLst>
              </a:custGeom>
              <a:solidFill>
                <a:srgbClr val="98A9B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868" name="Freeform 38">
                <a:extLst>
                  <a:ext uri="{FF2B5EF4-FFF2-40B4-BE49-F238E27FC236}">
                    <a16:creationId xmlns:a16="http://schemas.microsoft.com/office/drawing/2014/main" id="{4C906317-BCB3-EA41-5F32-558FB791FA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04926" y="1504951"/>
                <a:ext cx="15875" cy="17463"/>
              </a:xfrm>
              <a:custGeom>
                <a:avLst/>
                <a:gdLst>
                  <a:gd name="T0" fmla="*/ 10 w 10"/>
                  <a:gd name="T1" fmla="*/ 5 h 11"/>
                  <a:gd name="T2" fmla="*/ 0 w 10"/>
                  <a:gd name="T3" fmla="*/ 11 h 11"/>
                  <a:gd name="T4" fmla="*/ 1 w 10"/>
                  <a:gd name="T5" fmla="*/ 0 h 11"/>
                  <a:gd name="T6" fmla="*/ 10 w 10"/>
                  <a:gd name="T7" fmla="*/ 5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" h="11">
                    <a:moveTo>
                      <a:pt x="10" y="5"/>
                    </a:moveTo>
                    <a:lnTo>
                      <a:pt x="0" y="11"/>
                    </a:lnTo>
                    <a:lnTo>
                      <a:pt x="1" y="0"/>
                    </a:lnTo>
                    <a:lnTo>
                      <a:pt x="10" y="5"/>
                    </a:lnTo>
                    <a:close/>
                  </a:path>
                </a:pathLst>
              </a:custGeom>
              <a:solidFill>
                <a:srgbClr val="98A9B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869" name="Freeform 39">
                <a:extLst>
                  <a:ext uri="{FF2B5EF4-FFF2-40B4-BE49-F238E27FC236}">
                    <a16:creationId xmlns:a16="http://schemas.microsoft.com/office/drawing/2014/main" id="{4E7CA945-8FDA-58A1-90E8-CC28F099B0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60488" y="1400176"/>
                <a:ext cx="15875" cy="19050"/>
              </a:xfrm>
              <a:custGeom>
                <a:avLst/>
                <a:gdLst>
                  <a:gd name="T0" fmla="*/ 9 w 10"/>
                  <a:gd name="T1" fmla="*/ 12 h 12"/>
                  <a:gd name="T2" fmla="*/ 10 w 10"/>
                  <a:gd name="T3" fmla="*/ 0 h 12"/>
                  <a:gd name="T4" fmla="*/ 0 w 10"/>
                  <a:gd name="T5" fmla="*/ 7 h 12"/>
                  <a:gd name="T6" fmla="*/ 9 w 10"/>
                  <a:gd name="T7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" h="12">
                    <a:moveTo>
                      <a:pt x="9" y="12"/>
                    </a:moveTo>
                    <a:lnTo>
                      <a:pt x="10" y="0"/>
                    </a:lnTo>
                    <a:lnTo>
                      <a:pt x="0" y="7"/>
                    </a:lnTo>
                    <a:lnTo>
                      <a:pt x="9" y="12"/>
                    </a:lnTo>
                    <a:close/>
                  </a:path>
                </a:pathLst>
              </a:custGeom>
              <a:solidFill>
                <a:srgbClr val="98A9B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870" name="Freeform 40">
                <a:extLst>
                  <a:ext uri="{FF2B5EF4-FFF2-40B4-BE49-F238E27FC236}">
                    <a16:creationId xmlns:a16="http://schemas.microsoft.com/office/drawing/2014/main" id="{0DB47BAC-FEAB-71B1-0962-AF0EEF78C8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35076" y="1577976"/>
                <a:ext cx="130175" cy="107950"/>
              </a:xfrm>
              <a:custGeom>
                <a:avLst/>
                <a:gdLst>
                  <a:gd name="T0" fmla="*/ 67 w 82"/>
                  <a:gd name="T1" fmla="*/ 68 h 68"/>
                  <a:gd name="T2" fmla="*/ 0 w 82"/>
                  <a:gd name="T3" fmla="*/ 68 h 68"/>
                  <a:gd name="T4" fmla="*/ 15 w 82"/>
                  <a:gd name="T5" fmla="*/ 0 h 68"/>
                  <a:gd name="T6" fmla="*/ 82 w 82"/>
                  <a:gd name="T7" fmla="*/ 0 h 68"/>
                  <a:gd name="T8" fmla="*/ 67 w 82"/>
                  <a:gd name="T9" fmla="*/ 68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2" h="68">
                    <a:moveTo>
                      <a:pt x="67" y="68"/>
                    </a:moveTo>
                    <a:lnTo>
                      <a:pt x="0" y="68"/>
                    </a:lnTo>
                    <a:lnTo>
                      <a:pt x="15" y="0"/>
                    </a:lnTo>
                    <a:lnTo>
                      <a:pt x="82" y="0"/>
                    </a:lnTo>
                    <a:lnTo>
                      <a:pt x="67" y="68"/>
                    </a:lnTo>
                    <a:close/>
                  </a:path>
                </a:pathLst>
              </a:custGeom>
              <a:solidFill>
                <a:srgbClr val="98A9B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871" name="Freeform 41">
                <a:extLst>
                  <a:ext uri="{FF2B5EF4-FFF2-40B4-BE49-F238E27FC236}">
                    <a16:creationId xmlns:a16="http://schemas.microsoft.com/office/drawing/2014/main" id="{35CB4D4F-F8C0-7DE9-886B-63974BDF7E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44613" y="1574801"/>
                <a:ext cx="17463" cy="12700"/>
              </a:xfrm>
              <a:custGeom>
                <a:avLst/>
                <a:gdLst>
                  <a:gd name="T0" fmla="*/ 9 w 11"/>
                  <a:gd name="T1" fmla="*/ 8 h 8"/>
                  <a:gd name="T2" fmla="*/ 11 w 11"/>
                  <a:gd name="T3" fmla="*/ 0 h 8"/>
                  <a:gd name="T4" fmla="*/ 2 w 11"/>
                  <a:gd name="T5" fmla="*/ 0 h 8"/>
                  <a:gd name="T6" fmla="*/ 0 w 11"/>
                  <a:gd name="T7" fmla="*/ 8 h 8"/>
                  <a:gd name="T8" fmla="*/ 9 w 11"/>
                  <a:gd name="T9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8">
                    <a:moveTo>
                      <a:pt x="9" y="8"/>
                    </a:moveTo>
                    <a:lnTo>
                      <a:pt x="11" y="0"/>
                    </a:lnTo>
                    <a:lnTo>
                      <a:pt x="2" y="0"/>
                    </a:lnTo>
                    <a:lnTo>
                      <a:pt x="0" y="8"/>
                    </a:lnTo>
                    <a:lnTo>
                      <a:pt x="9" y="8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872" name="Freeform 42">
                <a:extLst>
                  <a:ext uri="{FF2B5EF4-FFF2-40B4-BE49-F238E27FC236}">
                    <a16:creationId xmlns:a16="http://schemas.microsoft.com/office/drawing/2014/main" id="{D8EA4280-896B-B0F7-8292-1F25D57F62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19213" y="1606551"/>
                <a:ext cx="17463" cy="12700"/>
              </a:xfrm>
              <a:custGeom>
                <a:avLst/>
                <a:gdLst>
                  <a:gd name="T0" fmla="*/ 0 w 11"/>
                  <a:gd name="T1" fmla="*/ 8 h 8"/>
                  <a:gd name="T2" fmla="*/ 9 w 11"/>
                  <a:gd name="T3" fmla="*/ 8 h 8"/>
                  <a:gd name="T4" fmla="*/ 11 w 11"/>
                  <a:gd name="T5" fmla="*/ 0 h 8"/>
                  <a:gd name="T6" fmla="*/ 2 w 11"/>
                  <a:gd name="T7" fmla="*/ 0 h 8"/>
                  <a:gd name="T8" fmla="*/ 0 w 11"/>
                  <a:gd name="T9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8">
                    <a:moveTo>
                      <a:pt x="0" y="8"/>
                    </a:moveTo>
                    <a:lnTo>
                      <a:pt x="9" y="8"/>
                    </a:lnTo>
                    <a:lnTo>
                      <a:pt x="11" y="0"/>
                    </a:lnTo>
                    <a:lnTo>
                      <a:pt x="2" y="0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873" name="Freeform 43">
                <a:extLst>
                  <a:ext uri="{FF2B5EF4-FFF2-40B4-BE49-F238E27FC236}">
                    <a16:creationId xmlns:a16="http://schemas.microsoft.com/office/drawing/2014/main" id="{8AB7195F-1948-F4B2-02B2-3DF5171248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44601" y="1606551"/>
                <a:ext cx="19050" cy="12700"/>
              </a:xfrm>
              <a:custGeom>
                <a:avLst/>
                <a:gdLst>
                  <a:gd name="T0" fmla="*/ 12 w 12"/>
                  <a:gd name="T1" fmla="*/ 0 h 8"/>
                  <a:gd name="T2" fmla="*/ 2 w 12"/>
                  <a:gd name="T3" fmla="*/ 0 h 8"/>
                  <a:gd name="T4" fmla="*/ 0 w 12"/>
                  <a:gd name="T5" fmla="*/ 8 h 8"/>
                  <a:gd name="T6" fmla="*/ 11 w 12"/>
                  <a:gd name="T7" fmla="*/ 8 h 8"/>
                  <a:gd name="T8" fmla="*/ 12 w 12"/>
                  <a:gd name="T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8">
                    <a:moveTo>
                      <a:pt x="12" y="0"/>
                    </a:moveTo>
                    <a:lnTo>
                      <a:pt x="2" y="0"/>
                    </a:lnTo>
                    <a:lnTo>
                      <a:pt x="0" y="8"/>
                    </a:lnTo>
                    <a:lnTo>
                      <a:pt x="11" y="8"/>
                    </a:lnTo>
                    <a:lnTo>
                      <a:pt x="12" y="0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874" name="Freeform 44">
                <a:extLst>
                  <a:ext uri="{FF2B5EF4-FFF2-40B4-BE49-F238E27FC236}">
                    <a16:creationId xmlns:a16="http://schemas.microsoft.com/office/drawing/2014/main" id="{514300EF-3FC8-B5E9-D555-6B404F1EB9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16038" y="1622426"/>
                <a:ext cx="17463" cy="11113"/>
              </a:xfrm>
              <a:custGeom>
                <a:avLst/>
                <a:gdLst>
                  <a:gd name="T0" fmla="*/ 0 w 11"/>
                  <a:gd name="T1" fmla="*/ 7 h 7"/>
                  <a:gd name="T2" fmla="*/ 9 w 11"/>
                  <a:gd name="T3" fmla="*/ 7 h 7"/>
                  <a:gd name="T4" fmla="*/ 11 w 11"/>
                  <a:gd name="T5" fmla="*/ 0 h 7"/>
                  <a:gd name="T6" fmla="*/ 2 w 11"/>
                  <a:gd name="T7" fmla="*/ 0 h 7"/>
                  <a:gd name="T8" fmla="*/ 0 w 11"/>
                  <a:gd name="T9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7">
                    <a:moveTo>
                      <a:pt x="0" y="7"/>
                    </a:moveTo>
                    <a:lnTo>
                      <a:pt x="9" y="7"/>
                    </a:lnTo>
                    <a:lnTo>
                      <a:pt x="11" y="0"/>
                    </a:lnTo>
                    <a:lnTo>
                      <a:pt x="2" y="0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875" name="Freeform 45">
                <a:extLst>
                  <a:ext uri="{FF2B5EF4-FFF2-40B4-BE49-F238E27FC236}">
                    <a16:creationId xmlns:a16="http://schemas.microsoft.com/office/drawing/2014/main" id="{1E66827E-9D87-0283-C7F0-DFCEE6D79D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92226" y="1652588"/>
                <a:ext cx="15875" cy="12700"/>
              </a:xfrm>
              <a:custGeom>
                <a:avLst/>
                <a:gdLst>
                  <a:gd name="T0" fmla="*/ 1 w 10"/>
                  <a:gd name="T1" fmla="*/ 0 h 8"/>
                  <a:gd name="T2" fmla="*/ 0 w 10"/>
                  <a:gd name="T3" fmla="*/ 8 h 8"/>
                  <a:gd name="T4" fmla="*/ 9 w 10"/>
                  <a:gd name="T5" fmla="*/ 8 h 8"/>
                  <a:gd name="T6" fmla="*/ 10 w 10"/>
                  <a:gd name="T7" fmla="*/ 0 h 8"/>
                  <a:gd name="T8" fmla="*/ 1 w 10"/>
                  <a:gd name="T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8">
                    <a:moveTo>
                      <a:pt x="1" y="0"/>
                    </a:moveTo>
                    <a:lnTo>
                      <a:pt x="0" y="8"/>
                    </a:lnTo>
                    <a:lnTo>
                      <a:pt x="9" y="8"/>
                    </a:lnTo>
                    <a:lnTo>
                      <a:pt x="10" y="0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876" name="Freeform 46">
                <a:extLst>
                  <a:ext uri="{FF2B5EF4-FFF2-40B4-BE49-F238E27FC236}">
                    <a16:creationId xmlns:a16="http://schemas.microsoft.com/office/drawing/2014/main" id="{3B14CDB7-09DB-46F9-490C-AAE7FD0522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12863" y="1638301"/>
                <a:ext cx="17463" cy="11113"/>
              </a:xfrm>
              <a:custGeom>
                <a:avLst/>
                <a:gdLst>
                  <a:gd name="T0" fmla="*/ 0 w 11"/>
                  <a:gd name="T1" fmla="*/ 7 h 7"/>
                  <a:gd name="T2" fmla="*/ 9 w 11"/>
                  <a:gd name="T3" fmla="*/ 7 h 7"/>
                  <a:gd name="T4" fmla="*/ 11 w 11"/>
                  <a:gd name="T5" fmla="*/ 0 h 7"/>
                  <a:gd name="T6" fmla="*/ 2 w 11"/>
                  <a:gd name="T7" fmla="*/ 0 h 7"/>
                  <a:gd name="T8" fmla="*/ 0 w 11"/>
                  <a:gd name="T9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7">
                    <a:moveTo>
                      <a:pt x="0" y="7"/>
                    </a:moveTo>
                    <a:lnTo>
                      <a:pt x="9" y="7"/>
                    </a:lnTo>
                    <a:lnTo>
                      <a:pt x="11" y="0"/>
                    </a:lnTo>
                    <a:lnTo>
                      <a:pt x="2" y="0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877" name="Freeform 47">
                <a:extLst>
                  <a:ext uri="{FF2B5EF4-FFF2-40B4-BE49-F238E27FC236}">
                    <a16:creationId xmlns:a16="http://schemas.microsoft.com/office/drawing/2014/main" id="{EA580088-7A03-A451-49BC-484AC9FFAD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09688" y="1652588"/>
                <a:ext cx="17463" cy="12700"/>
              </a:xfrm>
              <a:custGeom>
                <a:avLst/>
                <a:gdLst>
                  <a:gd name="T0" fmla="*/ 0 w 11"/>
                  <a:gd name="T1" fmla="*/ 8 h 8"/>
                  <a:gd name="T2" fmla="*/ 9 w 11"/>
                  <a:gd name="T3" fmla="*/ 8 h 8"/>
                  <a:gd name="T4" fmla="*/ 11 w 11"/>
                  <a:gd name="T5" fmla="*/ 0 h 8"/>
                  <a:gd name="T6" fmla="*/ 2 w 11"/>
                  <a:gd name="T7" fmla="*/ 0 h 8"/>
                  <a:gd name="T8" fmla="*/ 0 w 11"/>
                  <a:gd name="T9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8">
                    <a:moveTo>
                      <a:pt x="0" y="8"/>
                    </a:moveTo>
                    <a:lnTo>
                      <a:pt x="9" y="8"/>
                    </a:lnTo>
                    <a:lnTo>
                      <a:pt x="11" y="0"/>
                    </a:lnTo>
                    <a:lnTo>
                      <a:pt x="2" y="0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878" name="Freeform 48">
                <a:extLst>
                  <a:ext uri="{FF2B5EF4-FFF2-40B4-BE49-F238E27FC236}">
                    <a16:creationId xmlns:a16="http://schemas.microsoft.com/office/drawing/2014/main" id="{896EFD5E-8C76-1BAC-EE7F-2F2CD20BA1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2538" y="1574801"/>
                <a:ext cx="19050" cy="12700"/>
              </a:xfrm>
              <a:custGeom>
                <a:avLst/>
                <a:gdLst>
                  <a:gd name="T0" fmla="*/ 12 w 12"/>
                  <a:gd name="T1" fmla="*/ 0 h 8"/>
                  <a:gd name="T2" fmla="*/ 1 w 12"/>
                  <a:gd name="T3" fmla="*/ 0 h 8"/>
                  <a:gd name="T4" fmla="*/ 0 w 12"/>
                  <a:gd name="T5" fmla="*/ 8 h 8"/>
                  <a:gd name="T6" fmla="*/ 10 w 12"/>
                  <a:gd name="T7" fmla="*/ 8 h 8"/>
                  <a:gd name="T8" fmla="*/ 12 w 12"/>
                  <a:gd name="T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8">
                    <a:moveTo>
                      <a:pt x="12" y="0"/>
                    </a:moveTo>
                    <a:lnTo>
                      <a:pt x="1" y="0"/>
                    </a:lnTo>
                    <a:lnTo>
                      <a:pt x="0" y="8"/>
                    </a:lnTo>
                    <a:lnTo>
                      <a:pt x="10" y="8"/>
                    </a:lnTo>
                    <a:lnTo>
                      <a:pt x="12" y="0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879" name="Freeform 49">
                <a:extLst>
                  <a:ext uri="{FF2B5EF4-FFF2-40B4-BE49-F238E27FC236}">
                    <a16:creationId xmlns:a16="http://schemas.microsoft.com/office/drawing/2014/main" id="{114BE6F3-17DD-3789-B200-01D2589839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49363" y="1590676"/>
                <a:ext cx="19050" cy="12700"/>
              </a:xfrm>
              <a:custGeom>
                <a:avLst/>
                <a:gdLst>
                  <a:gd name="T0" fmla="*/ 12 w 12"/>
                  <a:gd name="T1" fmla="*/ 0 h 8"/>
                  <a:gd name="T2" fmla="*/ 1 w 12"/>
                  <a:gd name="T3" fmla="*/ 0 h 8"/>
                  <a:gd name="T4" fmla="*/ 0 w 12"/>
                  <a:gd name="T5" fmla="*/ 8 h 8"/>
                  <a:gd name="T6" fmla="*/ 10 w 12"/>
                  <a:gd name="T7" fmla="*/ 8 h 8"/>
                  <a:gd name="T8" fmla="*/ 12 w 12"/>
                  <a:gd name="T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8">
                    <a:moveTo>
                      <a:pt x="12" y="0"/>
                    </a:moveTo>
                    <a:lnTo>
                      <a:pt x="1" y="0"/>
                    </a:lnTo>
                    <a:lnTo>
                      <a:pt x="0" y="8"/>
                    </a:lnTo>
                    <a:lnTo>
                      <a:pt x="10" y="8"/>
                    </a:lnTo>
                    <a:lnTo>
                      <a:pt x="12" y="0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880" name="Freeform 50">
                <a:extLst>
                  <a:ext uri="{FF2B5EF4-FFF2-40B4-BE49-F238E27FC236}">
                    <a16:creationId xmlns:a16="http://schemas.microsoft.com/office/drawing/2014/main" id="{C07267CE-1849-FDED-AE4C-F65E5D2D3F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1588" y="1574801"/>
                <a:ext cx="17463" cy="12700"/>
              </a:xfrm>
              <a:custGeom>
                <a:avLst/>
                <a:gdLst>
                  <a:gd name="T0" fmla="*/ 9 w 11"/>
                  <a:gd name="T1" fmla="*/ 8 h 8"/>
                  <a:gd name="T2" fmla="*/ 11 w 11"/>
                  <a:gd name="T3" fmla="*/ 0 h 8"/>
                  <a:gd name="T4" fmla="*/ 2 w 11"/>
                  <a:gd name="T5" fmla="*/ 0 h 8"/>
                  <a:gd name="T6" fmla="*/ 0 w 11"/>
                  <a:gd name="T7" fmla="*/ 8 h 8"/>
                  <a:gd name="T8" fmla="*/ 9 w 11"/>
                  <a:gd name="T9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8">
                    <a:moveTo>
                      <a:pt x="9" y="8"/>
                    </a:moveTo>
                    <a:lnTo>
                      <a:pt x="11" y="0"/>
                    </a:lnTo>
                    <a:lnTo>
                      <a:pt x="2" y="0"/>
                    </a:lnTo>
                    <a:lnTo>
                      <a:pt x="0" y="8"/>
                    </a:lnTo>
                    <a:lnTo>
                      <a:pt x="9" y="8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881" name="Freeform 51">
                <a:extLst>
                  <a:ext uri="{FF2B5EF4-FFF2-40B4-BE49-F238E27FC236}">
                    <a16:creationId xmlns:a16="http://schemas.microsoft.com/office/drawing/2014/main" id="{B6E1F34D-E5F9-BBD1-7B21-BE2153EA68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27151" y="1574801"/>
                <a:ext cx="17463" cy="12700"/>
              </a:xfrm>
              <a:custGeom>
                <a:avLst/>
                <a:gdLst>
                  <a:gd name="T0" fmla="*/ 9 w 11"/>
                  <a:gd name="T1" fmla="*/ 8 h 8"/>
                  <a:gd name="T2" fmla="*/ 11 w 11"/>
                  <a:gd name="T3" fmla="*/ 0 h 8"/>
                  <a:gd name="T4" fmla="*/ 1 w 11"/>
                  <a:gd name="T5" fmla="*/ 0 h 8"/>
                  <a:gd name="T6" fmla="*/ 0 w 11"/>
                  <a:gd name="T7" fmla="*/ 8 h 8"/>
                  <a:gd name="T8" fmla="*/ 9 w 11"/>
                  <a:gd name="T9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8">
                    <a:moveTo>
                      <a:pt x="9" y="8"/>
                    </a:moveTo>
                    <a:lnTo>
                      <a:pt x="11" y="0"/>
                    </a:lnTo>
                    <a:lnTo>
                      <a:pt x="1" y="0"/>
                    </a:lnTo>
                    <a:lnTo>
                      <a:pt x="0" y="8"/>
                    </a:lnTo>
                    <a:lnTo>
                      <a:pt x="9" y="8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882" name="Freeform 52">
                <a:extLst>
                  <a:ext uri="{FF2B5EF4-FFF2-40B4-BE49-F238E27FC236}">
                    <a16:creationId xmlns:a16="http://schemas.microsoft.com/office/drawing/2014/main" id="{CA63119B-DEF1-A27D-FEC0-F478213754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90638" y="1574801"/>
                <a:ext cx="17463" cy="12700"/>
              </a:xfrm>
              <a:custGeom>
                <a:avLst/>
                <a:gdLst>
                  <a:gd name="T0" fmla="*/ 9 w 11"/>
                  <a:gd name="T1" fmla="*/ 8 h 8"/>
                  <a:gd name="T2" fmla="*/ 11 w 11"/>
                  <a:gd name="T3" fmla="*/ 0 h 8"/>
                  <a:gd name="T4" fmla="*/ 2 w 11"/>
                  <a:gd name="T5" fmla="*/ 0 h 8"/>
                  <a:gd name="T6" fmla="*/ 0 w 11"/>
                  <a:gd name="T7" fmla="*/ 8 h 8"/>
                  <a:gd name="T8" fmla="*/ 9 w 11"/>
                  <a:gd name="T9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8">
                    <a:moveTo>
                      <a:pt x="9" y="8"/>
                    </a:moveTo>
                    <a:lnTo>
                      <a:pt x="11" y="0"/>
                    </a:lnTo>
                    <a:lnTo>
                      <a:pt x="2" y="0"/>
                    </a:lnTo>
                    <a:lnTo>
                      <a:pt x="0" y="8"/>
                    </a:lnTo>
                    <a:lnTo>
                      <a:pt x="9" y="8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883" name="Freeform 53">
                <a:extLst>
                  <a:ext uri="{FF2B5EF4-FFF2-40B4-BE49-F238E27FC236}">
                    <a16:creationId xmlns:a16="http://schemas.microsoft.com/office/drawing/2014/main" id="{E23C6B18-DB81-4038-6EB9-98D39BFB9F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08101" y="1574801"/>
                <a:ext cx="17463" cy="12700"/>
              </a:xfrm>
              <a:custGeom>
                <a:avLst/>
                <a:gdLst>
                  <a:gd name="T0" fmla="*/ 9 w 11"/>
                  <a:gd name="T1" fmla="*/ 8 h 8"/>
                  <a:gd name="T2" fmla="*/ 11 w 11"/>
                  <a:gd name="T3" fmla="*/ 0 h 8"/>
                  <a:gd name="T4" fmla="*/ 2 w 11"/>
                  <a:gd name="T5" fmla="*/ 0 h 8"/>
                  <a:gd name="T6" fmla="*/ 0 w 11"/>
                  <a:gd name="T7" fmla="*/ 8 h 8"/>
                  <a:gd name="T8" fmla="*/ 9 w 11"/>
                  <a:gd name="T9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8">
                    <a:moveTo>
                      <a:pt x="9" y="8"/>
                    </a:moveTo>
                    <a:lnTo>
                      <a:pt x="11" y="0"/>
                    </a:lnTo>
                    <a:lnTo>
                      <a:pt x="2" y="0"/>
                    </a:lnTo>
                    <a:lnTo>
                      <a:pt x="0" y="8"/>
                    </a:lnTo>
                    <a:lnTo>
                      <a:pt x="9" y="8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884" name="Freeform 54">
                <a:extLst>
                  <a:ext uri="{FF2B5EF4-FFF2-40B4-BE49-F238E27FC236}">
                    <a16:creationId xmlns:a16="http://schemas.microsoft.com/office/drawing/2014/main" id="{076DA11C-2BAE-1F96-2511-5988A08DCE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5713" y="1652588"/>
                <a:ext cx="17463" cy="12700"/>
              </a:xfrm>
              <a:custGeom>
                <a:avLst/>
                <a:gdLst>
                  <a:gd name="T0" fmla="*/ 1 w 11"/>
                  <a:gd name="T1" fmla="*/ 0 h 8"/>
                  <a:gd name="T2" fmla="*/ 0 w 11"/>
                  <a:gd name="T3" fmla="*/ 8 h 8"/>
                  <a:gd name="T4" fmla="*/ 9 w 11"/>
                  <a:gd name="T5" fmla="*/ 8 h 8"/>
                  <a:gd name="T6" fmla="*/ 11 w 11"/>
                  <a:gd name="T7" fmla="*/ 0 h 8"/>
                  <a:gd name="T8" fmla="*/ 1 w 11"/>
                  <a:gd name="T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8">
                    <a:moveTo>
                      <a:pt x="1" y="0"/>
                    </a:moveTo>
                    <a:lnTo>
                      <a:pt x="0" y="8"/>
                    </a:lnTo>
                    <a:lnTo>
                      <a:pt x="9" y="8"/>
                    </a:lnTo>
                    <a:lnTo>
                      <a:pt x="11" y="0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885" name="Freeform 55">
                <a:extLst>
                  <a:ext uri="{FF2B5EF4-FFF2-40B4-BE49-F238E27FC236}">
                    <a16:creationId xmlns:a16="http://schemas.microsoft.com/office/drawing/2014/main" id="{E5939509-0F21-4E77-8A24-99811D8690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95401" y="1638301"/>
                <a:ext cx="15875" cy="11113"/>
              </a:xfrm>
              <a:custGeom>
                <a:avLst/>
                <a:gdLst>
                  <a:gd name="T0" fmla="*/ 0 w 10"/>
                  <a:gd name="T1" fmla="*/ 7 h 7"/>
                  <a:gd name="T2" fmla="*/ 9 w 10"/>
                  <a:gd name="T3" fmla="*/ 7 h 7"/>
                  <a:gd name="T4" fmla="*/ 10 w 10"/>
                  <a:gd name="T5" fmla="*/ 0 h 7"/>
                  <a:gd name="T6" fmla="*/ 1 w 10"/>
                  <a:gd name="T7" fmla="*/ 0 h 7"/>
                  <a:gd name="T8" fmla="*/ 0 w 10"/>
                  <a:gd name="T9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7">
                    <a:moveTo>
                      <a:pt x="0" y="7"/>
                    </a:moveTo>
                    <a:lnTo>
                      <a:pt x="9" y="7"/>
                    </a:lnTo>
                    <a:lnTo>
                      <a:pt x="10" y="0"/>
                    </a:lnTo>
                    <a:lnTo>
                      <a:pt x="1" y="0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886" name="Freeform 56">
                <a:extLst>
                  <a:ext uri="{FF2B5EF4-FFF2-40B4-BE49-F238E27FC236}">
                    <a16:creationId xmlns:a16="http://schemas.microsoft.com/office/drawing/2014/main" id="{82AB1FA4-9E2F-D436-BFC1-640F3425B0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6351" y="1638301"/>
                <a:ext cx="17463" cy="11113"/>
              </a:xfrm>
              <a:custGeom>
                <a:avLst/>
                <a:gdLst>
                  <a:gd name="T0" fmla="*/ 2 w 11"/>
                  <a:gd name="T1" fmla="*/ 0 h 7"/>
                  <a:gd name="T2" fmla="*/ 0 w 11"/>
                  <a:gd name="T3" fmla="*/ 7 h 7"/>
                  <a:gd name="T4" fmla="*/ 9 w 11"/>
                  <a:gd name="T5" fmla="*/ 7 h 7"/>
                  <a:gd name="T6" fmla="*/ 11 w 11"/>
                  <a:gd name="T7" fmla="*/ 0 h 7"/>
                  <a:gd name="T8" fmla="*/ 2 w 11"/>
                  <a:gd name="T9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7">
                    <a:moveTo>
                      <a:pt x="2" y="0"/>
                    </a:moveTo>
                    <a:lnTo>
                      <a:pt x="0" y="7"/>
                    </a:lnTo>
                    <a:lnTo>
                      <a:pt x="9" y="7"/>
                    </a:lnTo>
                    <a:lnTo>
                      <a:pt x="11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887" name="Freeform 57">
                <a:extLst>
                  <a:ext uri="{FF2B5EF4-FFF2-40B4-BE49-F238E27FC236}">
                    <a16:creationId xmlns:a16="http://schemas.microsoft.com/office/drawing/2014/main" id="{EF395314-D04A-FAAE-73F0-7D945E90F0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98576" y="1622426"/>
                <a:ext cx="17463" cy="11113"/>
              </a:xfrm>
              <a:custGeom>
                <a:avLst/>
                <a:gdLst>
                  <a:gd name="T0" fmla="*/ 0 w 11"/>
                  <a:gd name="T1" fmla="*/ 7 h 7"/>
                  <a:gd name="T2" fmla="*/ 9 w 11"/>
                  <a:gd name="T3" fmla="*/ 7 h 7"/>
                  <a:gd name="T4" fmla="*/ 11 w 11"/>
                  <a:gd name="T5" fmla="*/ 0 h 7"/>
                  <a:gd name="T6" fmla="*/ 1 w 11"/>
                  <a:gd name="T7" fmla="*/ 0 h 7"/>
                  <a:gd name="T8" fmla="*/ 0 w 11"/>
                  <a:gd name="T9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7">
                    <a:moveTo>
                      <a:pt x="0" y="7"/>
                    </a:moveTo>
                    <a:lnTo>
                      <a:pt x="9" y="7"/>
                    </a:lnTo>
                    <a:lnTo>
                      <a:pt x="11" y="0"/>
                    </a:lnTo>
                    <a:lnTo>
                      <a:pt x="1" y="0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888" name="Freeform 58">
                <a:extLst>
                  <a:ext uri="{FF2B5EF4-FFF2-40B4-BE49-F238E27FC236}">
                    <a16:creationId xmlns:a16="http://schemas.microsoft.com/office/drawing/2014/main" id="{4BB2655D-5B27-4CE0-60BD-4DCA5949B3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9526" y="1622426"/>
                <a:ext cx="17463" cy="11113"/>
              </a:xfrm>
              <a:custGeom>
                <a:avLst/>
                <a:gdLst>
                  <a:gd name="T0" fmla="*/ 11 w 11"/>
                  <a:gd name="T1" fmla="*/ 0 h 7"/>
                  <a:gd name="T2" fmla="*/ 2 w 11"/>
                  <a:gd name="T3" fmla="*/ 0 h 7"/>
                  <a:gd name="T4" fmla="*/ 0 w 11"/>
                  <a:gd name="T5" fmla="*/ 7 h 7"/>
                  <a:gd name="T6" fmla="*/ 10 w 11"/>
                  <a:gd name="T7" fmla="*/ 7 h 7"/>
                  <a:gd name="T8" fmla="*/ 11 w 11"/>
                  <a:gd name="T9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7">
                    <a:moveTo>
                      <a:pt x="11" y="0"/>
                    </a:moveTo>
                    <a:lnTo>
                      <a:pt x="2" y="0"/>
                    </a:lnTo>
                    <a:lnTo>
                      <a:pt x="0" y="7"/>
                    </a:lnTo>
                    <a:lnTo>
                      <a:pt x="10" y="7"/>
                    </a:lnTo>
                    <a:lnTo>
                      <a:pt x="11" y="0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889" name="Freeform 59">
                <a:extLst>
                  <a:ext uri="{FF2B5EF4-FFF2-40B4-BE49-F238E27FC236}">
                    <a16:creationId xmlns:a16="http://schemas.microsoft.com/office/drawing/2014/main" id="{A0990AE6-ABE1-D1E7-B8F3-AAC64A37E9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01751" y="1606551"/>
                <a:ext cx="17463" cy="12700"/>
              </a:xfrm>
              <a:custGeom>
                <a:avLst/>
                <a:gdLst>
                  <a:gd name="T0" fmla="*/ 0 w 11"/>
                  <a:gd name="T1" fmla="*/ 8 h 8"/>
                  <a:gd name="T2" fmla="*/ 9 w 11"/>
                  <a:gd name="T3" fmla="*/ 8 h 8"/>
                  <a:gd name="T4" fmla="*/ 11 w 11"/>
                  <a:gd name="T5" fmla="*/ 0 h 8"/>
                  <a:gd name="T6" fmla="*/ 1 w 11"/>
                  <a:gd name="T7" fmla="*/ 0 h 8"/>
                  <a:gd name="T8" fmla="*/ 0 w 11"/>
                  <a:gd name="T9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8">
                    <a:moveTo>
                      <a:pt x="0" y="8"/>
                    </a:moveTo>
                    <a:lnTo>
                      <a:pt x="9" y="8"/>
                    </a:lnTo>
                    <a:lnTo>
                      <a:pt x="11" y="0"/>
                    </a:lnTo>
                    <a:lnTo>
                      <a:pt x="1" y="0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890" name="Freeform 60">
                <a:extLst>
                  <a:ext uri="{FF2B5EF4-FFF2-40B4-BE49-F238E27FC236}">
                    <a16:creationId xmlns:a16="http://schemas.microsoft.com/office/drawing/2014/main" id="{DD2E78FF-88BB-EBD9-D879-33F792F031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82701" y="1606551"/>
                <a:ext cx="17463" cy="12700"/>
              </a:xfrm>
              <a:custGeom>
                <a:avLst/>
                <a:gdLst>
                  <a:gd name="T0" fmla="*/ 11 w 11"/>
                  <a:gd name="T1" fmla="*/ 0 h 8"/>
                  <a:gd name="T2" fmla="*/ 2 w 11"/>
                  <a:gd name="T3" fmla="*/ 0 h 8"/>
                  <a:gd name="T4" fmla="*/ 0 w 11"/>
                  <a:gd name="T5" fmla="*/ 8 h 8"/>
                  <a:gd name="T6" fmla="*/ 10 w 11"/>
                  <a:gd name="T7" fmla="*/ 8 h 8"/>
                  <a:gd name="T8" fmla="*/ 11 w 11"/>
                  <a:gd name="T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8">
                    <a:moveTo>
                      <a:pt x="11" y="0"/>
                    </a:moveTo>
                    <a:lnTo>
                      <a:pt x="2" y="0"/>
                    </a:lnTo>
                    <a:lnTo>
                      <a:pt x="0" y="8"/>
                    </a:lnTo>
                    <a:lnTo>
                      <a:pt x="10" y="8"/>
                    </a:lnTo>
                    <a:lnTo>
                      <a:pt x="11" y="0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891" name="Freeform 61">
                <a:extLst>
                  <a:ext uri="{FF2B5EF4-FFF2-40B4-BE49-F238E27FC236}">
                    <a16:creationId xmlns:a16="http://schemas.microsoft.com/office/drawing/2014/main" id="{D97C2B30-E168-8A7F-0251-30637D9819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65238" y="1606551"/>
                <a:ext cx="17463" cy="12700"/>
              </a:xfrm>
              <a:custGeom>
                <a:avLst/>
                <a:gdLst>
                  <a:gd name="T0" fmla="*/ 11 w 11"/>
                  <a:gd name="T1" fmla="*/ 0 h 8"/>
                  <a:gd name="T2" fmla="*/ 2 w 11"/>
                  <a:gd name="T3" fmla="*/ 0 h 8"/>
                  <a:gd name="T4" fmla="*/ 0 w 11"/>
                  <a:gd name="T5" fmla="*/ 8 h 8"/>
                  <a:gd name="T6" fmla="*/ 9 w 11"/>
                  <a:gd name="T7" fmla="*/ 8 h 8"/>
                  <a:gd name="T8" fmla="*/ 11 w 11"/>
                  <a:gd name="T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8">
                    <a:moveTo>
                      <a:pt x="11" y="0"/>
                    </a:moveTo>
                    <a:lnTo>
                      <a:pt x="2" y="0"/>
                    </a:lnTo>
                    <a:lnTo>
                      <a:pt x="0" y="8"/>
                    </a:lnTo>
                    <a:lnTo>
                      <a:pt x="9" y="8"/>
                    </a:lnTo>
                    <a:lnTo>
                      <a:pt x="11" y="0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892" name="Freeform 62">
                <a:extLst>
                  <a:ext uri="{FF2B5EF4-FFF2-40B4-BE49-F238E27FC236}">
                    <a16:creationId xmlns:a16="http://schemas.microsoft.com/office/drawing/2014/main" id="{3CB32E01-15B6-CB2F-B22F-108055995A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04926" y="1590676"/>
                <a:ext cx="17463" cy="12700"/>
              </a:xfrm>
              <a:custGeom>
                <a:avLst/>
                <a:gdLst>
                  <a:gd name="T0" fmla="*/ 9 w 11"/>
                  <a:gd name="T1" fmla="*/ 8 h 8"/>
                  <a:gd name="T2" fmla="*/ 11 w 11"/>
                  <a:gd name="T3" fmla="*/ 0 h 8"/>
                  <a:gd name="T4" fmla="*/ 2 w 11"/>
                  <a:gd name="T5" fmla="*/ 0 h 8"/>
                  <a:gd name="T6" fmla="*/ 0 w 11"/>
                  <a:gd name="T7" fmla="*/ 8 h 8"/>
                  <a:gd name="T8" fmla="*/ 9 w 11"/>
                  <a:gd name="T9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8">
                    <a:moveTo>
                      <a:pt x="9" y="8"/>
                    </a:moveTo>
                    <a:lnTo>
                      <a:pt x="11" y="0"/>
                    </a:lnTo>
                    <a:lnTo>
                      <a:pt x="2" y="0"/>
                    </a:lnTo>
                    <a:lnTo>
                      <a:pt x="0" y="8"/>
                    </a:lnTo>
                    <a:lnTo>
                      <a:pt x="9" y="8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893" name="Freeform 63">
                <a:extLst>
                  <a:ext uri="{FF2B5EF4-FFF2-40B4-BE49-F238E27FC236}">
                    <a16:creationId xmlns:a16="http://schemas.microsoft.com/office/drawing/2014/main" id="{E4D5107F-11E3-45E1-76C5-293EC4A76B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62063" y="1622426"/>
                <a:ext cx="17463" cy="11113"/>
              </a:xfrm>
              <a:custGeom>
                <a:avLst/>
                <a:gdLst>
                  <a:gd name="T0" fmla="*/ 11 w 11"/>
                  <a:gd name="T1" fmla="*/ 0 h 7"/>
                  <a:gd name="T2" fmla="*/ 1 w 11"/>
                  <a:gd name="T3" fmla="*/ 0 h 7"/>
                  <a:gd name="T4" fmla="*/ 0 w 11"/>
                  <a:gd name="T5" fmla="*/ 7 h 7"/>
                  <a:gd name="T6" fmla="*/ 9 w 11"/>
                  <a:gd name="T7" fmla="*/ 7 h 7"/>
                  <a:gd name="T8" fmla="*/ 11 w 11"/>
                  <a:gd name="T9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7">
                    <a:moveTo>
                      <a:pt x="11" y="0"/>
                    </a:moveTo>
                    <a:lnTo>
                      <a:pt x="1" y="0"/>
                    </a:lnTo>
                    <a:lnTo>
                      <a:pt x="0" y="7"/>
                    </a:lnTo>
                    <a:lnTo>
                      <a:pt x="9" y="7"/>
                    </a:lnTo>
                    <a:lnTo>
                      <a:pt x="11" y="0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894" name="Freeform 64">
                <a:extLst>
                  <a:ext uri="{FF2B5EF4-FFF2-40B4-BE49-F238E27FC236}">
                    <a16:creationId xmlns:a16="http://schemas.microsoft.com/office/drawing/2014/main" id="{4CC0A7C0-8EB0-2C6C-7147-2858EC4694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8888" y="1638301"/>
                <a:ext cx="17463" cy="11113"/>
              </a:xfrm>
              <a:custGeom>
                <a:avLst/>
                <a:gdLst>
                  <a:gd name="T0" fmla="*/ 11 w 11"/>
                  <a:gd name="T1" fmla="*/ 0 h 7"/>
                  <a:gd name="T2" fmla="*/ 1 w 11"/>
                  <a:gd name="T3" fmla="*/ 0 h 7"/>
                  <a:gd name="T4" fmla="*/ 0 w 11"/>
                  <a:gd name="T5" fmla="*/ 7 h 7"/>
                  <a:gd name="T6" fmla="*/ 9 w 11"/>
                  <a:gd name="T7" fmla="*/ 7 h 7"/>
                  <a:gd name="T8" fmla="*/ 11 w 11"/>
                  <a:gd name="T9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7">
                    <a:moveTo>
                      <a:pt x="11" y="0"/>
                    </a:moveTo>
                    <a:lnTo>
                      <a:pt x="1" y="0"/>
                    </a:lnTo>
                    <a:lnTo>
                      <a:pt x="0" y="7"/>
                    </a:lnTo>
                    <a:lnTo>
                      <a:pt x="9" y="7"/>
                    </a:lnTo>
                    <a:lnTo>
                      <a:pt x="11" y="0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895" name="Freeform 65">
                <a:extLst>
                  <a:ext uri="{FF2B5EF4-FFF2-40B4-BE49-F238E27FC236}">
                    <a16:creationId xmlns:a16="http://schemas.microsoft.com/office/drawing/2014/main" id="{4318BE84-19B8-E056-A057-C86E12EECA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3176" y="1652588"/>
                <a:ext cx="17463" cy="12700"/>
              </a:xfrm>
              <a:custGeom>
                <a:avLst/>
                <a:gdLst>
                  <a:gd name="T0" fmla="*/ 2 w 11"/>
                  <a:gd name="T1" fmla="*/ 0 h 8"/>
                  <a:gd name="T2" fmla="*/ 0 w 11"/>
                  <a:gd name="T3" fmla="*/ 8 h 8"/>
                  <a:gd name="T4" fmla="*/ 9 w 11"/>
                  <a:gd name="T5" fmla="*/ 8 h 8"/>
                  <a:gd name="T6" fmla="*/ 11 w 11"/>
                  <a:gd name="T7" fmla="*/ 0 h 8"/>
                  <a:gd name="T8" fmla="*/ 2 w 11"/>
                  <a:gd name="T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8">
                    <a:moveTo>
                      <a:pt x="2" y="0"/>
                    </a:moveTo>
                    <a:lnTo>
                      <a:pt x="0" y="8"/>
                    </a:lnTo>
                    <a:lnTo>
                      <a:pt x="9" y="8"/>
                    </a:lnTo>
                    <a:lnTo>
                      <a:pt x="11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896" name="Freeform 66">
                <a:extLst>
                  <a:ext uri="{FF2B5EF4-FFF2-40B4-BE49-F238E27FC236}">
                    <a16:creationId xmlns:a16="http://schemas.microsoft.com/office/drawing/2014/main" id="{05737ACE-2A9A-B219-0034-BC3E077ACA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68413" y="1590676"/>
                <a:ext cx="17463" cy="12700"/>
              </a:xfrm>
              <a:custGeom>
                <a:avLst/>
                <a:gdLst>
                  <a:gd name="T0" fmla="*/ 11 w 11"/>
                  <a:gd name="T1" fmla="*/ 0 h 8"/>
                  <a:gd name="T2" fmla="*/ 2 w 11"/>
                  <a:gd name="T3" fmla="*/ 0 h 8"/>
                  <a:gd name="T4" fmla="*/ 0 w 11"/>
                  <a:gd name="T5" fmla="*/ 8 h 8"/>
                  <a:gd name="T6" fmla="*/ 9 w 11"/>
                  <a:gd name="T7" fmla="*/ 8 h 8"/>
                  <a:gd name="T8" fmla="*/ 11 w 11"/>
                  <a:gd name="T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8">
                    <a:moveTo>
                      <a:pt x="11" y="0"/>
                    </a:moveTo>
                    <a:lnTo>
                      <a:pt x="2" y="0"/>
                    </a:lnTo>
                    <a:lnTo>
                      <a:pt x="0" y="8"/>
                    </a:lnTo>
                    <a:lnTo>
                      <a:pt x="9" y="8"/>
                    </a:lnTo>
                    <a:lnTo>
                      <a:pt x="11" y="0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897" name="Freeform 67">
                <a:extLst>
                  <a:ext uri="{FF2B5EF4-FFF2-40B4-BE49-F238E27FC236}">
                    <a16:creationId xmlns:a16="http://schemas.microsoft.com/office/drawing/2014/main" id="{D65B808E-B1CF-E99D-04F1-B4C8011653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85876" y="1590676"/>
                <a:ext cx="17463" cy="12700"/>
              </a:xfrm>
              <a:custGeom>
                <a:avLst/>
                <a:gdLst>
                  <a:gd name="T0" fmla="*/ 10 w 11"/>
                  <a:gd name="T1" fmla="*/ 8 h 8"/>
                  <a:gd name="T2" fmla="*/ 11 w 11"/>
                  <a:gd name="T3" fmla="*/ 0 h 8"/>
                  <a:gd name="T4" fmla="*/ 2 w 11"/>
                  <a:gd name="T5" fmla="*/ 0 h 8"/>
                  <a:gd name="T6" fmla="*/ 0 w 11"/>
                  <a:gd name="T7" fmla="*/ 8 h 8"/>
                  <a:gd name="T8" fmla="*/ 10 w 11"/>
                  <a:gd name="T9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8">
                    <a:moveTo>
                      <a:pt x="10" y="8"/>
                    </a:moveTo>
                    <a:lnTo>
                      <a:pt x="11" y="0"/>
                    </a:lnTo>
                    <a:lnTo>
                      <a:pt x="2" y="0"/>
                    </a:lnTo>
                    <a:lnTo>
                      <a:pt x="0" y="8"/>
                    </a:lnTo>
                    <a:lnTo>
                      <a:pt x="10" y="8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898" name="Freeform 68">
                <a:extLst>
                  <a:ext uri="{FF2B5EF4-FFF2-40B4-BE49-F238E27FC236}">
                    <a16:creationId xmlns:a16="http://schemas.microsoft.com/office/drawing/2014/main" id="{0440B170-3133-F5D0-2D26-E15A26AB26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22388" y="1590676"/>
                <a:ext cx="17463" cy="12700"/>
              </a:xfrm>
              <a:custGeom>
                <a:avLst/>
                <a:gdLst>
                  <a:gd name="T0" fmla="*/ 0 w 11"/>
                  <a:gd name="T1" fmla="*/ 8 h 8"/>
                  <a:gd name="T2" fmla="*/ 10 w 11"/>
                  <a:gd name="T3" fmla="*/ 8 h 8"/>
                  <a:gd name="T4" fmla="*/ 11 w 11"/>
                  <a:gd name="T5" fmla="*/ 0 h 8"/>
                  <a:gd name="T6" fmla="*/ 2 w 11"/>
                  <a:gd name="T7" fmla="*/ 0 h 8"/>
                  <a:gd name="T8" fmla="*/ 0 w 11"/>
                  <a:gd name="T9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8">
                    <a:moveTo>
                      <a:pt x="0" y="8"/>
                    </a:moveTo>
                    <a:lnTo>
                      <a:pt x="10" y="8"/>
                    </a:lnTo>
                    <a:lnTo>
                      <a:pt x="11" y="0"/>
                    </a:lnTo>
                    <a:lnTo>
                      <a:pt x="2" y="0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899" name="Freeform 69">
                <a:extLst>
                  <a:ext uri="{FF2B5EF4-FFF2-40B4-BE49-F238E27FC236}">
                    <a16:creationId xmlns:a16="http://schemas.microsoft.com/office/drawing/2014/main" id="{2D525403-5CDA-9B75-F3DD-423C8AF24F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35076" y="1652588"/>
                <a:ext cx="19050" cy="12700"/>
              </a:xfrm>
              <a:custGeom>
                <a:avLst/>
                <a:gdLst>
                  <a:gd name="T0" fmla="*/ 12 w 12"/>
                  <a:gd name="T1" fmla="*/ 0 h 8"/>
                  <a:gd name="T2" fmla="*/ 2 w 12"/>
                  <a:gd name="T3" fmla="*/ 0 h 8"/>
                  <a:gd name="T4" fmla="*/ 0 w 12"/>
                  <a:gd name="T5" fmla="*/ 8 h 8"/>
                  <a:gd name="T6" fmla="*/ 10 w 12"/>
                  <a:gd name="T7" fmla="*/ 8 h 8"/>
                  <a:gd name="T8" fmla="*/ 12 w 12"/>
                  <a:gd name="T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8">
                    <a:moveTo>
                      <a:pt x="12" y="0"/>
                    </a:moveTo>
                    <a:lnTo>
                      <a:pt x="2" y="0"/>
                    </a:lnTo>
                    <a:lnTo>
                      <a:pt x="0" y="8"/>
                    </a:lnTo>
                    <a:lnTo>
                      <a:pt x="10" y="8"/>
                    </a:lnTo>
                    <a:lnTo>
                      <a:pt x="12" y="0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900" name="Freeform 70">
                <a:extLst>
                  <a:ext uri="{FF2B5EF4-FFF2-40B4-BE49-F238E27FC236}">
                    <a16:creationId xmlns:a16="http://schemas.microsoft.com/office/drawing/2014/main" id="{C6CFAD5F-9ACB-2060-36A8-772EBC5FA5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38263" y="1606551"/>
                <a:ext cx="17463" cy="12700"/>
              </a:xfrm>
              <a:custGeom>
                <a:avLst/>
                <a:gdLst>
                  <a:gd name="T0" fmla="*/ 0 w 11"/>
                  <a:gd name="T1" fmla="*/ 8 h 8"/>
                  <a:gd name="T2" fmla="*/ 9 w 11"/>
                  <a:gd name="T3" fmla="*/ 8 h 8"/>
                  <a:gd name="T4" fmla="*/ 11 w 11"/>
                  <a:gd name="T5" fmla="*/ 0 h 8"/>
                  <a:gd name="T6" fmla="*/ 1 w 11"/>
                  <a:gd name="T7" fmla="*/ 0 h 8"/>
                  <a:gd name="T8" fmla="*/ 0 w 11"/>
                  <a:gd name="T9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8">
                    <a:moveTo>
                      <a:pt x="0" y="8"/>
                    </a:moveTo>
                    <a:lnTo>
                      <a:pt x="9" y="8"/>
                    </a:lnTo>
                    <a:lnTo>
                      <a:pt x="11" y="0"/>
                    </a:lnTo>
                    <a:lnTo>
                      <a:pt x="1" y="0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901" name="Freeform 71">
                <a:extLst>
                  <a:ext uri="{FF2B5EF4-FFF2-40B4-BE49-F238E27FC236}">
                    <a16:creationId xmlns:a16="http://schemas.microsoft.com/office/drawing/2014/main" id="{C947C57D-EB9E-C018-68BB-FE5805B8D0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0001" y="1668463"/>
                <a:ext cx="17463" cy="12700"/>
              </a:xfrm>
              <a:custGeom>
                <a:avLst/>
                <a:gdLst>
                  <a:gd name="T0" fmla="*/ 2 w 11"/>
                  <a:gd name="T1" fmla="*/ 0 h 8"/>
                  <a:gd name="T2" fmla="*/ 0 w 11"/>
                  <a:gd name="T3" fmla="*/ 8 h 8"/>
                  <a:gd name="T4" fmla="*/ 9 w 11"/>
                  <a:gd name="T5" fmla="*/ 8 h 8"/>
                  <a:gd name="T6" fmla="*/ 11 w 11"/>
                  <a:gd name="T7" fmla="*/ 0 h 8"/>
                  <a:gd name="T8" fmla="*/ 2 w 11"/>
                  <a:gd name="T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8">
                    <a:moveTo>
                      <a:pt x="2" y="0"/>
                    </a:moveTo>
                    <a:lnTo>
                      <a:pt x="0" y="8"/>
                    </a:lnTo>
                    <a:lnTo>
                      <a:pt x="9" y="8"/>
                    </a:lnTo>
                    <a:lnTo>
                      <a:pt x="11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902" name="Freeform 72">
                <a:extLst>
                  <a:ext uri="{FF2B5EF4-FFF2-40B4-BE49-F238E27FC236}">
                    <a16:creationId xmlns:a16="http://schemas.microsoft.com/office/drawing/2014/main" id="{63D8BCE7-FB74-C5E3-EC1D-863E50A201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87463" y="1668463"/>
                <a:ext cx="17463" cy="12700"/>
              </a:xfrm>
              <a:custGeom>
                <a:avLst/>
                <a:gdLst>
                  <a:gd name="T0" fmla="*/ 2 w 11"/>
                  <a:gd name="T1" fmla="*/ 0 h 8"/>
                  <a:gd name="T2" fmla="*/ 0 w 11"/>
                  <a:gd name="T3" fmla="*/ 8 h 8"/>
                  <a:gd name="T4" fmla="*/ 9 w 11"/>
                  <a:gd name="T5" fmla="*/ 8 h 8"/>
                  <a:gd name="T6" fmla="*/ 11 w 11"/>
                  <a:gd name="T7" fmla="*/ 0 h 8"/>
                  <a:gd name="T8" fmla="*/ 2 w 11"/>
                  <a:gd name="T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8">
                    <a:moveTo>
                      <a:pt x="2" y="0"/>
                    </a:moveTo>
                    <a:lnTo>
                      <a:pt x="0" y="8"/>
                    </a:lnTo>
                    <a:lnTo>
                      <a:pt x="9" y="8"/>
                    </a:lnTo>
                    <a:lnTo>
                      <a:pt x="11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903" name="Freeform 73">
                <a:extLst>
                  <a:ext uri="{FF2B5EF4-FFF2-40B4-BE49-F238E27FC236}">
                    <a16:creationId xmlns:a16="http://schemas.microsoft.com/office/drawing/2014/main" id="{EB7286F7-0A99-EFC8-4A67-6F88E8DDC5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0951" y="1668463"/>
                <a:ext cx="17463" cy="12700"/>
              </a:xfrm>
              <a:custGeom>
                <a:avLst/>
                <a:gdLst>
                  <a:gd name="T0" fmla="*/ 2 w 11"/>
                  <a:gd name="T1" fmla="*/ 0 h 8"/>
                  <a:gd name="T2" fmla="*/ 0 w 11"/>
                  <a:gd name="T3" fmla="*/ 8 h 8"/>
                  <a:gd name="T4" fmla="*/ 10 w 11"/>
                  <a:gd name="T5" fmla="*/ 8 h 8"/>
                  <a:gd name="T6" fmla="*/ 11 w 11"/>
                  <a:gd name="T7" fmla="*/ 0 h 8"/>
                  <a:gd name="T8" fmla="*/ 2 w 11"/>
                  <a:gd name="T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8">
                    <a:moveTo>
                      <a:pt x="2" y="0"/>
                    </a:moveTo>
                    <a:lnTo>
                      <a:pt x="0" y="8"/>
                    </a:lnTo>
                    <a:lnTo>
                      <a:pt x="10" y="8"/>
                    </a:lnTo>
                    <a:lnTo>
                      <a:pt x="11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904" name="Freeform 74">
                <a:extLst>
                  <a:ext uri="{FF2B5EF4-FFF2-40B4-BE49-F238E27FC236}">
                    <a16:creationId xmlns:a16="http://schemas.microsoft.com/office/drawing/2014/main" id="{7731466E-2764-9647-AFA6-919645837D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41438" y="1590676"/>
                <a:ext cx="17463" cy="12700"/>
              </a:xfrm>
              <a:custGeom>
                <a:avLst/>
                <a:gdLst>
                  <a:gd name="T0" fmla="*/ 2 w 11"/>
                  <a:gd name="T1" fmla="*/ 0 h 8"/>
                  <a:gd name="T2" fmla="*/ 0 w 11"/>
                  <a:gd name="T3" fmla="*/ 8 h 8"/>
                  <a:gd name="T4" fmla="*/ 9 w 11"/>
                  <a:gd name="T5" fmla="*/ 8 h 8"/>
                  <a:gd name="T6" fmla="*/ 11 w 11"/>
                  <a:gd name="T7" fmla="*/ 0 h 8"/>
                  <a:gd name="T8" fmla="*/ 2 w 11"/>
                  <a:gd name="T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8">
                    <a:moveTo>
                      <a:pt x="2" y="0"/>
                    </a:moveTo>
                    <a:lnTo>
                      <a:pt x="0" y="8"/>
                    </a:lnTo>
                    <a:lnTo>
                      <a:pt x="9" y="8"/>
                    </a:lnTo>
                    <a:lnTo>
                      <a:pt x="11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905" name="Freeform 75">
                <a:extLst>
                  <a:ext uri="{FF2B5EF4-FFF2-40B4-BE49-F238E27FC236}">
                    <a16:creationId xmlns:a16="http://schemas.microsoft.com/office/drawing/2014/main" id="{82371837-4E46-364A-862B-D2F98DAF1E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31901" y="1668463"/>
                <a:ext cx="19050" cy="12700"/>
              </a:xfrm>
              <a:custGeom>
                <a:avLst/>
                <a:gdLst>
                  <a:gd name="T0" fmla="*/ 2 w 12"/>
                  <a:gd name="T1" fmla="*/ 0 h 8"/>
                  <a:gd name="T2" fmla="*/ 0 w 12"/>
                  <a:gd name="T3" fmla="*/ 8 h 8"/>
                  <a:gd name="T4" fmla="*/ 10 w 12"/>
                  <a:gd name="T5" fmla="*/ 8 h 8"/>
                  <a:gd name="T6" fmla="*/ 12 w 12"/>
                  <a:gd name="T7" fmla="*/ 0 h 8"/>
                  <a:gd name="T8" fmla="*/ 2 w 12"/>
                  <a:gd name="T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8">
                    <a:moveTo>
                      <a:pt x="2" y="0"/>
                    </a:moveTo>
                    <a:lnTo>
                      <a:pt x="0" y="8"/>
                    </a:lnTo>
                    <a:lnTo>
                      <a:pt x="10" y="8"/>
                    </a:lnTo>
                    <a:lnTo>
                      <a:pt x="1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906" name="Freeform 76">
                <a:extLst>
                  <a:ext uri="{FF2B5EF4-FFF2-40B4-BE49-F238E27FC236}">
                    <a16:creationId xmlns:a16="http://schemas.microsoft.com/office/drawing/2014/main" id="{61A7DA58-E4DB-06AD-E065-A028A37B71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06513" y="1668463"/>
                <a:ext cx="17463" cy="12700"/>
              </a:xfrm>
              <a:custGeom>
                <a:avLst/>
                <a:gdLst>
                  <a:gd name="T0" fmla="*/ 1 w 11"/>
                  <a:gd name="T1" fmla="*/ 0 h 8"/>
                  <a:gd name="T2" fmla="*/ 0 w 11"/>
                  <a:gd name="T3" fmla="*/ 8 h 8"/>
                  <a:gd name="T4" fmla="*/ 9 w 11"/>
                  <a:gd name="T5" fmla="*/ 8 h 8"/>
                  <a:gd name="T6" fmla="*/ 11 w 11"/>
                  <a:gd name="T7" fmla="*/ 0 h 8"/>
                  <a:gd name="T8" fmla="*/ 1 w 11"/>
                  <a:gd name="T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8">
                    <a:moveTo>
                      <a:pt x="1" y="0"/>
                    </a:moveTo>
                    <a:lnTo>
                      <a:pt x="0" y="8"/>
                    </a:lnTo>
                    <a:lnTo>
                      <a:pt x="9" y="8"/>
                    </a:lnTo>
                    <a:lnTo>
                      <a:pt x="11" y="0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907" name="Freeform 77">
                <a:extLst>
                  <a:ext uri="{FF2B5EF4-FFF2-40B4-BE49-F238E27FC236}">
                    <a16:creationId xmlns:a16="http://schemas.microsoft.com/office/drawing/2014/main" id="{5F5D4B3D-E359-FD0B-B277-EB2D8D3C21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41426" y="1622426"/>
                <a:ext cx="19050" cy="11113"/>
              </a:xfrm>
              <a:custGeom>
                <a:avLst/>
                <a:gdLst>
                  <a:gd name="T0" fmla="*/ 12 w 12"/>
                  <a:gd name="T1" fmla="*/ 0 h 7"/>
                  <a:gd name="T2" fmla="*/ 2 w 12"/>
                  <a:gd name="T3" fmla="*/ 0 h 7"/>
                  <a:gd name="T4" fmla="*/ 0 w 12"/>
                  <a:gd name="T5" fmla="*/ 7 h 7"/>
                  <a:gd name="T6" fmla="*/ 11 w 12"/>
                  <a:gd name="T7" fmla="*/ 7 h 7"/>
                  <a:gd name="T8" fmla="*/ 12 w 12"/>
                  <a:gd name="T9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7">
                    <a:moveTo>
                      <a:pt x="12" y="0"/>
                    </a:moveTo>
                    <a:lnTo>
                      <a:pt x="2" y="0"/>
                    </a:lnTo>
                    <a:lnTo>
                      <a:pt x="0" y="7"/>
                    </a:lnTo>
                    <a:lnTo>
                      <a:pt x="11" y="7"/>
                    </a:lnTo>
                    <a:lnTo>
                      <a:pt x="12" y="0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908" name="Freeform 78">
                <a:extLst>
                  <a:ext uri="{FF2B5EF4-FFF2-40B4-BE49-F238E27FC236}">
                    <a16:creationId xmlns:a16="http://schemas.microsoft.com/office/drawing/2014/main" id="{BBE3BDCD-F515-1945-E555-EAA9DD447E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27151" y="1652588"/>
                <a:ext cx="17463" cy="12700"/>
              </a:xfrm>
              <a:custGeom>
                <a:avLst/>
                <a:gdLst>
                  <a:gd name="T0" fmla="*/ 0 w 11"/>
                  <a:gd name="T1" fmla="*/ 8 h 8"/>
                  <a:gd name="T2" fmla="*/ 10 w 11"/>
                  <a:gd name="T3" fmla="*/ 8 h 8"/>
                  <a:gd name="T4" fmla="*/ 11 w 11"/>
                  <a:gd name="T5" fmla="*/ 0 h 8"/>
                  <a:gd name="T6" fmla="*/ 2 w 11"/>
                  <a:gd name="T7" fmla="*/ 0 h 8"/>
                  <a:gd name="T8" fmla="*/ 0 w 11"/>
                  <a:gd name="T9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8">
                    <a:moveTo>
                      <a:pt x="0" y="8"/>
                    </a:moveTo>
                    <a:lnTo>
                      <a:pt x="10" y="8"/>
                    </a:lnTo>
                    <a:lnTo>
                      <a:pt x="11" y="0"/>
                    </a:lnTo>
                    <a:lnTo>
                      <a:pt x="2" y="0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909" name="Freeform 79">
                <a:extLst>
                  <a:ext uri="{FF2B5EF4-FFF2-40B4-BE49-F238E27FC236}">
                    <a16:creationId xmlns:a16="http://schemas.microsoft.com/office/drawing/2014/main" id="{80B601D6-19CC-2C9D-D2D7-45A1EF3C0E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35088" y="1622426"/>
                <a:ext cx="17463" cy="11113"/>
              </a:xfrm>
              <a:custGeom>
                <a:avLst/>
                <a:gdLst>
                  <a:gd name="T0" fmla="*/ 0 w 11"/>
                  <a:gd name="T1" fmla="*/ 7 h 7"/>
                  <a:gd name="T2" fmla="*/ 9 w 11"/>
                  <a:gd name="T3" fmla="*/ 7 h 7"/>
                  <a:gd name="T4" fmla="*/ 11 w 11"/>
                  <a:gd name="T5" fmla="*/ 0 h 7"/>
                  <a:gd name="T6" fmla="*/ 1 w 11"/>
                  <a:gd name="T7" fmla="*/ 0 h 7"/>
                  <a:gd name="T8" fmla="*/ 0 w 11"/>
                  <a:gd name="T9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7">
                    <a:moveTo>
                      <a:pt x="0" y="7"/>
                    </a:moveTo>
                    <a:lnTo>
                      <a:pt x="9" y="7"/>
                    </a:lnTo>
                    <a:lnTo>
                      <a:pt x="11" y="0"/>
                    </a:lnTo>
                    <a:lnTo>
                      <a:pt x="1" y="0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910" name="Freeform 80">
                <a:extLst>
                  <a:ext uri="{FF2B5EF4-FFF2-40B4-BE49-F238E27FC236}">
                    <a16:creationId xmlns:a16="http://schemas.microsoft.com/office/drawing/2014/main" id="{3B5A0B5C-2EC2-22ED-E131-F102C40961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38251" y="1638301"/>
                <a:ext cx="19050" cy="11113"/>
              </a:xfrm>
              <a:custGeom>
                <a:avLst/>
                <a:gdLst>
                  <a:gd name="T0" fmla="*/ 12 w 12"/>
                  <a:gd name="T1" fmla="*/ 0 h 7"/>
                  <a:gd name="T2" fmla="*/ 2 w 12"/>
                  <a:gd name="T3" fmla="*/ 0 h 7"/>
                  <a:gd name="T4" fmla="*/ 0 w 12"/>
                  <a:gd name="T5" fmla="*/ 7 h 7"/>
                  <a:gd name="T6" fmla="*/ 11 w 12"/>
                  <a:gd name="T7" fmla="*/ 7 h 7"/>
                  <a:gd name="T8" fmla="*/ 12 w 12"/>
                  <a:gd name="T9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7">
                    <a:moveTo>
                      <a:pt x="12" y="0"/>
                    </a:moveTo>
                    <a:lnTo>
                      <a:pt x="2" y="0"/>
                    </a:lnTo>
                    <a:lnTo>
                      <a:pt x="0" y="7"/>
                    </a:lnTo>
                    <a:lnTo>
                      <a:pt x="11" y="7"/>
                    </a:lnTo>
                    <a:lnTo>
                      <a:pt x="12" y="0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911" name="Freeform 81">
                <a:extLst>
                  <a:ext uri="{FF2B5EF4-FFF2-40B4-BE49-F238E27FC236}">
                    <a16:creationId xmlns:a16="http://schemas.microsoft.com/office/drawing/2014/main" id="{CCC740B2-26F1-2536-0530-FC7439B681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31913" y="1638301"/>
                <a:ext cx="15875" cy="11113"/>
              </a:xfrm>
              <a:custGeom>
                <a:avLst/>
                <a:gdLst>
                  <a:gd name="T0" fmla="*/ 0 w 10"/>
                  <a:gd name="T1" fmla="*/ 7 h 7"/>
                  <a:gd name="T2" fmla="*/ 9 w 10"/>
                  <a:gd name="T3" fmla="*/ 7 h 7"/>
                  <a:gd name="T4" fmla="*/ 10 w 10"/>
                  <a:gd name="T5" fmla="*/ 0 h 7"/>
                  <a:gd name="T6" fmla="*/ 1 w 10"/>
                  <a:gd name="T7" fmla="*/ 0 h 7"/>
                  <a:gd name="T8" fmla="*/ 0 w 10"/>
                  <a:gd name="T9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7">
                    <a:moveTo>
                      <a:pt x="0" y="7"/>
                    </a:moveTo>
                    <a:lnTo>
                      <a:pt x="9" y="7"/>
                    </a:lnTo>
                    <a:lnTo>
                      <a:pt x="10" y="0"/>
                    </a:lnTo>
                    <a:lnTo>
                      <a:pt x="1" y="0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912" name="Freeform 82">
                <a:extLst>
                  <a:ext uri="{FF2B5EF4-FFF2-40B4-BE49-F238E27FC236}">
                    <a16:creationId xmlns:a16="http://schemas.microsoft.com/office/drawing/2014/main" id="{61E63B7A-03AD-C492-4A96-315D95ACC8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23976" y="1668463"/>
                <a:ext cx="17463" cy="12700"/>
              </a:xfrm>
              <a:custGeom>
                <a:avLst/>
                <a:gdLst>
                  <a:gd name="T0" fmla="*/ 0 w 11"/>
                  <a:gd name="T1" fmla="*/ 8 h 8"/>
                  <a:gd name="T2" fmla="*/ 9 w 11"/>
                  <a:gd name="T3" fmla="*/ 8 h 8"/>
                  <a:gd name="T4" fmla="*/ 11 w 11"/>
                  <a:gd name="T5" fmla="*/ 0 h 8"/>
                  <a:gd name="T6" fmla="*/ 2 w 11"/>
                  <a:gd name="T7" fmla="*/ 0 h 8"/>
                  <a:gd name="T8" fmla="*/ 0 w 11"/>
                  <a:gd name="T9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8">
                    <a:moveTo>
                      <a:pt x="0" y="8"/>
                    </a:moveTo>
                    <a:lnTo>
                      <a:pt x="9" y="8"/>
                    </a:lnTo>
                    <a:lnTo>
                      <a:pt x="11" y="0"/>
                    </a:lnTo>
                    <a:lnTo>
                      <a:pt x="2" y="0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913" name="Rectangle 83">
                <a:extLst>
                  <a:ext uri="{FF2B5EF4-FFF2-40B4-BE49-F238E27FC236}">
                    <a16:creationId xmlns:a16="http://schemas.microsoft.com/office/drawing/2014/main" id="{4A6DF4AC-5538-2DBD-F2F1-BACF125FA5E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82701" y="1685926"/>
                <a:ext cx="11113" cy="39688"/>
              </a:xfrm>
              <a:prstGeom prst="rect">
                <a:avLst/>
              </a:prstGeom>
              <a:solidFill>
                <a:srgbClr val="98A9B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914" name="Rectangle 84">
                <a:extLst>
                  <a:ext uri="{FF2B5EF4-FFF2-40B4-BE49-F238E27FC236}">
                    <a16:creationId xmlns:a16="http://schemas.microsoft.com/office/drawing/2014/main" id="{E8A5AC48-6336-BAED-57EB-DFA562F4C4B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93813" y="1685926"/>
                <a:ext cx="3175" cy="39688"/>
              </a:xfrm>
              <a:prstGeom prst="rect">
                <a:avLst/>
              </a:prstGeom>
              <a:solidFill>
                <a:srgbClr val="98A9B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915" name="Rectangle 85">
                <a:extLst>
                  <a:ext uri="{FF2B5EF4-FFF2-40B4-BE49-F238E27FC236}">
                    <a16:creationId xmlns:a16="http://schemas.microsoft.com/office/drawing/2014/main" id="{02FD6240-6470-CFB8-E10E-6223A72C766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25563" y="1681163"/>
                <a:ext cx="3175" cy="4763"/>
              </a:xfrm>
              <a:prstGeom prst="rect">
                <a:avLst/>
              </a:pr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916" name="Freeform 86">
                <a:extLst>
                  <a:ext uri="{FF2B5EF4-FFF2-40B4-BE49-F238E27FC236}">
                    <a16:creationId xmlns:a16="http://schemas.microsoft.com/office/drawing/2014/main" id="{3083A5D1-8BBF-02B3-D4C8-540BD4F66C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31901" y="1681163"/>
                <a:ext cx="109538" cy="4763"/>
              </a:xfrm>
              <a:custGeom>
                <a:avLst/>
                <a:gdLst>
                  <a:gd name="T0" fmla="*/ 0 w 69"/>
                  <a:gd name="T1" fmla="*/ 0 h 3"/>
                  <a:gd name="T2" fmla="*/ 2 w 69"/>
                  <a:gd name="T3" fmla="*/ 3 h 3"/>
                  <a:gd name="T4" fmla="*/ 69 w 69"/>
                  <a:gd name="T5" fmla="*/ 3 h 3"/>
                  <a:gd name="T6" fmla="*/ 67 w 69"/>
                  <a:gd name="T7" fmla="*/ 0 h 3"/>
                  <a:gd name="T8" fmla="*/ 0 w 69"/>
                  <a:gd name="T9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9" h="3">
                    <a:moveTo>
                      <a:pt x="0" y="0"/>
                    </a:moveTo>
                    <a:lnTo>
                      <a:pt x="2" y="3"/>
                    </a:lnTo>
                    <a:lnTo>
                      <a:pt x="69" y="3"/>
                    </a:lnTo>
                    <a:lnTo>
                      <a:pt x="67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8A9B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917" name="Freeform 87">
                <a:extLst>
                  <a:ext uri="{FF2B5EF4-FFF2-40B4-BE49-F238E27FC236}">
                    <a16:creationId xmlns:a16="http://schemas.microsoft.com/office/drawing/2014/main" id="{1FA4783C-8F7A-1B1A-6CC4-78F2C688F8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38263" y="1574801"/>
                <a:ext cx="26988" cy="111125"/>
              </a:xfrm>
              <a:custGeom>
                <a:avLst/>
                <a:gdLst>
                  <a:gd name="T0" fmla="*/ 15 w 17"/>
                  <a:gd name="T1" fmla="*/ 0 h 70"/>
                  <a:gd name="T2" fmla="*/ 17 w 17"/>
                  <a:gd name="T3" fmla="*/ 2 h 70"/>
                  <a:gd name="T4" fmla="*/ 2 w 17"/>
                  <a:gd name="T5" fmla="*/ 70 h 70"/>
                  <a:gd name="T6" fmla="*/ 0 w 17"/>
                  <a:gd name="T7" fmla="*/ 67 h 70"/>
                  <a:gd name="T8" fmla="*/ 15 w 17"/>
                  <a:gd name="T9" fmla="*/ 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" h="70">
                    <a:moveTo>
                      <a:pt x="15" y="0"/>
                    </a:moveTo>
                    <a:lnTo>
                      <a:pt x="17" y="2"/>
                    </a:lnTo>
                    <a:lnTo>
                      <a:pt x="2" y="70"/>
                    </a:lnTo>
                    <a:lnTo>
                      <a:pt x="0" y="67"/>
                    </a:lnTo>
                    <a:lnTo>
                      <a:pt x="15" y="0"/>
                    </a:lnTo>
                    <a:close/>
                  </a:path>
                </a:pathLst>
              </a:custGeom>
              <a:solidFill>
                <a:srgbClr val="98A9B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918" name="Freeform 88">
                <a:extLst>
                  <a:ext uri="{FF2B5EF4-FFF2-40B4-BE49-F238E27FC236}">
                    <a16:creationId xmlns:a16="http://schemas.microsoft.com/office/drawing/2014/main" id="{BC7B8F0F-6602-03AB-64EF-D1A554674C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38263" y="1574801"/>
                <a:ext cx="26988" cy="111125"/>
              </a:xfrm>
              <a:custGeom>
                <a:avLst/>
                <a:gdLst>
                  <a:gd name="T0" fmla="*/ 15 w 17"/>
                  <a:gd name="T1" fmla="*/ 0 h 70"/>
                  <a:gd name="T2" fmla="*/ 17 w 17"/>
                  <a:gd name="T3" fmla="*/ 2 h 70"/>
                  <a:gd name="T4" fmla="*/ 2 w 17"/>
                  <a:gd name="T5" fmla="*/ 70 h 70"/>
                  <a:gd name="T6" fmla="*/ 0 w 17"/>
                  <a:gd name="T7" fmla="*/ 67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7" h="70">
                    <a:moveTo>
                      <a:pt x="15" y="0"/>
                    </a:moveTo>
                    <a:lnTo>
                      <a:pt x="17" y="2"/>
                    </a:lnTo>
                    <a:lnTo>
                      <a:pt x="2" y="70"/>
                    </a:lnTo>
                    <a:lnTo>
                      <a:pt x="0" y="67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919" name="Rectangle 89">
                <a:extLst>
                  <a:ext uri="{FF2B5EF4-FFF2-40B4-BE49-F238E27FC236}">
                    <a16:creationId xmlns:a16="http://schemas.microsoft.com/office/drawing/2014/main" id="{4C4C0933-E81B-EC27-2D2D-0D129EABB10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3176" y="1727201"/>
                <a:ext cx="30163" cy="3175"/>
              </a:xfrm>
              <a:prstGeom prst="rect">
                <a:avLst/>
              </a:prstGeom>
              <a:solidFill>
                <a:srgbClr val="98A9B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920" name="Freeform 90">
                <a:extLst>
                  <a:ext uri="{FF2B5EF4-FFF2-40B4-BE49-F238E27FC236}">
                    <a16:creationId xmlns:a16="http://schemas.microsoft.com/office/drawing/2014/main" id="{1FEF27C4-7DAD-14F1-65AF-AECB53DEE1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19213" y="1585913"/>
                <a:ext cx="131763" cy="107950"/>
              </a:xfrm>
              <a:custGeom>
                <a:avLst/>
                <a:gdLst>
                  <a:gd name="T0" fmla="*/ 68 w 83"/>
                  <a:gd name="T1" fmla="*/ 68 h 68"/>
                  <a:gd name="T2" fmla="*/ 0 w 83"/>
                  <a:gd name="T3" fmla="*/ 68 h 68"/>
                  <a:gd name="T4" fmla="*/ 15 w 83"/>
                  <a:gd name="T5" fmla="*/ 0 h 68"/>
                  <a:gd name="T6" fmla="*/ 83 w 83"/>
                  <a:gd name="T7" fmla="*/ 0 h 68"/>
                  <a:gd name="T8" fmla="*/ 68 w 83"/>
                  <a:gd name="T9" fmla="*/ 68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3" h="68">
                    <a:moveTo>
                      <a:pt x="68" y="68"/>
                    </a:moveTo>
                    <a:lnTo>
                      <a:pt x="0" y="68"/>
                    </a:lnTo>
                    <a:lnTo>
                      <a:pt x="15" y="0"/>
                    </a:lnTo>
                    <a:lnTo>
                      <a:pt x="83" y="0"/>
                    </a:lnTo>
                    <a:lnTo>
                      <a:pt x="68" y="68"/>
                    </a:lnTo>
                    <a:close/>
                  </a:path>
                </a:pathLst>
              </a:custGeom>
              <a:solidFill>
                <a:srgbClr val="98A9B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921" name="Freeform 91">
                <a:extLst>
                  <a:ext uri="{FF2B5EF4-FFF2-40B4-BE49-F238E27FC236}">
                    <a16:creationId xmlns:a16="http://schemas.microsoft.com/office/drawing/2014/main" id="{1A012A19-6122-29EF-E23F-80C41899A2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28751" y="1582738"/>
                <a:ext cx="19050" cy="14288"/>
              </a:xfrm>
              <a:custGeom>
                <a:avLst/>
                <a:gdLst>
                  <a:gd name="T0" fmla="*/ 10 w 12"/>
                  <a:gd name="T1" fmla="*/ 9 h 9"/>
                  <a:gd name="T2" fmla="*/ 12 w 12"/>
                  <a:gd name="T3" fmla="*/ 0 h 9"/>
                  <a:gd name="T4" fmla="*/ 2 w 12"/>
                  <a:gd name="T5" fmla="*/ 0 h 9"/>
                  <a:gd name="T6" fmla="*/ 0 w 12"/>
                  <a:gd name="T7" fmla="*/ 9 h 9"/>
                  <a:gd name="T8" fmla="*/ 10 w 12"/>
                  <a:gd name="T9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9">
                    <a:moveTo>
                      <a:pt x="10" y="9"/>
                    </a:moveTo>
                    <a:lnTo>
                      <a:pt x="12" y="0"/>
                    </a:lnTo>
                    <a:lnTo>
                      <a:pt x="2" y="0"/>
                    </a:lnTo>
                    <a:lnTo>
                      <a:pt x="0" y="9"/>
                    </a:lnTo>
                    <a:lnTo>
                      <a:pt x="10" y="9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922" name="Freeform 92">
                <a:extLst>
                  <a:ext uri="{FF2B5EF4-FFF2-40B4-BE49-F238E27FC236}">
                    <a16:creationId xmlns:a16="http://schemas.microsoft.com/office/drawing/2014/main" id="{A0D8A1FB-FEB3-888B-CE98-FD9ED14799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04938" y="1614488"/>
                <a:ext cx="17463" cy="12700"/>
              </a:xfrm>
              <a:custGeom>
                <a:avLst/>
                <a:gdLst>
                  <a:gd name="T0" fmla="*/ 0 w 11"/>
                  <a:gd name="T1" fmla="*/ 8 h 8"/>
                  <a:gd name="T2" fmla="*/ 9 w 11"/>
                  <a:gd name="T3" fmla="*/ 8 h 8"/>
                  <a:gd name="T4" fmla="*/ 11 w 11"/>
                  <a:gd name="T5" fmla="*/ 0 h 8"/>
                  <a:gd name="T6" fmla="*/ 1 w 11"/>
                  <a:gd name="T7" fmla="*/ 0 h 8"/>
                  <a:gd name="T8" fmla="*/ 0 w 11"/>
                  <a:gd name="T9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8">
                    <a:moveTo>
                      <a:pt x="0" y="8"/>
                    </a:moveTo>
                    <a:lnTo>
                      <a:pt x="9" y="8"/>
                    </a:lnTo>
                    <a:lnTo>
                      <a:pt x="11" y="0"/>
                    </a:lnTo>
                    <a:lnTo>
                      <a:pt x="1" y="0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923" name="Freeform 93">
                <a:extLst>
                  <a:ext uri="{FF2B5EF4-FFF2-40B4-BE49-F238E27FC236}">
                    <a16:creationId xmlns:a16="http://schemas.microsoft.com/office/drawing/2014/main" id="{CAB86390-4AF4-DEA8-AF9B-4CEF952A60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30326" y="1614488"/>
                <a:ext cx="19050" cy="12700"/>
              </a:xfrm>
              <a:custGeom>
                <a:avLst/>
                <a:gdLst>
                  <a:gd name="T0" fmla="*/ 12 w 12"/>
                  <a:gd name="T1" fmla="*/ 0 h 8"/>
                  <a:gd name="T2" fmla="*/ 2 w 12"/>
                  <a:gd name="T3" fmla="*/ 0 h 8"/>
                  <a:gd name="T4" fmla="*/ 0 w 12"/>
                  <a:gd name="T5" fmla="*/ 8 h 8"/>
                  <a:gd name="T6" fmla="*/ 10 w 12"/>
                  <a:gd name="T7" fmla="*/ 8 h 8"/>
                  <a:gd name="T8" fmla="*/ 12 w 12"/>
                  <a:gd name="T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8">
                    <a:moveTo>
                      <a:pt x="12" y="0"/>
                    </a:moveTo>
                    <a:lnTo>
                      <a:pt x="2" y="0"/>
                    </a:lnTo>
                    <a:lnTo>
                      <a:pt x="0" y="8"/>
                    </a:lnTo>
                    <a:lnTo>
                      <a:pt x="10" y="8"/>
                    </a:lnTo>
                    <a:lnTo>
                      <a:pt x="12" y="0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924" name="Freeform 94">
                <a:extLst>
                  <a:ext uri="{FF2B5EF4-FFF2-40B4-BE49-F238E27FC236}">
                    <a16:creationId xmlns:a16="http://schemas.microsoft.com/office/drawing/2014/main" id="{E84F118F-2D15-2E0E-D37A-048A78B657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01763" y="1630363"/>
                <a:ext cx="17463" cy="12700"/>
              </a:xfrm>
              <a:custGeom>
                <a:avLst/>
                <a:gdLst>
                  <a:gd name="T0" fmla="*/ 0 w 11"/>
                  <a:gd name="T1" fmla="*/ 8 h 8"/>
                  <a:gd name="T2" fmla="*/ 9 w 11"/>
                  <a:gd name="T3" fmla="*/ 8 h 8"/>
                  <a:gd name="T4" fmla="*/ 11 w 11"/>
                  <a:gd name="T5" fmla="*/ 0 h 8"/>
                  <a:gd name="T6" fmla="*/ 1 w 11"/>
                  <a:gd name="T7" fmla="*/ 0 h 8"/>
                  <a:gd name="T8" fmla="*/ 0 w 11"/>
                  <a:gd name="T9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8">
                    <a:moveTo>
                      <a:pt x="0" y="8"/>
                    </a:moveTo>
                    <a:lnTo>
                      <a:pt x="9" y="8"/>
                    </a:lnTo>
                    <a:lnTo>
                      <a:pt x="11" y="0"/>
                    </a:lnTo>
                    <a:lnTo>
                      <a:pt x="1" y="0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925" name="Freeform 95">
                <a:extLst>
                  <a:ext uri="{FF2B5EF4-FFF2-40B4-BE49-F238E27FC236}">
                    <a16:creationId xmlns:a16="http://schemas.microsoft.com/office/drawing/2014/main" id="{D0AC0A6E-6559-188E-6C5F-786AC06F2E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76363" y="1660526"/>
                <a:ext cx="17463" cy="12700"/>
              </a:xfrm>
              <a:custGeom>
                <a:avLst/>
                <a:gdLst>
                  <a:gd name="T0" fmla="*/ 2 w 11"/>
                  <a:gd name="T1" fmla="*/ 0 h 8"/>
                  <a:gd name="T2" fmla="*/ 0 w 11"/>
                  <a:gd name="T3" fmla="*/ 8 h 8"/>
                  <a:gd name="T4" fmla="*/ 9 w 11"/>
                  <a:gd name="T5" fmla="*/ 8 h 8"/>
                  <a:gd name="T6" fmla="*/ 11 w 11"/>
                  <a:gd name="T7" fmla="*/ 0 h 8"/>
                  <a:gd name="T8" fmla="*/ 2 w 11"/>
                  <a:gd name="T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8">
                    <a:moveTo>
                      <a:pt x="2" y="0"/>
                    </a:moveTo>
                    <a:lnTo>
                      <a:pt x="0" y="8"/>
                    </a:lnTo>
                    <a:lnTo>
                      <a:pt x="9" y="8"/>
                    </a:lnTo>
                    <a:lnTo>
                      <a:pt x="11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926" name="Freeform 96">
                <a:extLst>
                  <a:ext uri="{FF2B5EF4-FFF2-40B4-BE49-F238E27FC236}">
                    <a16:creationId xmlns:a16="http://schemas.microsoft.com/office/drawing/2014/main" id="{044BA56C-688F-FC88-4AA6-9DC318FA35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98588" y="1646238"/>
                <a:ext cx="15875" cy="11113"/>
              </a:xfrm>
              <a:custGeom>
                <a:avLst/>
                <a:gdLst>
                  <a:gd name="T0" fmla="*/ 0 w 10"/>
                  <a:gd name="T1" fmla="*/ 7 h 7"/>
                  <a:gd name="T2" fmla="*/ 9 w 10"/>
                  <a:gd name="T3" fmla="*/ 7 h 7"/>
                  <a:gd name="T4" fmla="*/ 10 w 10"/>
                  <a:gd name="T5" fmla="*/ 0 h 7"/>
                  <a:gd name="T6" fmla="*/ 1 w 10"/>
                  <a:gd name="T7" fmla="*/ 0 h 7"/>
                  <a:gd name="T8" fmla="*/ 0 w 10"/>
                  <a:gd name="T9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7">
                    <a:moveTo>
                      <a:pt x="0" y="7"/>
                    </a:moveTo>
                    <a:lnTo>
                      <a:pt x="9" y="7"/>
                    </a:lnTo>
                    <a:lnTo>
                      <a:pt x="10" y="0"/>
                    </a:lnTo>
                    <a:lnTo>
                      <a:pt x="1" y="0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927" name="Freeform 97">
                <a:extLst>
                  <a:ext uri="{FF2B5EF4-FFF2-40B4-BE49-F238E27FC236}">
                    <a16:creationId xmlns:a16="http://schemas.microsoft.com/office/drawing/2014/main" id="{DD187842-8FA7-B98E-2525-2C024BCFC7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95413" y="1660526"/>
                <a:ext cx="15875" cy="12700"/>
              </a:xfrm>
              <a:custGeom>
                <a:avLst/>
                <a:gdLst>
                  <a:gd name="T0" fmla="*/ 0 w 10"/>
                  <a:gd name="T1" fmla="*/ 8 h 8"/>
                  <a:gd name="T2" fmla="*/ 9 w 10"/>
                  <a:gd name="T3" fmla="*/ 8 h 8"/>
                  <a:gd name="T4" fmla="*/ 10 w 10"/>
                  <a:gd name="T5" fmla="*/ 0 h 8"/>
                  <a:gd name="T6" fmla="*/ 1 w 10"/>
                  <a:gd name="T7" fmla="*/ 0 h 8"/>
                  <a:gd name="T8" fmla="*/ 0 w 10"/>
                  <a:gd name="T9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8">
                    <a:moveTo>
                      <a:pt x="0" y="8"/>
                    </a:moveTo>
                    <a:lnTo>
                      <a:pt x="9" y="8"/>
                    </a:lnTo>
                    <a:lnTo>
                      <a:pt x="10" y="0"/>
                    </a:lnTo>
                    <a:lnTo>
                      <a:pt x="1" y="0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928" name="Freeform 98">
                <a:extLst>
                  <a:ext uri="{FF2B5EF4-FFF2-40B4-BE49-F238E27FC236}">
                    <a16:creationId xmlns:a16="http://schemas.microsoft.com/office/drawing/2014/main" id="{EBE6D863-5B8A-282B-1604-A8BD469A6C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36676" y="1582738"/>
                <a:ext cx="19050" cy="14288"/>
              </a:xfrm>
              <a:custGeom>
                <a:avLst/>
                <a:gdLst>
                  <a:gd name="T0" fmla="*/ 12 w 12"/>
                  <a:gd name="T1" fmla="*/ 0 h 9"/>
                  <a:gd name="T2" fmla="*/ 2 w 12"/>
                  <a:gd name="T3" fmla="*/ 0 h 9"/>
                  <a:gd name="T4" fmla="*/ 0 w 12"/>
                  <a:gd name="T5" fmla="*/ 9 h 9"/>
                  <a:gd name="T6" fmla="*/ 10 w 12"/>
                  <a:gd name="T7" fmla="*/ 9 h 9"/>
                  <a:gd name="T8" fmla="*/ 12 w 12"/>
                  <a:gd name="T9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9">
                    <a:moveTo>
                      <a:pt x="12" y="0"/>
                    </a:moveTo>
                    <a:lnTo>
                      <a:pt x="2" y="0"/>
                    </a:lnTo>
                    <a:lnTo>
                      <a:pt x="0" y="9"/>
                    </a:lnTo>
                    <a:lnTo>
                      <a:pt x="10" y="9"/>
                    </a:lnTo>
                    <a:lnTo>
                      <a:pt x="12" y="0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929" name="Freeform 99">
                <a:extLst>
                  <a:ext uri="{FF2B5EF4-FFF2-40B4-BE49-F238E27FC236}">
                    <a16:creationId xmlns:a16="http://schemas.microsoft.com/office/drawing/2014/main" id="{5B4B5AEC-6411-E594-5C3E-2B3301C331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33501" y="1600201"/>
                <a:ext cx="19050" cy="11113"/>
              </a:xfrm>
              <a:custGeom>
                <a:avLst/>
                <a:gdLst>
                  <a:gd name="T0" fmla="*/ 12 w 12"/>
                  <a:gd name="T1" fmla="*/ 0 h 7"/>
                  <a:gd name="T2" fmla="*/ 2 w 12"/>
                  <a:gd name="T3" fmla="*/ 0 h 7"/>
                  <a:gd name="T4" fmla="*/ 0 w 12"/>
                  <a:gd name="T5" fmla="*/ 7 h 7"/>
                  <a:gd name="T6" fmla="*/ 10 w 12"/>
                  <a:gd name="T7" fmla="*/ 7 h 7"/>
                  <a:gd name="T8" fmla="*/ 12 w 12"/>
                  <a:gd name="T9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7">
                    <a:moveTo>
                      <a:pt x="12" y="0"/>
                    </a:moveTo>
                    <a:lnTo>
                      <a:pt x="2" y="0"/>
                    </a:lnTo>
                    <a:lnTo>
                      <a:pt x="0" y="7"/>
                    </a:lnTo>
                    <a:lnTo>
                      <a:pt x="10" y="7"/>
                    </a:lnTo>
                    <a:lnTo>
                      <a:pt x="12" y="0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930" name="Freeform 100">
                <a:extLst>
                  <a:ext uri="{FF2B5EF4-FFF2-40B4-BE49-F238E27FC236}">
                    <a16:creationId xmlns:a16="http://schemas.microsoft.com/office/drawing/2014/main" id="{41EE4992-139B-395B-F799-D4F0D14E11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57313" y="1582738"/>
                <a:ext cx="17463" cy="14288"/>
              </a:xfrm>
              <a:custGeom>
                <a:avLst/>
                <a:gdLst>
                  <a:gd name="T0" fmla="*/ 9 w 11"/>
                  <a:gd name="T1" fmla="*/ 9 h 9"/>
                  <a:gd name="T2" fmla="*/ 11 w 11"/>
                  <a:gd name="T3" fmla="*/ 0 h 9"/>
                  <a:gd name="T4" fmla="*/ 2 w 11"/>
                  <a:gd name="T5" fmla="*/ 0 h 9"/>
                  <a:gd name="T6" fmla="*/ 0 w 11"/>
                  <a:gd name="T7" fmla="*/ 9 h 9"/>
                  <a:gd name="T8" fmla="*/ 9 w 11"/>
                  <a:gd name="T9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9">
                    <a:moveTo>
                      <a:pt x="9" y="9"/>
                    </a:moveTo>
                    <a:lnTo>
                      <a:pt x="11" y="0"/>
                    </a:lnTo>
                    <a:lnTo>
                      <a:pt x="2" y="0"/>
                    </a:lnTo>
                    <a:lnTo>
                      <a:pt x="0" y="9"/>
                    </a:lnTo>
                    <a:lnTo>
                      <a:pt x="9" y="9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931" name="Freeform 101">
                <a:extLst>
                  <a:ext uri="{FF2B5EF4-FFF2-40B4-BE49-F238E27FC236}">
                    <a16:creationId xmlns:a16="http://schemas.microsoft.com/office/drawing/2014/main" id="{336260DC-D581-1B03-BF8A-927DB8EF1F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11288" y="1582738"/>
                <a:ext cx="17463" cy="14288"/>
              </a:xfrm>
              <a:custGeom>
                <a:avLst/>
                <a:gdLst>
                  <a:gd name="T0" fmla="*/ 9 w 11"/>
                  <a:gd name="T1" fmla="*/ 9 h 9"/>
                  <a:gd name="T2" fmla="*/ 11 w 11"/>
                  <a:gd name="T3" fmla="*/ 0 h 9"/>
                  <a:gd name="T4" fmla="*/ 2 w 11"/>
                  <a:gd name="T5" fmla="*/ 0 h 9"/>
                  <a:gd name="T6" fmla="*/ 0 w 11"/>
                  <a:gd name="T7" fmla="*/ 9 h 9"/>
                  <a:gd name="T8" fmla="*/ 9 w 11"/>
                  <a:gd name="T9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9">
                    <a:moveTo>
                      <a:pt x="9" y="9"/>
                    </a:moveTo>
                    <a:lnTo>
                      <a:pt x="11" y="0"/>
                    </a:lnTo>
                    <a:lnTo>
                      <a:pt x="2" y="0"/>
                    </a:lnTo>
                    <a:lnTo>
                      <a:pt x="0" y="9"/>
                    </a:lnTo>
                    <a:lnTo>
                      <a:pt x="9" y="9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932" name="Freeform 102">
                <a:extLst>
                  <a:ext uri="{FF2B5EF4-FFF2-40B4-BE49-F238E27FC236}">
                    <a16:creationId xmlns:a16="http://schemas.microsoft.com/office/drawing/2014/main" id="{8F357C05-1AA1-0EC9-A72E-64F09FE9C1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74776" y="1582738"/>
                <a:ext cx="17463" cy="14288"/>
              </a:xfrm>
              <a:custGeom>
                <a:avLst/>
                <a:gdLst>
                  <a:gd name="T0" fmla="*/ 9 w 11"/>
                  <a:gd name="T1" fmla="*/ 9 h 9"/>
                  <a:gd name="T2" fmla="*/ 11 w 11"/>
                  <a:gd name="T3" fmla="*/ 0 h 9"/>
                  <a:gd name="T4" fmla="*/ 2 w 11"/>
                  <a:gd name="T5" fmla="*/ 0 h 9"/>
                  <a:gd name="T6" fmla="*/ 0 w 11"/>
                  <a:gd name="T7" fmla="*/ 9 h 9"/>
                  <a:gd name="T8" fmla="*/ 9 w 11"/>
                  <a:gd name="T9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9">
                    <a:moveTo>
                      <a:pt x="9" y="9"/>
                    </a:moveTo>
                    <a:lnTo>
                      <a:pt x="11" y="0"/>
                    </a:lnTo>
                    <a:lnTo>
                      <a:pt x="2" y="0"/>
                    </a:lnTo>
                    <a:lnTo>
                      <a:pt x="0" y="9"/>
                    </a:lnTo>
                    <a:lnTo>
                      <a:pt x="9" y="9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933" name="Freeform 103">
                <a:extLst>
                  <a:ext uri="{FF2B5EF4-FFF2-40B4-BE49-F238E27FC236}">
                    <a16:creationId xmlns:a16="http://schemas.microsoft.com/office/drawing/2014/main" id="{DB37E4AF-912A-8738-0641-071CA9DB29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93826" y="1582738"/>
                <a:ext cx="17463" cy="14288"/>
              </a:xfrm>
              <a:custGeom>
                <a:avLst/>
                <a:gdLst>
                  <a:gd name="T0" fmla="*/ 9 w 11"/>
                  <a:gd name="T1" fmla="*/ 9 h 9"/>
                  <a:gd name="T2" fmla="*/ 11 w 11"/>
                  <a:gd name="T3" fmla="*/ 0 h 9"/>
                  <a:gd name="T4" fmla="*/ 1 w 11"/>
                  <a:gd name="T5" fmla="*/ 0 h 9"/>
                  <a:gd name="T6" fmla="*/ 0 w 11"/>
                  <a:gd name="T7" fmla="*/ 9 h 9"/>
                  <a:gd name="T8" fmla="*/ 9 w 11"/>
                  <a:gd name="T9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9">
                    <a:moveTo>
                      <a:pt x="9" y="9"/>
                    </a:moveTo>
                    <a:lnTo>
                      <a:pt x="11" y="0"/>
                    </a:lnTo>
                    <a:lnTo>
                      <a:pt x="1" y="0"/>
                    </a:lnTo>
                    <a:lnTo>
                      <a:pt x="0" y="9"/>
                    </a:lnTo>
                    <a:lnTo>
                      <a:pt x="9" y="9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934" name="Freeform 104">
                <a:extLst>
                  <a:ext uri="{FF2B5EF4-FFF2-40B4-BE49-F238E27FC236}">
                    <a16:creationId xmlns:a16="http://schemas.microsoft.com/office/drawing/2014/main" id="{FAB17D11-6965-EF3A-1147-8990B00153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39851" y="1660526"/>
                <a:ext cx="17463" cy="12700"/>
              </a:xfrm>
              <a:custGeom>
                <a:avLst/>
                <a:gdLst>
                  <a:gd name="T0" fmla="*/ 2 w 11"/>
                  <a:gd name="T1" fmla="*/ 0 h 8"/>
                  <a:gd name="T2" fmla="*/ 0 w 11"/>
                  <a:gd name="T3" fmla="*/ 8 h 8"/>
                  <a:gd name="T4" fmla="*/ 9 w 11"/>
                  <a:gd name="T5" fmla="*/ 8 h 8"/>
                  <a:gd name="T6" fmla="*/ 11 w 11"/>
                  <a:gd name="T7" fmla="*/ 0 h 8"/>
                  <a:gd name="T8" fmla="*/ 2 w 11"/>
                  <a:gd name="T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8">
                    <a:moveTo>
                      <a:pt x="2" y="0"/>
                    </a:moveTo>
                    <a:lnTo>
                      <a:pt x="0" y="8"/>
                    </a:lnTo>
                    <a:lnTo>
                      <a:pt x="9" y="8"/>
                    </a:lnTo>
                    <a:lnTo>
                      <a:pt x="11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935" name="Freeform 105">
                <a:extLst>
                  <a:ext uri="{FF2B5EF4-FFF2-40B4-BE49-F238E27FC236}">
                    <a16:creationId xmlns:a16="http://schemas.microsoft.com/office/drawing/2014/main" id="{EBA5930F-CF11-FD8F-3F57-45A18ED06F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79538" y="1646238"/>
                <a:ext cx="17463" cy="11113"/>
              </a:xfrm>
              <a:custGeom>
                <a:avLst/>
                <a:gdLst>
                  <a:gd name="T0" fmla="*/ 0 w 11"/>
                  <a:gd name="T1" fmla="*/ 7 h 7"/>
                  <a:gd name="T2" fmla="*/ 9 w 11"/>
                  <a:gd name="T3" fmla="*/ 7 h 7"/>
                  <a:gd name="T4" fmla="*/ 11 w 11"/>
                  <a:gd name="T5" fmla="*/ 0 h 7"/>
                  <a:gd name="T6" fmla="*/ 2 w 11"/>
                  <a:gd name="T7" fmla="*/ 0 h 7"/>
                  <a:gd name="T8" fmla="*/ 0 w 11"/>
                  <a:gd name="T9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7">
                    <a:moveTo>
                      <a:pt x="0" y="7"/>
                    </a:moveTo>
                    <a:lnTo>
                      <a:pt x="9" y="7"/>
                    </a:lnTo>
                    <a:lnTo>
                      <a:pt x="11" y="0"/>
                    </a:lnTo>
                    <a:lnTo>
                      <a:pt x="2" y="0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936" name="Freeform 106">
                <a:extLst>
                  <a:ext uri="{FF2B5EF4-FFF2-40B4-BE49-F238E27FC236}">
                    <a16:creationId xmlns:a16="http://schemas.microsoft.com/office/drawing/2014/main" id="{B581A45D-E34B-3A28-0F31-4FE2690889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62076" y="1646238"/>
                <a:ext cx="17463" cy="11113"/>
              </a:xfrm>
              <a:custGeom>
                <a:avLst/>
                <a:gdLst>
                  <a:gd name="T0" fmla="*/ 1 w 11"/>
                  <a:gd name="T1" fmla="*/ 0 h 7"/>
                  <a:gd name="T2" fmla="*/ 0 w 11"/>
                  <a:gd name="T3" fmla="*/ 7 h 7"/>
                  <a:gd name="T4" fmla="*/ 9 w 11"/>
                  <a:gd name="T5" fmla="*/ 7 h 7"/>
                  <a:gd name="T6" fmla="*/ 11 w 11"/>
                  <a:gd name="T7" fmla="*/ 0 h 7"/>
                  <a:gd name="T8" fmla="*/ 1 w 11"/>
                  <a:gd name="T9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7">
                    <a:moveTo>
                      <a:pt x="1" y="0"/>
                    </a:moveTo>
                    <a:lnTo>
                      <a:pt x="0" y="7"/>
                    </a:lnTo>
                    <a:lnTo>
                      <a:pt x="9" y="7"/>
                    </a:lnTo>
                    <a:lnTo>
                      <a:pt x="11" y="0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937" name="Freeform 107">
                <a:extLst>
                  <a:ext uri="{FF2B5EF4-FFF2-40B4-BE49-F238E27FC236}">
                    <a16:creationId xmlns:a16="http://schemas.microsoft.com/office/drawing/2014/main" id="{BAA02664-F56F-7384-2613-517F13054F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82713" y="1630363"/>
                <a:ext cx="17463" cy="12700"/>
              </a:xfrm>
              <a:custGeom>
                <a:avLst/>
                <a:gdLst>
                  <a:gd name="T0" fmla="*/ 0 w 11"/>
                  <a:gd name="T1" fmla="*/ 8 h 8"/>
                  <a:gd name="T2" fmla="*/ 9 w 11"/>
                  <a:gd name="T3" fmla="*/ 8 h 8"/>
                  <a:gd name="T4" fmla="*/ 11 w 11"/>
                  <a:gd name="T5" fmla="*/ 0 h 8"/>
                  <a:gd name="T6" fmla="*/ 2 w 11"/>
                  <a:gd name="T7" fmla="*/ 0 h 8"/>
                  <a:gd name="T8" fmla="*/ 0 w 11"/>
                  <a:gd name="T9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8">
                    <a:moveTo>
                      <a:pt x="0" y="8"/>
                    </a:moveTo>
                    <a:lnTo>
                      <a:pt x="9" y="8"/>
                    </a:lnTo>
                    <a:lnTo>
                      <a:pt x="11" y="0"/>
                    </a:lnTo>
                    <a:lnTo>
                      <a:pt x="2" y="0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938" name="Freeform 108">
                <a:extLst>
                  <a:ext uri="{FF2B5EF4-FFF2-40B4-BE49-F238E27FC236}">
                    <a16:creationId xmlns:a16="http://schemas.microsoft.com/office/drawing/2014/main" id="{A0F78098-8F88-4E5F-32CC-D85B841DE2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65251" y="1630363"/>
                <a:ext cx="17463" cy="12700"/>
              </a:xfrm>
              <a:custGeom>
                <a:avLst/>
                <a:gdLst>
                  <a:gd name="T0" fmla="*/ 11 w 11"/>
                  <a:gd name="T1" fmla="*/ 0 h 8"/>
                  <a:gd name="T2" fmla="*/ 2 w 11"/>
                  <a:gd name="T3" fmla="*/ 0 h 8"/>
                  <a:gd name="T4" fmla="*/ 0 w 11"/>
                  <a:gd name="T5" fmla="*/ 8 h 8"/>
                  <a:gd name="T6" fmla="*/ 9 w 11"/>
                  <a:gd name="T7" fmla="*/ 8 h 8"/>
                  <a:gd name="T8" fmla="*/ 11 w 11"/>
                  <a:gd name="T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8">
                    <a:moveTo>
                      <a:pt x="11" y="0"/>
                    </a:moveTo>
                    <a:lnTo>
                      <a:pt x="2" y="0"/>
                    </a:lnTo>
                    <a:lnTo>
                      <a:pt x="0" y="8"/>
                    </a:lnTo>
                    <a:lnTo>
                      <a:pt x="9" y="8"/>
                    </a:lnTo>
                    <a:lnTo>
                      <a:pt x="11" y="0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939" name="Freeform 109">
                <a:extLst>
                  <a:ext uri="{FF2B5EF4-FFF2-40B4-BE49-F238E27FC236}">
                    <a16:creationId xmlns:a16="http://schemas.microsoft.com/office/drawing/2014/main" id="{37E6AA93-0EBD-62A4-0561-61D5011302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85888" y="1614488"/>
                <a:ext cx="17463" cy="12700"/>
              </a:xfrm>
              <a:custGeom>
                <a:avLst/>
                <a:gdLst>
                  <a:gd name="T0" fmla="*/ 0 w 11"/>
                  <a:gd name="T1" fmla="*/ 8 h 8"/>
                  <a:gd name="T2" fmla="*/ 10 w 11"/>
                  <a:gd name="T3" fmla="*/ 8 h 8"/>
                  <a:gd name="T4" fmla="*/ 11 w 11"/>
                  <a:gd name="T5" fmla="*/ 0 h 8"/>
                  <a:gd name="T6" fmla="*/ 2 w 11"/>
                  <a:gd name="T7" fmla="*/ 0 h 8"/>
                  <a:gd name="T8" fmla="*/ 0 w 11"/>
                  <a:gd name="T9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8">
                    <a:moveTo>
                      <a:pt x="0" y="8"/>
                    </a:moveTo>
                    <a:lnTo>
                      <a:pt x="10" y="8"/>
                    </a:lnTo>
                    <a:lnTo>
                      <a:pt x="11" y="0"/>
                    </a:lnTo>
                    <a:lnTo>
                      <a:pt x="2" y="0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940" name="Freeform 110">
                <a:extLst>
                  <a:ext uri="{FF2B5EF4-FFF2-40B4-BE49-F238E27FC236}">
                    <a16:creationId xmlns:a16="http://schemas.microsoft.com/office/drawing/2014/main" id="{1DD01206-597D-16D2-20E5-2CE1BB686D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68426" y="1614488"/>
                <a:ext cx="17463" cy="12700"/>
              </a:xfrm>
              <a:custGeom>
                <a:avLst/>
                <a:gdLst>
                  <a:gd name="T0" fmla="*/ 11 w 11"/>
                  <a:gd name="T1" fmla="*/ 0 h 8"/>
                  <a:gd name="T2" fmla="*/ 2 w 11"/>
                  <a:gd name="T3" fmla="*/ 0 h 8"/>
                  <a:gd name="T4" fmla="*/ 0 w 11"/>
                  <a:gd name="T5" fmla="*/ 8 h 8"/>
                  <a:gd name="T6" fmla="*/ 9 w 11"/>
                  <a:gd name="T7" fmla="*/ 8 h 8"/>
                  <a:gd name="T8" fmla="*/ 11 w 11"/>
                  <a:gd name="T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8">
                    <a:moveTo>
                      <a:pt x="11" y="0"/>
                    </a:moveTo>
                    <a:lnTo>
                      <a:pt x="2" y="0"/>
                    </a:lnTo>
                    <a:lnTo>
                      <a:pt x="0" y="8"/>
                    </a:lnTo>
                    <a:lnTo>
                      <a:pt x="9" y="8"/>
                    </a:lnTo>
                    <a:lnTo>
                      <a:pt x="11" y="0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941" name="Freeform 111">
                <a:extLst>
                  <a:ext uri="{FF2B5EF4-FFF2-40B4-BE49-F238E27FC236}">
                    <a16:creationId xmlns:a16="http://schemas.microsoft.com/office/drawing/2014/main" id="{AEC102B4-1BA6-12BD-BF4F-1B736E83E8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49376" y="1614488"/>
                <a:ext cx="17463" cy="12700"/>
              </a:xfrm>
              <a:custGeom>
                <a:avLst/>
                <a:gdLst>
                  <a:gd name="T0" fmla="*/ 11 w 11"/>
                  <a:gd name="T1" fmla="*/ 0 h 8"/>
                  <a:gd name="T2" fmla="*/ 2 w 11"/>
                  <a:gd name="T3" fmla="*/ 0 h 8"/>
                  <a:gd name="T4" fmla="*/ 0 w 11"/>
                  <a:gd name="T5" fmla="*/ 8 h 8"/>
                  <a:gd name="T6" fmla="*/ 10 w 11"/>
                  <a:gd name="T7" fmla="*/ 8 h 8"/>
                  <a:gd name="T8" fmla="*/ 11 w 11"/>
                  <a:gd name="T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8">
                    <a:moveTo>
                      <a:pt x="11" y="0"/>
                    </a:moveTo>
                    <a:lnTo>
                      <a:pt x="2" y="0"/>
                    </a:lnTo>
                    <a:lnTo>
                      <a:pt x="0" y="8"/>
                    </a:lnTo>
                    <a:lnTo>
                      <a:pt x="10" y="8"/>
                    </a:lnTo>
                    <a:lnTo>
                      <a:pt x="11" y="0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942" name="Freeform 112">
                <a:extLst>
                  <a:ext uri="{FF2B5EF4-FFF2-40B4-BE49-F238E27FC236}">
                    <a16:creationId xmlns:a16="http://schemas.microsoft.com/office/drawing/2014/main" id="{0FEC1EFF-0591-E1D2-8AE0-02B61206A0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90651" y="1600201"/>
                <a:ext cx="15875" cy="11113"/>
              </a:xfrm>
              <a:custGeom>
                <a:avLst/>
                <a:gdLst>
                  <a:gd name="T0" fmla="*/ 9 w 10"/>
                  <a:gd name="T1" fmla="*/ 7 h 7"/>
                  <a:gd name="T2" fmla="*/ 10 w 10"/>
                  <a:gd name="T3" fmla="*/ 0 h 7"/>
                  <a:gd name="T4" fmla="*/ 1 w 10"/>
                  <a:gd name="T5" fmla="*/ 0 h 7"/>
                  <a:gd name="T6" fmla="*/ 0 w 10"/>
                  <a:gd name="T7" fmla="*/ 7 h 7"/>
                  <a:gd name="T8" fmla="*/ 9 w 10"/>
                  <a:gd name="T9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7">
                    <a:moveTo>
                      <a:pt x="9" y="7"/>
                    </a:moveTo>
                    <a:lnTo>
                      <a:pt x="10" y="0"/>
                    </a:lnTo>
                    <a:lnTo>
                      <a:pt x="1" y="0"/>
                    </a:lnTo>
                    <a:lnTo>
                      <a:pt x="0" y="7"/>
                    </a:lnTo>
                    <a:lnTo>
                      <a:pt x="9" y="7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943" name="Freeform 113">
                <a:extLst>
                  <a:ext uri="{FF2B5EF4-FFF2-40B4-BE49-F238E27FC236}">
                    <a16:creationId xmlns:a16="http://schemas.microsoft.com/office/drawing/2014/main" id="{AD01ED83-C452-EDE4-47E8-8C1362DF11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46201" y="1630363"/>
                <a:ext cx="17463" cy="12700"/>
              </a:xfrm>
              <a:custGeom>
                <a:avLst/>
                <a:gdLst>
                  <a:gd name="T0" fmla="*/ 11 w 11"/>
                  <a:gd name="T1" fmla="*/ 0 h 8"/>
                  <a:gd name="T2" fmla="*/ 2 w 11"/>
                  <a:gd name="T3" fmla="*/ 0 h 8"/>
                  <a:gd name="T4" fmla="*/ 0 w 11"/>
                  <a:gd name="T5" fmla="*/ 8 h 8"/>
                  <a:gd name="T6" fmla="*/ 9 w 11"/>
                  <a:gd name="T7" fmla="*/ 8 h 8"/>
                  <a:gd name="T8" fmla="*/ 11 w 11"/>
                  <a:gd name="T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8">
                    <a:moveTo>
                      <a:pt x="11" y="0"/>
                    </a:moveTo>
                    <a:lnTo>
                      <a:pt x="2" y="0"/>
                    </a:lnTo>
                    <a:lnTo>
                      <a:pt x="0" y="8"/>
                    </a:lnTo>
                    <a:lnTo>
                      <a:pt x="9" y="8"/>
                    </a:lnTo>
                    <a:lnTo>
                      <a:pt x="11" y="0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944" name="Freeform 114">
                <a:extLst>
                  <a:ext uri="{FF2B5EF4-FFF2-40B4-BE49-F238E27FC236}">
                    <a16:creationId xmlns:a16="http://schemas.microsoft.com/office/drawing/2014/main" id="{1E48D936-EBD8-2F35-8224-9D6C7EC2B4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43026" y="1646238"/>
                <a:ext cx="17463" cy="11113"/>
              </a:xfrm>
              <a:custGeom>
                <a:avLst/>
                <a:gdLst>
                  <a:gd name="T0" fmla="*/ 11 w 11"/>
                  <a:gd name="T1" fmla="*/ 0 h 7"/>
                  <a:gd name="T2" fmla="*/ 2 w 11"/>
                  <a:gd name="T3" fmla="*/ 0 h 7"/>
                  <a:gd name="T4" fmla="*/ 0 w 11"/>
                  <a:gd name="T5" fmla="*/ 7 h 7"/>
                  <a:gd name="T6" fmla="*/ 9 w 11"/>
                  <a:gd name="T7" fmla="*/ 7 h 7"/>
                  <a:gd name="T8" fmla="*/ 11 w 11"/>
                  <a:gd name="T9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7">
                    <a:moveTo>
                      <a:pt x="11" y="0"/>
                    </a:moveTo>
                    <a:lnTo>
                      <a:pt x="2" y="0"/>
                    </a:lnTo>
                    <a:lnTo>
                      <a:pt x="0" y="7"/>
                    </a:lnTo>
                    <a:lnTo>
                      <a:pt x="9" y="7"/>
                    </a:lnTo>
                    <a:lnTo>
                      <a:pt x="11" y="0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945" name="Freeform 115">
                <a:extLst>
                  <a:ext uri="{FF2B5EF4-FFF2-40B4-BE49-F238E27FC236}">
                    <a16:creationId xmlns:a16="http://schemas.microsoft.com/office/drawing/2014/main" id="{23F777D8-5F5F-7541-CDBE-003BD3B712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58901" y="1660526"/>
                <a:ext cx="15875" cy="12700"/>
              </a:xfrm>
              <a:custGeom>
                <a:avLst/>
                <a:gdLst>
                  <a:gd name="T0" fmla="*/ 1 w 10"/>
                  <a:gd name="T1" fmla="*/ 0 h 8"/>
                  <a:gd name="T2" fmla="*/ 0 w 10"/>
                  <a:gd name="T3" fmla="*/ 8 h 8"/>
                  <a:gd name="T4" fmla="*/ 9 w 10"/>
                  <a:gd name="T5" fmla="*/ 8 h 8"/>
                  <a:gd name="T6" fmla="*/ 10 w 10"/>
                  <a:gd name="T7" fmla="*/ 0 h 8"/>
                  <a:gd name="T8" fmla="*/ 1 w 10"/>
                  <a:gd name="T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8">
                    <a:moveTo>
                      <a:pt x="1" y="0"/>
                    </a:moveTo>
                    <a:lnTo>
                      <a:pt x="0" y="8"/>
                    </a:lnTo>
                    <a:lnTo>
                      <a:pt x="9" y="8"/>
                    </a:lnTo>
                    <a:lnTo>
                      <a:pt x="10" y="0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946" name="Freeform 116">
                <a:extLst>
                  <a:ext uri="{FF2B5EF4-FFF2-40B4-BE49-F238E27FC236}">
                    <a16:creationId xmlns:a16="http://schemas.microsoft.com/office/drawing/2014/main" id="{153FE755-A25A-BD72-FB2C-E6927E624A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54138" y="1600201"/>
                <a:ext cx="15875" cy="11113"/>
              </a:xfrm>
              <a:custGeom>
                <a:avLst/>
                <a:gdLst>
                  <a:gd name="T0" fmla="*/ 10 w 10"/>
                  <a:gd name="T1" fmla="*/ 0 h 7"/>
                  <a:gd name="T2" fmla="*/ 1 w 10"/>
                  <a:gd name="T3" fmla="*/ 0 h 7"/>
                  <a:gd name="T4" fmla="*/ 0 w 10"/>
                  <a:gd name="T5" fmla="*/ 7 h 7"/>
                  <a:gd name="T6" fmla="*/ 9 w 10"/>
                  <a:gd name="T7" fmla="*/ 7 h 7"/>
                  <a:gd name="T8" fmla="*/ 10 w 10"/>
                  <a:gd name="T9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7">
                    <a:moveTo>
                      <a:pt x="10" y="0"/>
                    </a:moveTo>
                    <a:lnTo>
                      <a:pt x="1" y="0"/>
                    </a:lnTo>
                    <a:lnTo>
                      <a:pt x="0" y="7"/>
                    </a:lnTo>
                    <a:lnTo>
                      <a:pt x="9" y="7"/>
                    </a:lnTo>
                    <a:lnTo>
                      <a:pt x="10" y="0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947" name="Freeform 117">
                <a:extLst>
                  <a:ext uri="{FF2B5EF4-FFF2-40B4-BE49-F238E27FC236}">
                    <a16:creationId xmlns:a16="http://schemas.microsoft.com/office/drawing/2014/main" id="{672B9F6B-2A22-44EE-BB35-4189070B2B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71601" y="1600201"/>
                <a:ext cx="17463" cy="11113"/>
              </a:xfrm>
              <a:custGeom>
                <a:avLst/>
                <a:gdLst>
                  <a:gd name="T0" fmla="*/ 9 w 11"/>
                  <a:gd name="T1" fmla="*/ 7 h 7"/>
                  <a:gd name="T2" fmla="*/ 11 w 11"/>
                  <a:gd name="T3" fmla="*/ 0 h 7"/>
                  <a:gd name="T4" fmla="*/ 2 w 11"/>
                  <a:gd name="T5" fmla="*/ 0 h 7"/>
                  <a:gd name="T6" fmla="*/ 0 w 11"/>
                  <a:gd name="T7" fmla="*/ 7 h 7"/>
                  <a:gd name="T8" fmla="*/ 9 w 11"/>
                  <a:gd name="T9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7">
                    <a:moveTo>
                      <a:pt x="9" y="7"/>
                    </a:moveTo>
                    <a:lnTo>
                      <a:pt x="11" y="0"/>
                    </a:lnTo>
                    <a:lnTo>
                      <a:pt x="2" y="0"/>
                    </a:lnTo>
                    <a:lnTo>
                      <a:pt x="0" y="7"/>
                    </a:lnTo>
                    <a:lnTo>
                      <a:pt x="9" y="7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948" name="Freeform 118">
                <a:extLst>
                  <a:ext uri="{FF2B5EF4-FFF2-40B4-BE49-F238E27FC236}">
                    <a16:creationId xmlns:a16="http://schemas.microsoft.com/office/drawing/2014/main" id="{15196803-41E4-4B56-9308-B0A55F7833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08113" y="1600201"/>
                <a:ext cx="17463" cy="11113"/>
              </a:xfrm>
              <a:custGeom>
                <a:avLst/>
                <a:gdLst>
                  <a:gd name="T0" fmla="*/ 0 w 11"/>
                  <a:gd name="T1" fmla="*/ 7 h 7"/>
                  <a:gd name="T2" fmla="*/ 9 w 11"/>
                  <a:gd name="T3" fmla="*/ 7 h 7"/>
                  <a:gd name="T4" fmla="*/ 11 w 11"/>
                  <a:gd name="T5" fmla="*/ 0 h 7"/>
                  <a:gd name="T6" fmla="*/ 2 w 11"/>
                  <a:gd name="T7" fmla="*/ 0 h 7"/>
                  <a:gd name="T8" fmla="*/ 0 w 11"/>
                  <a:gd name="T9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7">
                    <a:moveTo>
                      <a:pt x="0" y="7"/>
                    </a:moveTo>
                    <a:lnTo>
                      <a:pt x="9" y="7"/>
                    </a:lnTo>
                    <a:lnTo>
                      <a:pt x="11" y="0"/>
                    </a:lnTo>
                    <a:lnTo>
                      <a:pt x="2" y="0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949" name="Freeform 119">
                <a:extLst>
                  <a:ext uri="{FF2B5EF4-FFF2-40B4-BE49-F238E27FC236}">
                    <a16:creationId xmlns:a16="http://schemas.microsoft.com/office/drawing/2014/main" id="{1EB17705-C1E0-D8CA-0B19-AE4CF2E209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20801" y="1660526"/>
                <a:ext cx="19050" cy="12700"/>
              </a:xfrm>
              <a:custGeom>
                <a:avLst/>
                <a:gdLst>
                  <a:gd name="T0" fmla="*/ 12 w 12"/>
                  <a:gd name="T1" fmla="*/ 0 h 8"/>
                  <a:gd name="T2" fmla="*/ 1 w 12"/>
                  <a:gd name="T3" fmla="*/ 0 h 8"/>
                  <a:gd name="T4" fmla="*/ 0 w 12"/>
                  <a:gd name="T5" fmla="*/ 8 h 8"/>
                  <a:gd name="T6" fmla="*/ 10 w 12"/>
                  <a:gd name="T7" fmla="*/ 8 h 8"/>
                  <a:gd name="T8" fmla="*/ 12 w 12"/>
                  <a:gd name="T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8">
                    <a:moveTo>
                      <a:pt x="12" y="0"/>
                    </a:moveTo>
                    <a:lnTo>
                      <a:pt x="1" y="0"/>
                    </a:lnTo>
                    <a:lnTo>
                      <a:pt x="0" y="8"/>
                    </a:lnTo>
                    <a:lnTo>
                      <a:pt x="10" y="8"/>
                    </a:lnTo>
                    <a:lnTo>
                      <a:pt x="12" y="0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950" name="Freeform 120">
                <a:extLst>
                  <a:ext uri="{FF2B5EF4-FFF2-40B4-BE49-F238E27FC236}">
                    <a16:creationId xmlns:a16="http://schemas.microsoft.com/office/drawing/2014/main" id="{1B0DE8F8-498E-72BA-E2CD-072650772B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22401" y="1614488"/>
                <a:ext cx="17463" cy="12700"/>
              </a:xfrm>
              <a:custGeom>
                <a:avLst/>
                <a:gdLst>
                  <a:gd name="T0" fmla="*/ 0 w 11"/>
                  <a:gd name="T1" fmla="*/ 8 h 8"/>
                  <a:gd name="T2" fmla="*/ 10 w 11"/>
                  <a:gd name="T3" fmla="*/ 8 h 8"/>
                  <a:gd name="T4" fmla="*/ 11 w 11"/>
                  <a:gd name="T5" fmla="*/ 0 h 8"/>
                  <a:gd name="T6" fmla="*/ 2 w 11"/>
                  <a:gd name="T7" fmla="*/ 0 h 8"/>
                  <a:gd name="T8" fmla="*/ 0 w 11"/>
                  <a:gd name="T9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8">
                    <a:moveTo>
                      <a:pt x="0" y="8"/>
                    </a:moveTo>
                    <a:lnTo>
                      <a:pt x="10" y="8"/>
                    </a:lnTo>
                    <a:lnTo>
                      <a:pt x="11" y="0"/>
                    </a:lnTo>
                    <a:lnTo>
                      <a:pt x="2" y="0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951" name="Freeform 121">
                <a:extLst>
                  <a:ext uri="{FF2B5EF4-FFF2-40B4-BE49-F238E27FC236}">
                    <a16:creationId xmlns:a16="http://schemas.microsoft.com/office/drawing/2014/main" id="{95EDAB60-3CDC-7EBC-F8C6-6CEB095B8D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54138" y="1676401"/>
                <a:ext cx="17463" cy="14288"/>
              </a:xfrm>
              <a:custGeom>
                <a:avLst/>
                <a:gdLst>
                  <a:gd name="T0" fmla="*/ 2 w 11"/>
                  <a:gd name="T1" fmla="*/ 0 h 9"/>
                  <a:gd name="T2" fmla="*/ 0 w 11"/>
                  <a:gd name="T3" fmla="*/ 9 h 9"/>
                  <a:gd name="T4" fmla="*/ 10 w 11"/>
                  <a:gd name="T5" fmla="*/ 9 h 9"/>
                  <a:gd name="T6" fmla="*/ 11 w 11"/>
                  <a:gd name="T7" fmla="*/ 0 h 9"/>
                  <a:gd name="T8" fmla="*/ 2 w 11"/>
                  <a:gd name="T9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9">
                    <a:moveTo>
                      <a:pt x="2" y="0"/>
                    </a:moveTo>
                    <a:lnTo>
                      <a:pt x="0" y="9"/>
                    </a:lnTo>
                    <a:lnTo>
                      <a:pt x="10" y="9"/>
                    </a:lnTo>
                    <a:lnTo>
                      <a:pt x="11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952" name="Freeform 122">
                <a:extLst>
                  <a:ext uri="{FF2B5EF4-FFF2-40B4-BE49-F238E27FC236}">
                    <a16:creationId xmlns:a16="http://schemas.microsoft.com/office/drawing/2014/main" id="{7D733985-09B5-805F-2C71-B82775F425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73188" y="1676401"/>
                <a:ext cx="17463" cy="14288"/>
              </a:xfrm>
              <a:custGeom>
                <a:avLst/>
                <a:gdLst>
                  <a:gd name="T0" fmla="*/ 2 w 11"/>
                  <a:gd name="T1" fmla="*/ 0 h 9"/>
                  <a:gd name="T2" fmla="*/ 0 w 11"/>
                  <a:gd name="T3" fmla="*/ 9 h 9"/>
                  <a:gd name="T4" fmla="*/ 9 w 11"/>
                  <a:gd name="T5" fmla="*/ 9 h 9"/>
                  <a:gd name="T6" fmla="*/ 11 w 11"/>
                  <a:gd name="T7" fmla="*/ 0 h 9"/>
                  <a:gd name="T8" fmla="*/ 2 w 11"/>
                  <a:gd name="T9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9">
                    <a:moveTo>
                      <a:pt x="2" y="0"/>
                    </a:moveTo>
                    <a:lnTo>
                      <a:pt x="0" y="9"/>
                    </a:lnTo>
                    <a:lnTo>
                      <a:pt x="9" y="9"/>
                    </a:lnTo>
                    <a:lnTo>
                      <a:pt x="11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953" name="Freeform 123">
                <a:extLst>
                  <a:ext uri="{FF2B5EF4-FFF2-40B4-BE49-F238E27FC236}">
                    <a16:creationId xmlns:a16="http://schemas.microsoft.com/office/drawing/2014/main" id="{C95ADB92-774D-D82A-602F-C98D9D250D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36676" y="1676401"/>
                <a:ext cx="17463" cy="14288"/>
              </a:xfrm>
              <a:custGeom>
                <a:avLst/>
                <a:gdLst>
                  <a:gd name="T0" fmla="*/ 2 w 11"/>
                  <a:gd name="T1" fmla="*/ 0 h 9"/>
                  <a:gd name="T2" fmla="*/ 0 w 11"/>
                  <a:gd name="T3" fmla="*/ 9 h 9"/>
                  <a:gd name="T4" fmla="*/ 9 w 11"/>
                  <a:gd name="T5" fmla="*/ 9 h 9"/>
                  <a:gd name="T6" fmla="*/ 11 w 11"/>
                  <a:gd name="T7" fmla="*/ 0 h 9"/>
                  <a:gd name="T8" fmla="*/ 2 w 11"/>
                  <a:gd name="T9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9">
                    <a:moveTo>
                      <a:pt x="2" y="0"/>
                    </a:moveTo>
                    <a:lnTo>
                      <a:pt x="0" y="9"/>
                    </a:lnTo>
                    <a:lnTo>
                      <a:pt x="9" y="9"/>
                    </a:lnTo>
                    <a:lnTo>
                      <a:pt x="11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954" name="Freeform 124">
                <a:extLst>
                  <a:ext uri="{FF2B5EF4-FFF2-40B4-BE49-F238E27FC236}">
                    <a16:creationId xmlns:a16="http://schemas.microsoft.com/office/drawing/2014/main" id="{A65F8C57-9CF1-721C-7AEC-CA16477051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25576" y="1600201"/>
                <a:ext cx="17463" cy="11113"/>
              </a:xfrm>
              <a:custGeom>
                <a:avLst/>
                <a:gdLst>
                  <a:gd name="T0" fmla="*/ 2 w 11"/>
                  <a:gd name="T1" fmla="*/ 0 h 7"/>
                  <a:gd name="T2" fmla="*/ 0 w 11"/>
                  <a:gd name="T3" fmla="*/ 7 h 7"/>
                  <a:gd name="T4" fmla="*/ 10 w 11"/>
                  <a:gd name="T5" fmla="*/ 7 h 7"/>
                  <a:gd name="T6" fmla="*/ 11 w 11"/>
                  <a:gd name="T7" fmla="*/ 0 h 7"/>
                  <a:gd name="T8" fmla="*/ 2 w 11"/>
                  <a:gd name="T9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7">
                    <a:moveTo>
                      <a:pt x="2" y="0"/>
                    </a:moveTo>
                    <a:lnTo>
                      <a:pt x="0" y="7"/>
                    </a:lnTo>
                    <a:lnTo>
                      <a:pt x="10" y="7"/>
                    </a:lnTo>
                    <a:lnTo>
                      <a:pt x="11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955" name="Freeform 125">
                <a:extLst>
                  <a:ext uri="{FF2B5EF4-FFF2-40B4-BE49-F238E27FC236}">
                    <a16:creationId xmlns:a16="http://schemas.microsoft.com/office/drawing/2014/main" id="{749C5A8E-434F-8579-F434-3868885375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16038" y="1676401"/>
                <a:ext cx="19050" cy="14288"/>
              </a:xfrm>
              <a:custGeom>
                <a:avLst/>
                <a:gdLst>
                  <a:gd name="T0" fmla="*/ 2 w 12"/>
                  <a:gd name="T1" fmla="*/ 0 h 9"/>
                  <a:gd name="T2" fmla="*/ 0 w 12"/>
                  <a:gd name="T3" fmla="*/ 9 h 9"/>
                  <a:gd name="T4" fmla="*/ 11 w 12"/>
                  <a:gd name="T5" fmla="*/ 9 h 9"/>
                  <a:gd name="T6" fmla="*/ 12 w 12"/>
                  <a:gd name="T7" fmla="*/ 0 h 9"/>
                  <a:gd name="T8" fmla="*/ 2 w 12"/>
                  <a:gd name="T9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9">
                    <a:moveTo>
                      <a:pt x="2" y="0"/>
                    </a:moveTo>
                    <a:lnTo>
                      <a:pt x="0" y="9"/>
                    </a:lnTo>
                    <a:lnTo>
                      <a:pt x="11" y="9"/>
                    </a:lnTo>
                    <a:lnTo>
                      <a:pt x="1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956" name="Freeform 126">
                <a:extLst>
                  <a:ext uri="{FF2B5EF4-FFF2-40B4-BE49-F238E27FC236}">
                    <a16:creationId xmlns:a16="http://schemas.microsoft.com/office/drawing/2014/main" id="{20A67F28-4698-480F-90BD-A913CD71A3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90651" y="1676401"/>
                <a:ext cx="17463" cy="14288"/>
              </a:xfrm>
              <a:custGeom>
                <a:avLst/>
                <a:gdLst>
                  <a:gd name="T0" fmla="*/ 2 w 11"/>
                  <a:gd name="T1" fmla="*/ 0 h 9"/>
                  <a:gd name="T2" fmla="*/ 0 w 11"/>
                  <a:gd name="T3" fmla="*/ 9 h 9"/>
                  <a:gd name="T4" fmla="*/ 9 w 11"/>
                  <a:gd name="T5" fmla="*/ 9 h 9"/>
                  <a:gd name="T6" fmla="*/ 11 w 11"/>
                  <a:gd name="T7" fmla="*/ 0 h 9"/>
                  <a:gd name="T8" fmla="*/ 2 w 11"/>
                  <a:gd name="T9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9">
                    <a:moveTo>
                      <a:pt x="2" y="0"/>
                    </a:moveTo>
                    <a:lnTo>
                      <a:pt x="0" y="9"/>
                    </a:lnTo>
                    <a:lnTo>
                      <a:pt x="9" y="9"/>
                    </a:lnTo>
                    <a:lnTo>
                      <a:pt x="11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957" name="Freeform 127">
                <a:extLst>
                  <a:ext uri="{FF2B5EF4-FFF2-40B4-BE49-F238E27FC236}">
                    <a16:creationId xmlns:a16="http://schemas.microsoft.com/office/drawing/2014/main" id="{639131E1-E058-F738-A5A0-9AE3968C85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27151" y="1630363"/>
                <a:ext cx="19050" cy="12700"/>
              </a:xfrm>
              <a:custGeom>
                <a:avLst/>
                <a:gdLst>
                  <a:gd name="T0" fmla="*/ 12 w 12"/>
                  <a:gd name="T1" fmla="*/ 0 h 8"/>
                  <a:gd name="T2" fmla="*/ 1 w 12"/>
                  <a:gd name="T3" fmla="*/ 0 h 8"/>
                  <a:gd name="T4" fmla="*/ 0 w 12"/>
                  <a:gd name="T5" fmla="*/ 8 h 8"/>
                  <a:gd name="T6" fmla="*/ 10 w 12"/>
                  <a:gd name="T7" fmla="*/ 8 h 8"/>
                  <a:gd name="T8" fmla="*/ 12 w 12"/>
                  <a:gd name="T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8">
                    <a:moveTo>
                      <a:pt x="12" y="0"/>
                    </a:moveTo>
                    <a:lnTo>
                      <a:pt x="1" y="0"/>
                    </a:lnTo>
                    <a:lnTo>
                      <a:pt x="0" y="8"/>
                    </a:lnTo>
                    <a:lnTo>
                      <a:pt x="10" y="8"/>
                    </a:lnTo>
                    <a:lnTo>
                      <a:pt x="12" y="0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958" name="Freeform 128">
                <a:extLst>
                  <a:ext uri="{FF2B5EF4-FFF2-40B4-BE49-F238E27FC236}">
                    <a16:creationId xmlns:a16="http://schemas.microsoft.com/office/drawing/2014/main" id="{857647FB-998A-9536-9E94-973096B69D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12876" y="1660526"/>
                <a:ext cx="17463" cy="12700"/>
              </a:xfrm>
              <a:custGeom>
                <a:avLst/>
                <a:gdLst>
                  <a:gd name="T0" fmla="*/ 0 w 11"/>
                  <a:gd name="T1" fmla="*/ 8 h 8"/>
                  <a:gd name="T2" fmla="*/ 9 w 11"/>
                  <a:gd name="T3" fmla="*/ 8 h 8"/>
                  <a:gd name="T4" fmla="*/ 11 w 11"/>
                  <a:gd name="T5" fmla="*/ 0 h 8"/>
                  <a:gd name="T6" fmla="*/ 2 w 11"/>
                  <a:gd name="T7" fmla="*/ 0 h 8"/>
                  <a:gd name="T8" fmla="*/ 0 w 11"/>
                  <a:gd name="T9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8">
                    <a:moveTo>
                      <a:pt x="0" y="8"/>
                    </a:moveTo>
                    <a:lnTo>
                      <a:pt x="9" y="8"/>
                    </a:lnTo>
                    <a:lnTo>
                      <a:pt x="11" y="0"/>
                    </a:lnTo>
                    <a:lnTo>
                      <a:pt x="2" y="0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959" name="Freeform 129">
                <a:extLst>
                  <a:ext uri="{FF2B5EF4-FFF2-40B4-BE49-F238E27FC236}">
                    <a16:creationId xmlns:a16="http://schemas.microsoft.com/office/drawing/2014/main" id="{1ADF1BF4-B085-BD55-3F89-B00CC50BE2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19226" y="1630363"/>
                <a:ext cx="17463" cy="12700"/>
              </a:xfrm>
              <a:custGeom>
                <a:avLst/>
                <a:gdLst>
                  <a:gd name="T0" fmla="*/ 0 w 11"/>
                  <a:gd name="T1" fmla="*/ 8 h 8"/>
                  <a:gd name="T2" fmla="*/ 10 w 11"/>
                  <a:gd name="T3" fmla="*/ 8 h 8"/>
                  <a:gd name="T4" fmla="*/ 11 w 11"/>
                  <a:gd name="T5" fmla="*/ 0 h 8"/>
                  <a:gd name="T6" fmla="*/ 2 w 11"/>
                  <a:gd name="T7" fmla="*/ 0 h 8"/>
                  <a:gd name="T8" fmla="*/ 0 w 11"/>
                  <a:gd name="T9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8">
                    <a:moveTo>
                      <a:pt x="0" y="8"/>
                    </a:moveTo>
                    <a:lnTo>
                      <a:pt x="10" y="8"/>
                    </a:lnTo>
                    <a:lnTo>
                      <a:pt x="11" y="0"/>
                    </a:lnTo>
                    <a:lnTo>
                      <a:pt x="2" y="0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960" name="Freeform 130">
                <a:extLst>
                  <a:ext uri="{FF2B5EF4-FFF2-40B4-BE49-F238E27FC236}">
                    <a16:creationId xmlns:a16="http://schemas.microsoft.com/office/drawing/2014/main" id="{7DB763A2-6B9F-C180-A282-13408D8E1D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23976" y="1646238"/>
                <a:ext cx="19050" cy="11113"/>
              </a:xfrm>
              <a:custGeom>
                <a:avLst/>
                <a:gdLst>
                  <a:gd name="T0" fmla="*/ 12 w 12"/>
                  <a:gd name="T1" fmla="*/ 0 h 7"/>
                  <a:gd name="T2" fmla="*/ 1 w 12"/>
                  <a:gd name="T3" fmla="*/ 0 h 7"/>
                  <a:gd name="T4" fmla="*/ 0 w 12"/>
                  <a:gd name="T5" fmla="*/ 7 h 7"/>
                  <a:gd name="T6" fmla="*/ 10 w 12"/>
                  <a:gd name="T7" fmla="*/ 7 h 7"/>
                  <a:gd name="T8" fmla="*/ 12 w 12"/>
                  <a:gd name="T9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7">
                    <a:moveTo>
                      <a:pt x="12" y="0"/>
                    </a:moveTo>
                    <a:lnTo>
                      <a:pt x="1" y="0"/>
                    </a:lnTo>
                    <a:lnTo>
                      <a:pt x="0" y="7"/>
                    </a:lnTo>
                    <a:lnTo>
                      <a:pt x="10" y="7"/>
                    </a:lnTo>
                    <a:lnTo>
                      <a:pt x="12" y="0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961" name="Freeform 131">
                <a:extLst>
                  <a:ext uri="{FF2B5EF4-FFF2-40B4-BE49-F238E27FC236}">
                    <a16:creationId xmlns:a16="http://schemas.microsoft.com/office/drawing/2014/main" id="{BD4F0D96-9A1E-7FD1-308E-A52527914F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16051" y="1646238"/>
                <a:ext cx="17463" cy="11113"/>
              </a:xfrm>
              <a:custGeom>
                <a:avLst/>
                <a:gdLst>
                  <a:gd name="T0" fmla="*/ 0 w 11"/>
                  <a:gd name="T1" fmla="*/ 7 h 7"/>
                  <a:gd name="T2" fmla="*/ 9 w 11"/>
                  <a:gd name="T3" fmla="*/ 7 h 7"/>
                  <a:gd name="T4" fmla="*/ 11 w 11"/>
                  <a:gd name="T5" fmla="*/ 0 h 7"/>
                  <a:gd name="T6" fmla="*/ 2 w 11"/>
                  <a:gd name="T7" fmla="*/ 0 h 7"/>
                  <a:gd name="T8" fmla="*/ 0 w 11"/>
                  <a:gd name="T9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7">
                    <a:moveTo>
                      <a:pt x="0" y="7"/>
                    </a:moveTo>
                    <a:lnTo>
                      <a:pt x="9" y="7"/>
                    </a:lnTo>
                    <a:lnTo>
                      <a:pt x="11" y="0"/>
                    </a:lnTo>
                    <a:lnTo>
                      <a:pt x="2" y="0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962" name="Freeform 132">
                <a:extLst>
                  <a:ext uri="{FF2B5EF4-FFF2-40B4-BE49-F238E27FC236}">
                    <a16:creationId xmlns:a16="http://schemas.microsoft.com/office/drawing/2014/main" id="{2806117C-57AB-7AEF-6A25-F21ECCF182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09701" y="1676401"/>
                <a:ext cx="17463" cy="14288"/>
              </a:xfrm>
              <a:custGeom>
                <a:avLst/>
                <a:gdLst>
                  <a:gd name="T0" fmla="*/ 0 w 11"/>
                  <a:gd name="T1" fmla="*/ 9 h 9"/>
                  <a:gd name="T2" fmla="*/ 9 w 11"/>
                  <a:gd name="T3" fmla="*/ 9 h 9"/>
                  <a:gd name="T4" fmla="*/ 11 w 11"/>
                  <a:gd name="T5" fmla="*/ 0 h 9"/>
                  <a:gd name="T6" fmla="*/ 2 w 11"/>
                  <a:gd name="T7" fmla="*/ 0 h 9"/>
                  <a:gd name="T8" fmla="*/ 0 w 11"/>
                  <a:gd name="T9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9">
                    <a:moveTo>
                      <a:pt x="0" y="9"/>
                    </a:moveTo>
                    <a:lnTo>
                      <a:pt x="9" y="9"/>
                    </a:lnTo>
                    <a:lnTo>
                      <a:pt x="11" y="0"/>
                    </a:lnTo>
                    <a:lnTo>
                      <a:pt x="2" y="0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963" name="Rectangle 133">
                <a:extLst>
                  <a:ext uri="{FF2B5EF4-FFF2-40B4-BE49-F238E27FC236}">
                    <a16:creationId xmlns:a16="http://schemas.microsoft.com/office/drawing/2014/main" id="{B0584D3A-949E-8986-5DCC-990F96C63ED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66838" y="1693863"/>
                <a:ext cx="12700" cy="39688"/>
              </a:xfrm>
              <a:prstGeom prst="rect">
                <a:avLst/>
              </a:prstGeom>
              <a:solidFill>
                <a:srgbClr val="98A9B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964" name="Rectangle 134">
                <a:extLst>
                  <a:ext uri="{FF2B5EF4-FFF2-40B4-BE49-F238E27FC236}">
                    <a16:creationId xmlns:a16="http://schemas.microsoft.com/office/drawing/2014/main" id="{05D2DC4C-FD4A-15D2-8408-79F4A0624ED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79538" y="1693863"/>
                <a:ext cx="3175" cy="39688"/>
              </a:xfrm>
              <a:prstGeom prst="rect">
                <a:avLst/>
              </a:prstGeom>
              <a:solidFill>
                <a:srgbClr val="98A9B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965" name="Rectangle 135">
                <a:extLst>
                  <a:ext uri="{FF2B5EF4-FFF2-40B4-BE49-F238E27FC236}">
                    <a16:creationId xmlns:a16="http://schemas.microsoft.com/office/drawing/2014/main" id="{DE828CDE-8589-01A4-EFE1-A5810E6A59F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09701" y="1690688"/>
                <a:ext cx="3175" cy="3175"/>
              </a:xfrm>
              <a:prstGeom prst="rect">
                <a:avLst/>
              </a:pr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966" name="Freeform 136">
                <a:extLst>
                  <a:ext uri="{FF2B5EF4-FFF2-40B4-BE49-F238E27FC236}">
                    <a16:creationId xmlns:a16="http://schemas.microsoft.com/office/drawing/2014/main" id="{E9633D5B-5ABC-1064-5805-F9015CBB52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16038" y="1690688"/>
                <a:ext cx="111125" cy="3175"/>
              </a:xfrm>
              <a:custGeom>
                <a:avLst/>
                <a:gdLst>
                  <a:gd name="T0" fmla="*/ 0 w 70"/>
                  <a:gd name="T1" fmla="*/ 0 h 2"/>
                  <a:gd name="T2" fmla="*/ 2 w 70"/>
                  <a:gd name="T3" fmla="*/ 2 h 2"/>
                  <a:gd name="T4" fmla="*/ 70 w 70"/>
                  <a:gd name="T5" fmla="*/ 2 h 2"/>
                  <a:gd name="T6" fmla="*/ 68 w 70"/>
                  <a:gd name="T7" fmla="*/ 0 h 2"/>
                  <a:gd name="T8" fmla="*/ 0 w 70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0" h="2">
                    <a:moveTo>
                      <a:pt x="0" y="0"/>
                    </a:moveTo>
                    <a:lnTo>
                      <a:pt x="2" y="2"/>
                    </a:lnTo>
                    <a:lnTo>
                      <a:pt x="70" y="2"/>
                    </a:lnTo>
                    <a:lnTo>
                      <a:pt x="68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8A9B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967" name="Freeform 137">
                <a:extLst>
                  <a:ext uri="{FF2B5EF4-FFF2-40B4-BE49-F238E27FC236}">
                    <a16:creationId xmlns:a16="http://schemas.microsoft.com/office/drawing/2014/main" id="{C1338A15-2179-28A0-F6C0-4A8880924C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23988" y="1582738"/>
                <a:ext cx="26988" cy="111125"/>
              </a:xfrm>
              <a:custGeom>
                <a:avLst/>
                <a:gdLst>
                  <a:gd name="T0" fmla="*/ 15 w 17"/>
                  <a:gd name="T1" fmla="*/ 0 h 70"/>
                  <a:gd name="T2" fmla="*/ 17 w 17"/>
                  <a:gd name="T3" fmla="*/ 2 h 70"/>
                  <a:gd name="T4" fmla="*/ 2 w 17"/>
                  <a:gd name="T5" fmla="*/ 70 h 70"/>
                  <a:gd name="T6" fmla="*/ 0 w 17"/>
                  <a:gd name="T7" fmla="*/ 68 h 70"/>
                  <a:gd name="T8" fmla="*/ 15 w 17"/>
                  <a:gd name="T9" fmla="*/ 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" h="70">
                    <a:moveTo>
                      <a:pt x="15" y="0"/>
                    </a:moveTo>
                    <a:lnTo>
                      <a:pt x="17" y="2"/>
                    </a:lnTo>
                    <a:lnTo>
                      <a:pt x="2" y="70"/>
                    </a:lnTo>
                    <a:lnTo>
                      <a:pt x="0" y="68"/>
                    </a:lnTo>
                    <a:lnTo>
                      <a:pt x="15" y="0"/>
                    </a:lnTo>
                    <a:close/>
                  </a:path>
                </a:pathLst>
              </a:custGeom>
              <a:solidFill>
                <a:srgbClr val="98A9B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968" name="Freeform 138">
                <a:extLst>
                  <a:ext uri="{FF2B5EF4-FFF2-40B4-BE49-F238E27FC236}">
                    <a16:creationId xmlns:a16="http://schemas.microsoft.com/office/drawing/2014/main" id="{9E60942E-EC2D-02C7-5176-5E7418ECDA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23988" y="1582738"/>
                <a:ext cx="26988" cy="111125"/>
              </a:xfrm>
              <a:custGeom>
                <a:avLst/>
                <a:gdLst>
                  <a:gd name="T0" fmla="*/ 15 w 17"/>
                  <a:gd name="T1" fmla="*/ 0 h 70"/>
                  <a:gd name="T2" fmla="*/ 17 w 17"/>
                  <a:gd name="T3" fmla="*/ 2 h 70"/>
                  <a:gd name="T4" fmla="*/ 2 w 17"/>
                  <a:gd name="T5" fmla="*/ 70 h 70"/>
                  <a:gd name="T6" fmla="*/ 0 w 17"/>
                  <a:gd name="T7" fmla="*/ 68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7" h="70">
                    <a:moveTo>
                      <a:pt x="15" y="0"/>
                    </a:moveTo>
                    <a:lnTo>
                      <a:pt x="17" y="2"/>
                    </a:lnTo>
                    <a:lnTo>
                      <a:pt x="2" y="70"/>
                    </a:lnTo>
                    <a:lnTo>
                      <a:pt x="0" y="68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969" name="Rectangle 139">
                <a:extLst>
                  <a:ext uri="{FF2B5EF4-FFF2-40B4-BE49-F238E27FC236}">
                    <a16:creationId xmlns:a16="http://schemas.microsoft.com/office/drawing/2014/main" id="{2737FA02-339A-56EB-B9A6-56F6FEDDAF4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57313" y="1735138"/>
                <a:ext cx="31750" cy="3175"/>
              </a:xfrm>
              <a:prstGeom prst="rect">
                <a:avLst/>
              </a:prstGeom>
              <a:solidFill>
                <a:srgbClr val="98A9B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821" name="Skupina 377">
              <a:extLst>
                <a:ext uri="{FF2B5EF4-FFF2-40B4-BE49-F238E27FC236}">
                  <a16:creationId xmlns:a16="http://schemas.microsoft.com/office/drawing/2014/main" id="{82B012ED-8FC4-9839-E3D9-106F1DE144F5}"/>
                </a:ext>
              </a:extLst>
            </p:cNvPr>
            <p:cNvGrpSpPr/>
            <p:nvPr/>
          </p:nvGrpSpPr>
          <p:grpSpPr>
            <a:xfrm>
              <a:off x="601663" y="1366838"/>
              <a:ext cx="296863" cy="373063"/>
              <a:chOff x="601663" y="1366838"/>
              <a:chExt cx="296863" cy="373063"/>
            </a:xfrm>
          </p:grpSpPr>
          <p:sp>
            <p:nvSpPr>
              <p:cNvPr id="841" name="Freeform 142">
                <a:extLst>
                  <a:ext uri="{FF2B5EF4-FFF2-40B4-BE49-F238E27FC236}">
                    <a16:creationId xmlns:a16="http://schemas.microsoft.com/office/drawing/2014/main" id="{AFFE6DA1-22EF-EFDE-1652-856A4AFFF0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0738" y="1487488"/>
                <a:ext cx="77788" cy="106363"/>
              </a:xfrm>
              <a:custGeom>
                <a:avLst/>
                <a:gdLst>
                  <a:gd name="T0" fmla="*/ 3 w 49"/>
                  <a:gd name="T1" fmla="*/ 0 h 67"/>
                  <a:gd name="T2" fmla="*/ 49 w 49"/>
                  <a:gd name="T3" fmla="*/ 67 h 67"/>
                  <a:gd name="T4" fmla="*/ 48 w 49"/>
                  <a:gd name="T5" fmla="*/ 67 h 67"/>
                  <a:gd name="T6" fmla="*/ 0 w 49"/>
                  <a:gd name="T7" fmla="*/ 2 h 67"/>
                  <a:gd name="T8" fmla="*/ 3 w 49"/>
                  <a:gd name="T9" fmla="*/ 0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9" h="67">
                    <a:moveTo>
                      <a:pt x="3" y="0"/>
                    </a:moveTo>
                    <a:lnTo>
                      <a:pt x="49" y="67"/>
                    </a:lnTo>
                    <a:lnTo>
                      <a:pt x="48" y="67"/>
                    </a:lnTo>
                    <a:lnTo>
                      <a:pt x="0" y="2"/>
                    </a:lnTo>
                    <a:lnTo>
                      <a:pt x="3" y="0"/>
                    </a:lnTo>
                    <a:close/>
                  </a:path>
                </a:pathLst>
              </a:custGeom>
              <a:solidFill>
                <a:srgbClr val="98A9B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842" name="Freeform 143">
                <a:extLst>
                  <a:ext uri="{FF2B5EF4-FFF2-40B4-BE49-F238E27FC236}">
                    <a16:creationId xmlns:a16="http://schemas.microsoft.com/office/drawing/2014/main" id="{BD61E2A5-5CA0-CEF8-BEA5-BABD10F732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9151" y="1366838"/>
                <a:ext cx="60325" cy="117475"/>
              </a:xfrm>
              <a:custGeom>
                <a:avLst/>
                <a:gdLst>
                  <a:gd name="T0" fmla="*/ 0 w 38"/>
                  <a:gd name="T1" fmla="*/ 72 h 74"/>
                  <a:gd name="T2" fmla="*/ 37 w 38"/>
                  <a:gd name="T3" fmla="*/ 0 h 74"/>
                  <a:gd name="T4" fmla="*/ 38 w 38"/>
                  <a:gd name="T5" fmla="*/ 1 h 74"/>
                  <a:gd name="T6" fmla="*/ 3 w 38"/>
                  <a:gd name="T7" fmla="*/ 74 h 74"/>
                  <a:gd name="T8" fmla="*/ 0 w 38"/>
                  <a:gd name="T9" fmla="*/ 72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" h="74">
                    <a:moveTo>
                      <a:pt x="0" y="72"/>
                    </a:moveTo>
                    <a:lnTo>
                      <a:pt x="37" y="0"/>
                    </a:lnTo>
                    <a:lnTo>
                      <a:pt x="38" y="1"/>
                    </a:lnTo>
                    <a:lnTo>
                      <a:pt x="3" y="74"/>
                    </a:lnTo>
                    <a:lnTo>
                      <a:pt x="0" y="72"/>
                    </a:lnTo>
                    <a:close/>
                  </a:path>
                </a:pathLst>
              </a:custGeom>
              <a:solidFill>
                <a:srgbClr val="98A9B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843" name="Freeform 144">
                <a:extLst>
                  <a:ext uri="{FF2B5EF4-FFF2-40B4-BE49-F238E27FC236}">
                    <a16:creationId xmlns:a16="http://schemas.microsoft.com/office/drawing/2014/main" id="{2DCE14E0-BD52-1E40-1788-E6E74056A1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96926" y="1479551"/>
                <a:ext cx="31750" cy="22225"/>
              </a:xfrm>
              <a:custGeom>
                <a:avLst/>
                <a:gdLst>
                  <a:gd name="T0" fmla="*/ 40 w 97"/>
                  <a:gd name="T1" fmla="*/ 62 h 70"/>
                  <a:gd name="T2" fmla="*/ 40 w 97"/>
                  <a:gd name="T3" fmla="*/ 62 h 70"/>
                  <a:gd name="T4" fmla="*/ 89 w 97"/>
                  <a:gd name="T5" fmla="*/ 27 h 70"/>
                  <a:gd name="T6" fmla="*/ 93 w 97"/>
                  <a:gd name="T7" fmla="*/ 9 h 70"/>
                  <a:gd name="T8" fmla="*/ 76 w 97"/>
                  <a:gd name="T9" fmla="*/ 3 h 70"/>
                  <a:gd name="T10" fmla="*/ 19 w 97"/>
                  <a:gd name="T11" fmla="*/ 23 h 70"/>
                  <a:gd name="T12" fmla="*/ 19 w 97"/>
                  <a:gd name="T13" fmla="*/ 23 h 70"/>
                  <a:gd name="T14" fmla="*/ 16 w 97"/>
                  <a:gd name="T15" fmla="*/ 24 h 70"/>
                  <a:gd name="T16" fmla="*/ 6 w 97"/>
                  <a:gd name="T17" fmla="*/ 55 h 70"/>
                  <a:gd name="T18" fmla="*/ 37 w 97"/>
                  <a:gd name="T19" fmla="*/ 65 h 70"/>
                  <a:gd name="T20" fmla="*/ 40 w 97"/>
                  <a:gd name="T21" fmla="*/ 62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97" h="70">
                    <a:moveTo>
                      <a:pt x="40" y="62"/>
                    </a:moveTo>
                    <a:cubicBezTo>
                      <a:pt x="40" y="62"/>
                      <a:pt x="40" y="62"/>
                      <a:pt x="40" y="62"/>
                    </a:cubicBezTo>
                    <a:cubicBezTo>
                      <a:pt x="89" y="27"/>
                      <a:pt x="89" y="27"/>
                      <a:pt x="89" y="27"/>
                    </a:cubicBezTo>
                    <a:cubicBezTo>
                      <a:pt x="95" y="23"/>
                      <a:pt x="97" y="16"/>
                      <a:pt x="93" y="9"/>
                    </a:cubicBezTo>
                    <a:cubicBezTo>
                      <a:pt x="90" y="3"/>
                      <a:pt x="83" y="0"/>
                      <a:pt x="76" y="3"/>
                    </a:cubicBezTo>
                    <a:cubicBezTo>
                      <a:pt x="19" y="23"/>
                      <a:pt x="19" y="23"/>
                      <a:pt x="19" y="23"/>
                    </a:cubicBezTo>
                    <a:cubicBezTo>
                      <a:pt x="19" y="23"/>
                      <a:pt x="19" y="23"/>
                      <a:pt x="19" y="23"/>
                    </a:cubicBezTo>
                    <a:cubicBezTo>
                      <a:pt x="18" y="23"/>
                      <a:pt x="17" y="24"/>
                      <a:pt x="16" y="24"/>
                    </a:cubicBezTo>
                    <a:cubicBezTo>
                      <a:pt x="5" y="30"/>
                      <a:pt x="0" y="44"/>
                      <a:pt x="6" y="55"/>
                    </a:cubicBezTo>
                    <a:cubicBezTo>
                      <a:pt x="12" y="66"/>
                      <a:pt x="26" y="70"/>
                      <a:pt x="37" y="65"/>
                    </a:cubicBezTo>
                    <a:cubicBezTo>
                      <a:pt x="38" y="64"/>
                      <a:pt x="39" y="63"/>
                      <a:pt x="40" y="62"/>
                    </a:cubicBezTo>
                  </a:path>
                </a:pathLst>
              </a:custGeom>
              <a:solidFill>
                <a:srgbClr val="8093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844" name="Freeform 145">
                <a:extLst>
                  <a:ext uri="{FF2B5EF4-FFF2-40B4-BE49-F238E27FC236}">
                    <a16:creationId xmlns:a16="http://schemas.microsoft.com/office/drawing/2014/main" id="{C037CC9B-381C-9031-4F46-6EAD8D0BF0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8038" y="1490663"/>
                <a:ext cx="15875" cy="249238"/>
              </a:xfrm>
              <a:custGeom>
                <a:avLst/>
                <a:gdLst>
                  <a:gd name="T0" fmla="*/ 7 w 10"/>
                  <a:gd name="T1" fmla="*/ 0 h 157"/>
                  <a:gd name="T2" fmla="*/ 10 w 10"/>
                  <a:gd name="T3" fmla="*/ 64 h 157"/>
                  <a:gd name="T4" fmla="*/ 10 w 10"/>
                  <a:gd name="T5" fmla="*/ 157 h 157"/>
                  <a:gd name="T6" fmla="*/ 0 w 10"/>
                  <a:gd name="T7" fmla="*/ 157 h 157"/>
                  <a:gd name="T8" fmla="*/ 0 w 10"/>
                  <a:gd name="T9" fmla="*/ 64 h 157"/>
                  <a:gd name="T10" fmla="*/ 3 w 10"/>
                  <a:gd name="T11" fmla="*/ 0 h 157"/>
                  <a:gd name="T12" fmla="*/ 7 w 10"/>
                  <a:gd name="T13" fmla="*/ 0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" h="157">
                    <a:moveTo>
                      <a:pt x="7" y="0"/>
                    </a:moveTo>
                    <a:lnTo>
                      <a:pt x="10" y="64"/>
                    </a:lnTo>
                    <a:lnTo>
                      <a:pt x="10" y="157"/>
                    </a:lnTo>
                    <a:lnTo>
                      <a:pt x="0" y="157"/>
                    </a:lnTo>
                    <a:lnTo>
                      <a:pt x="0" y="64"/>
                    </a:lnTo>
                    <a:lnTo>
                      <a:pt x="3" y="0"/>
                    </a:lnTo>
                    <a:lnTo>
                      <a:pt x="7" y="0"/>
                    </a:lnTo>
                    <a:close/>
                  </a:path>
                </a:pathLst>
              </a:custGeom>
              <a:solidFill>
                <a:srgbClr val="98A9B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845" name="Oval 146">
                <a:extLst>
                  <a:ext uri="{FF2B5EF4-FFF2-40B4-BE49-F238E27FC236}">
                    <a16:creationId xmlns:a16="http://schemas.microsoft.com/office/drawing/2014/main" id="{93102EEE-BFDE-46CA-1078-4CC6438A16D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11213" y="1482726"/>
                <a:ext cx="11113" cy="11113"/>
              </a:xfrm>
              <a:prstGeom prst="ellipse">
                <a:avLst/>
              </a:prstGeom>
              <a:solidFill>
                <a:srgbClr val="8093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846" name="Freeform 147">
                <a:extLst>
                  <a:ext uri="{FF2B5EF4-FFF2-40B4-BE49-F238E27FC236}">
                    <a16:creationId xmlns:a16="http://schemas.microsoft.com/office/drawing/2014/main" id="{E99D2A12-3A1E-88E1-0536-8D45784808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0563" y="1468438"/>
                <a:ext cx="127000" cy="19050"/>
              </a:xfrm>
              <a:custGeom>
                <a:avLst/>
                <a:gdLst>
                  <a:gd name="T0" fmla="*/ 80 w 80"/>
                  <a:gd name="T1" fmla="*/ 12 h 12"/>
                  <a:gd name="T2" fmla="*/ 0 w 80"/>
                  <a:gd name="T3" fmla="*/ 0 h 12"/>
                  <a:gd name="T4" fmla="*/ 0 w 80"/>
                  <a:gd name="T5" fmla="*/ 0 h 12"/>
                  <a:gd name="T6" fmla="*/ 80 w 80"/>
                  <a:gd name="T7" fmla="*/ 8 h 12"/>
                  <a:gd name="T8" fmla="*/ 80 w 80"/>
                  <a:gd name="T9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0" h="12">
                    <a:moveTo>
                      <a:pt x="80" y="12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80" y="8"/>
                    </a:lnTo>
                    <a:lnTo>
                      <a:pt x="80" y="12"/>
                    </a:lnTo>
                    <a:close/>
                  </a:path>
                </a:pathLst>
              </a:custGeom>
              <a:solidFill>
                <a:srgbClr val="98A9B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847" name="Oval 148">
                <a:extLst>
                  <a:ext uri="{FF2B5EF4-FFF2-40B4-BE49-F238E27FC236}">
                    <a16:creationId xmlns:a16="http://schemas.microsoft.com/office/drawing/2014/main" id="{EC34BBC9-7F6E-FC5E-19D9-261320D30E9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15976" y="1481138"/>
                <a:ext cx="9525" cy="9525"/>
              </a:xfrm>
              <a:prstGeom prst="ellipse">
                <a:avLst/>
              </a:prstGeom>
              <a:solidFill>
                <a:srgbClr val="8093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848" name="Oval 149">
                <a:extLst>
                  <a:ext uri="{FF2B5EF4-FFF2-40B4-BE49-F238E27FC236}">
                    <a16:creationId xmlns:a16="http://schemas.microsoft.com/office/drawing/2014/main" id="{6C1C253A-9486-0C4A-6EA6-F06B38BDCCD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0738" y="1481138"/>
                <a:ext cx="4763" cy="6350"/>
              </a:xfrm>
              <a:prstGeom prst="ellipse">
                <a:avLst/>
              </a:pr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849" name="Freeform 150">
                <a:extLst>
                  <a:ext uri="{FF2B5EF4-FFF2-40B4-BE49-F238E27FC236}">
                    <a16:creationId xmlns:a16="http://schemas.microsoft.com/office/drawing/2014/main" id="{A7CAD207-9DE6-748C-AE70-AB2EFCB630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1838" y="1487488"/>
                <a:ext cx="77788" cy="106363"/>
              </a:xfrm>
              <a:custGeom>
                <a:avLst/>
                <a:gdLst>
                  <a:gd name="T0" fmla="*/ 3 w 49"/>
                  <a:gd name="T1" fmla="*/ 0 h 67"/>
                  <a:gd name="T2" fmla="*/ 49 w 49"/>
                  <a:gd name="T3" fmla="*/ 67 h 67"/>
                  <a:gd name="T4" fmla="*/ 48 w 49"/>
                  <a:gd name="T5" fmla="*/ 67 h 67"/>
                  <a:gd name="T6" fmla="*/ 0 w 49"/>
                  <a:gd name="T7" fmla="*/ 2 h 67"/>
                  <a:gd name="T8" fmla="*/ 3 w 49"/>
                  <a:gd name="T9" fmla="*/ 0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9" h="67">
                    <a:moveTo>
                      <a:pt x="3" y="0"/>
                    </a:moveTo>
                    <a:lnTo>
                      <a:pt x="49" y="67"/>
                    </a:lnTo>
                    <a:lnTo>
                      <a:pt x="48" y="67"/>
                    </a:lnTo>
                    <a:lnTo>
                      <a:pt x="0" y="2"/>
                    </a:lnTo>
                    <a:lnTo>
                      <a:pt x="3" y="0"/>
                    </a:lnTo>
                    <a:close/>
                  </a:path>
                </a:pathLst>
              </a:custGeom>
              <a:solidFill>
                <a:srgbClr val="98A9B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850" name="Freeform 151">
                <a:extLst>
                  <a:ext uri="{FF2B5EF4-FFF2-40B4-BE49-F238E27FC236}">
                    <a16:creationId xmlns:a16="http://schemas.microsoft.com/office/drawing/2014/main" id="{4BC314A4-6C67-C486-43E5-6F655A80BF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0251" y="1366838"/>
                <a:ext cx="60325" cy="117475"/>
              </a:xfrm>
              <a:custGeom>
                <a:avLst/>
                <a:gdLst>
                  <a:gd name="T0" fmla="*/ 0 w 38"/>
                  <a:gd name="T1" fmla="*/ 72 h 74"/>
                  <a:gd name="T2" fmla="*/ 37 w 38"/>
                  <a:gd name="T3" fmla="*/ 0 h 74"/>
                  <a:gd name="T4" fmla="*/ 38 w 38"/>
                  <a:gd name="T5" fmla="*/ 1 h 74"/>
                  <a:gd name="T6" fmla="*/ 3 w 38"/>
                  <a:gd name="T7" fmla="*/ 74 h 74"/>
                  <a:gd name="T8" fmla="*/ 0 w 38"/>
                  <a:gd name="T9" fmla="*/ 72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" h="74">
                    <a:moveTo>
                      <a:pt x="0" y="72"/>
                    </a:moveTo>
                    <a:lnTo>
                      <a:pt x="37" y="0"/>
                    </a:lnTo>
                    <a:lnTo>
                      <a:pt x="38" y="1"/>
                    </a:lnTo>
                    <a:lnTo>
                      <a:pt x="3" y="74"/>
                    </a:lnTo>
                    <a:lnTo>
                      <a:pt x="0" y="72"/>
                    </a:lnTo>
                    <a:close/>
                  </a:path>
                </a:pathLst>
              </a:custGeom>
              <a:solidFill>
                <a:srgbClr val="98A9B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851" name="Freeform 152">
                <a:extLst>
                  <a:ext uri="{FF2B5EF4-FFF2-40B4-BE49-F238E27FC236}">
                    <a16:creationId xmlns:a16="http://schemas.microsoft.com/office/drawing/2014/main" id="{F1C63DD1-7733-3C8A-68EA-1976ED436E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8026" y="1479551"/>
                <a:ext cx="31750" cy="22225"/>
              </a:xfrm>
              <a:custGeom>
                <a:avLst/>
                <a:gdLst>
                  <a:gd name="T0" fmla="*/ 40 w 97"/>
                  <a:gd name="T1" fmla="*/ 62 h 70"/>
                  <a:gd name="T2" fmla="*/ 40 w 97"/>
                  <a:gd name="T3" fmla="*/ 62 h 70"/>
                  <a:gd name="T4" fmla="*/ 89 w 97"/>
                  <a:gd name="T5" fmla="*/ 27 h 70"/>
                  <a:gd name="T6" fmla="*/ 93 w 97"/>
                  <a:gd name="T7" fmla="*/ 9 h 70"/>
                  <a:gd name="T8" fmla="*/ 76 w 97"/>
                  <a:gd name="T9" fmla="*/ 3 h 70"/>
                  <a:gd name="T10" fmla="*/ 19 w 97"/>
                  <a:gd name="T11" fmla="*/ 23 h 70"/>
                  <a:gd name="T12" fmla="*/ 19 w 97"/>
                  <a:gd name="T13" fmla="*/ 23 h 70"/>
                  <a:gd name="T14" fmla="*/ 16 w 97"/>
                  <a:gd name="T15" fmla="*/ 24 h 70"/>
                  <a:gd name="T16" fmla="*/ 6 w 97"/>
                  <a:gd name="T17" fmla="*/ 55 h 70"/>
                  <a:gd name="T18" fmla="*/ 37 w 97"/>
                  <a:gd name="T19" fmla="*/ 65 h 70"/>
                  <a:gd name="T20" fmla="*/ 40 w 97"/>
                  <a:gd name="T21" fmla="*/ 62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97" h="70">
                    <a:moveTo>
                      <a:pt x="40" y="62"/>
                    </a:moveTo>
                    <a:cubicBezTo>
                      <a:pt x="40" y="62"/>
                      <a:pt x="40" y="62"/>
                      <a:pt x="40" y="62"/>
                    </a:cubicBezTo>
                    <a:cubicBezTo>
                      <a:pt x="89" y="27"/>
                      <a:pt x="89" y="27"/>
                      <a:pt x="89" y="27"/>
                    </a:cubicBezTo>
                    <a:cubicBezTo>
                      <a:pt x="95" y="23"/>
                      <a:pt x="97" y="16"/>
                      <a:pt x="93" y="9"/>
                    </a:cubicBezTo>
                    <a:cubicBezTo>
                      <a:pt x="90" y="3"/>
                      <a:pt x="83" y="0"/>
                      <a:pt x="76" y="3"/>
                    </a:cubicBezTo>
                    <a:cubicBezTo>
                      <a:pt x="19" y="23"/>
                      <a:pt x="19" y="23"/>
                      <a:pt x="19" y="23"/>
                    </a:cubicBezTo>
                    <a:cubicBezTo>
                      <a:pt x="19" y="23"/>
                      <a:pt x="19" y="23"/>
                      <a:pt x="19" y="23"/>
                    </a:cubicBezTo>
                    <a:cubicBezTo>
                      <a:pt x="18" y="23"/>
                      <a:pt x="17" y="24"/>
                      <a:pt x="16" y="24"/>
                    </a:cubicBezTo>
                    <a:cubicBezTo>
                      <a:pt x="5" y="30"/>
                      <a:pt x="0" y="44"/>
                      <a:pt x="6" y="55"/>
                    </a:cubicBezTo>
                    <a:cubicBezTo>
                      <a:pt x="12" y="66"/>
                      <a:pt x="26" y="70"/>
                      <a:pt x="37" y="65"/>
                    </a:cubicBezTo>
                    <a:cubicBezTo>
                      <a:pt x="38" y="64"/>
                      <a:pt x="39" y="63"/>
                      <a:pt x="40" y="62"/>
                    </a:cubicBezTo>
                  </a:path>
                </a:pathLst>
              </a:custGeom>
              <a:solidFill>
                <a:srgbClr val="8093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852" name="Freeform 153">
                <a:extLst>
                  <a:ext uri="{FF2B5EF4-FFF2-40B4-BE49-F238E27FC236}">
                    <a16:creationId xmlns:a16="http://schemas.microsoft.com/office/drawing/2014/main" id="{15842C81-3EFC-B921-B2FC-3E25928DC1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7551" y="1490663"/>
                <a:ext cx="17463" cy="249238"/>
              </a:xfrm>
              <a:custGeom>
                <a:avLst/>
                <a:gdLst>
                  <a:gd name="T0" fmla="*/ 8 w 11"/>
                  <a:gd name="T1" fmla="*/ 0 h 157"/>
                  <a:gd name="T2" fmla="*/ 11 w 11"/>
                  <a:gd name="T3" fmla="*/ 64 h 157"/>
                  <a:gd name="T4" fmla="*/ 11 w 11"/>
                  <a:gd name="T5" fmla="*/ 157 h 157"/>
                  <a:gd name="T6" fmla="*/ 0 w 11"/>
                  <a:gd name="T7" fmla="*/ 157 h 157"/>
                  <a:gd name="T8" fmla="*/ 0 w 11"/>
                  <a:gd name="T9" fmla="*/ 64 h 157"/>
                  <a:gd name="T10" fmla="*/ 3 w 11"/>
                  <a:gd name="T11" fmla="*/ 0 h 157"/>
                  <a:gd name="T12" fmla="*/ 8 w 11"/>
                  <a:gd name="T13" fmla="*/ 0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1" h="157">
                    <a:moveTo>
                      <a:pt x="8" y="0"/>
                    </a:moveTo>
                    <a:lnTo>
                      <a:pt x="11" y="64"/>
                    </a:lnTo>
                    <a:lnTo>
                      <a:pt x="11" y="157"/>
                    </a:lnTo>
                    <a:lnTo>
                      <a:pt x="0" y="157"/>
                    </a:lnTo>
                    <a:lnTo>
                      <a:pt x="0" y="64"/>
                    </a:lnTo>
                    <a:lnTo>
                      <a:pt x="3" y="0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rgbClr val="98A9B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853" name="Oval 154">
                <a:extLst>
                  <a:ext uri="{FF2B5EF4-FFF2-40B4-BE49-F238E27FC236}">
                    <a16:creationId xmlns:a16="http://schemas.microsoft.com/office/drawing/2014/main" id="{5C258F61-E68E-3D90-9EF4-0057BBEB024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726" y="1482726"/>
                <a:ext cx="11113" cy="11113"/>
              </a:xfrm>
              <a:prstGeom prst="ellipse">
                <a:avLst/>
              </a:prstGeom>
              <a:solidFill>
                <a:srgbClr val="8093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854" name="Freeform 155">
                <a:extLst>
                  <a:ext uri="{FF2B5EF4-FFF2-40B4-BE49-F238E27FC236}">
                    <a16:creationId xmlns:a16="http://schemas.microsoft.com/office/drawing/2014/main" id="{B2DC6C5F-070E-498E-031B-E1BF2BFB51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1663" y="1468438"/>
                <a:ext cx="127000" cy="19050"/>
              </a:xfrm>
              <a:custGeom>
                <a:avLst/>
                <a:gdLst>
                  <a:gd name="T0" fmla="*/ 79 w 80"/>
                  <a:gd name="T1" fmla="*/ 12 h 12"/>
                  <a:gd name="T2" fmla="*/ 0 w 80"/>
                  <a:gd name="T3" fmla="*/ 0 h 12"/>
                  <a:gd name="T4" fmla="*/ 0 w 80"/>
                  <a:gd name="T5" fmla="*/ 0 h 12"/>
                  <a:gd name="T6" fmla="*/ 80 w 80"/>
                  <a:gd name="T7" fmla="*/ 8 h 12"/>
                  <a:gd name="T8" fmla="*/ 79 w 80"/>
                  <a:gd name="T9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0" h="12">
                    <a:moveTo>
                      <a:pt x="79" y="12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80" y="8"/>
                    </a:lnTo>
                    <a:lnTo>
                      <a:pt x="79" y="12"/>
                    </a:lnTo>
                    <a:close/>
                  </a:path>
                </a:pathLst>
              </a:custGeom>
              <a:solidFill>
                <a:srgbClr val="98A9B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855" name="Oval 156">
                <a:extLst>
                  <a:ext uri="{FF2B5EF4-FFF2-40B4-BE49-F238E27FC236}">
                    <a16:creationId xmlns:a16="http://schemas.microsoft.com/office/drawing/2014/main" id="{21CDDC6F-1265-8640-60EA-A60739AF561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5488" y="1481138"/>
                <a:ext cx="9525" cy="9525"/>
              </a:xfrm>
              <a:prstGeom prst="ellipse">
                <a:avLst/>
              </a:prstGeom>
              <a:solidFill>
                <a:srgbClr val="8093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856" name="Oval 157">
                <a:extLst>
                  <a:ext uri="{FF2B5EF4-FFF2-40B4-BE49-F238E27FC236}">
                    <a16:creationId xmlns:a16="http://schemas.microsoft.com/office/drawing/2014/main" id="{64978EB1-A3AD-3774-C57D-0709F5FAD11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0251" y="1481138"/>
                <a:ext cx="6350" cy="6350"/>
              </a:xfrm>
              <a:prstGeom prst="ellipse">
                <a:avLst/>
              </a:pr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grpSp>
          <p:nvGrpSpPr>
            <p:cNvPr id="822" name="Skupina 394">
              <a:extLst>
                <a:ext uri="{FF2B5EF4-FFF2-40B4-BE49-F238E27FC236}">
                  <a16:creationId xmlns:a16="http://schemas.microsoft.com/office/drawing/2014/main" id="{2E4C1C42-3F4C-F873-2278-10EA9457D5F2}"/>
                </a:ext>
              </a:extLst>
            </p:cNvPr>
            <p:cNvGrpSpPr/>
            <p:nvPr/>
          </p:nvGrpSpPr>
          <p:grpSpPr>
            <a:xfrm>
              <a:off x="1489077" y="1563983"/>
              <a:ext cx="255561" cy="170861"/>
              <a:chOff x="1508126" y="1554163"/>
              <a:chExt cx="277813" cy="185738"/>
            </a:xfrm>
          </p:grpSpPr>
          <p:sp>
            <p:nvSpPr>
              <p:cNvPr id="823" name="Freeform 158">
                <a:extLst>
                  <a:ext uri="{FF2B5EF4-FFF2-40B4-BE49-F238E27FC236}">
                    <a16:creationId xmlns:a16="http://schemas.microsoft.com/office/drawing/2014/main" id="{E2FFAD02-8387-8B05-150A-8B54E5AE18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44638" y="1670051"/>
                <a:ext cx="176213" cy="69850"/>
              </a:xfrm>
              <a:custGeom>
                <a:avLst/>
                <a:gdLst>
                  <a:gd name="T0" fmla="*/ 428 w 548"/>
                  <a:gd name="T1" fmla="*/ 215 h 215"/>
                  <a:gd name="T2" fmla="*/ 120 w 548"/>
                  <a:gd name="T3" fmla="*/ 215 h 215"/>
                  <a:gd name="T4" fmla="*/ 0 w 548"/>
                  <a:gd name="T5" fmla="*/ 95 h 215"/>
                  <a:gd name="T6" fmla="*/ 0 w 548"/>
                  <a:gd name="T7" fmla="*/ 0 h 215"/>
                  <a:gd name="T8" fmla="*/ 14 w 548"/>
                  <a:gd name="T9" fmla="*/ 0 h 215"/>
                  <a:gd name="T10" fmla="*/ 14 w 548"/>
                  <a:gd name="T11" fmla="*/ 95 h 215"/>
                  <a:gd name="T12" fmla="*/ 120 w 548"/>
                  <a:gd name="T13" fmla="*/ 202 h 215"/>
                  <a:gd name="T14" fmla="*/ 428 w 548"/>
                  <a:gd name="T15" fmla="*/ 202 h 215"/>
                  <a:gd name="T16" fmla="*/ 534 w 548"/>
                  <a:gd name="T17" fmla="*/ 95 h 215"/>
                  <a:gd name="T18" fmla="*/ 534 w 548"/>
                  <a:gd name="T19" fmla="*/ 0 h 215"/>
                  <a:gd name="T20" fmla="*/ 548 w 548"/>
                  <a:gd name="T21" fmla="*/ 0 h 215"/>
                  <a:gd name="T22" fmla="*/ 548 w 548"/>
                  <a:gd name="T23" fmla="*/ 95 h 215"/>
                  <a:gd name="T24" fmla="*/ 428 w 548"/>
                  <a:gd name="T25" fmla="*/ 215 h 2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48" h="215">
                    <a:moveTo>
                      <a:pt x="428" y="215"/>
                    </a:moveTo>
                    <a:cubicBezTo>
                      <a:pt x="120" y="215"/>
                      <a:pt x="120" y="215"/>
                      <a:pt x="120" y="215"/>
                    </a:cubicBezTo>
                    <a:cubicBezTo>
                      <a:pt x="54" y="215"/>
                      <a:pt x="0" y="161"/>
                      <a:pt x="0" y="95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14" y="95"/>
                      <a:pt x="14" y="95"/>
                      <a:pt x="14" y="95"/>
                    </a:cubicBezTo>
                    <a:cubicBezTo>
                      <a:pt x="14" y="154"/>
                      <a:pt x="61" y="202"/>
                      <a:pt x="120" y="202"/>
                    </a:cubicBezTo>
                    <a:cubicBezTo>
                      <a:pt x="428" y="202"/>
                      <a:pt x="428" y="202"/>
                      <a:pt x="428" y="202"/>
                    </a:cubicBezTo>
                    <a:cubicBezTo>
                      <a:pt x="487" y="202"/>
                      <a:pt x="534" y="154"/>
                      <a:pt x="534" y="95"/>
                    </a:cubicBezTo>
                    <a:cubicBezTo>
                      <a:pt x="534" y="0"/>
                      <a:pt x="534" y="0"/>
                      <a:pt x="534" y="0"/>
                    </a:cubicBezTo>
                    <a:cubicBezTo>
                      <a:pt x="548" y="0"/>
                      <a:pt x="548" y="0"/>
                      <a:pt x="548" y="0"/>
                    </a:cubicBezTo>
                    <a:cubicBezTo>
                      <a:pt x="548" y="95"/>
                      <a:pt x="548" y="95"/>
                      <a:pt x="548" y="95"/>
                    </a:cubicBezTo>
                    <a:cubicBezTo>
                      <a:pt x="548" y="161"/>
                      <a:pt x="494" y="215"/>
                      <a:pt x="428" y="215"/>
                    </a:cubicBezTo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824" name="Freeform 159">
                <a:extLst>
                  <a:ext uri="{FF2B5EF4-FFF2-40B4-BE49-F238E27FC236}">
                    <a16:creationId xmlns:a16="http://schemas.microsoft.com/office/drawing/2014/main" id="{E1862774-1CD8-10E0-46B9-3AADB33FC2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44638" y="1670051"/>
                <a:ext cx="176213" cy="69850"/>
              </a:xfrm>
              <a:custGeom>
                <a:avLst/>
                <a:gdLst>
                  <a:gd name="T0" fmla="*/ 428 w 548"/>
                  <a:gd name="T1" fmla="*/ 215 h 215"/>
                  <a:gd name="T2" fmla="*/ 120 w 548"/>
                  <a:gd name="T3" fmla="*/ 215 h 215"/>
                  <a:gd name="T4" fmla="*/ 0 w 548"/>
                  <a:gd name="T5" fmla="*/ 95 h 215"/>
                  <a:gd name="T6" fmla="*/ 0 w 548"/>
                  <a:gd name="T7" fmla="*/ 0 h 215"/>
                  <a:gd name="T8" fmla="*/ 14 w 548"/>
                  <a:gd name="T9" fmla="*/ 0 h 215"/>
                  <a:gd name="T10" fmla="*/ 14 w 548"/>
                  <a:gd name="T11" fmla="*/ 95 h 215"/>
                  <a:gd name="T12" fmla="*/ 120 w 548"/>
                  <a:gd name="T13" fmla="*/ 202 h 215"/>
                  <a:gd name="T14" fmla="*/ 428 w 548"/>
                  <a:gd name="T15" fmla="*/ 202 h 215"/>
                  <a:gd name="T16" fmla="*/ 534 w 548"/>
                  <a:gd name="T17" fmla="*/ 95 h 215"/>
                  <a:gd name="T18" fmla="*/ 534 w 548"/>
                  <a:gd name="T19" fmla="*/ 0 h 215"/>
                  <a:gd name="T20" fmla="*/ 548 w 548"/>
                  <a:gd name="T21" fmla="*/ 0 h 215"/>
                  <a:gd name="T22" fmla="*/ 548 w 548"/>
                  <a:gd name="T23" fmla="*/ 95 h 215"/>
                  <a:gd name="T24" fmla="*/ 428 w 548"/>
                  <a:gd name="T25" fmla="*/ 215 h 2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48" h="215">
                    <a:moveTo>
                      <a:pt x="428" y="215"/>
                    </a:moveTo>
                    <a:cubicBezTo>
                      <a:pt x="120" y="215"/>
                      <a:pt x="120" y="215"/>
                      <a:pt x="120" y="215"/>
                    </a:cubicBezTo>
                    <a:cubicBezTo>
                      <a:pt x="54" y="215"/>
                      <a:pt x="0" y="161"/>
                      <a:pt x="0" y="95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14" y="95"/>
                      <a:pt x="14" y="95"/>
                      <a:pt x="14" y="95"/>
                    </a:cubicBezTo>
                    <a:cubicBezTo>
                      <a:pt x="14" y="154"/>
                      <a:pt x="61" y="202"/>
                      <a:pt x="120" y="202"/>
                    </a:cubicBezTo>
                    <a:cubicBezTo>
                      <a:pt x="428" y="202"/>
                      <a:pt x="428" y="202"/>
                      <a:pt x="428" y="202"/>
                    </a:cubicBezTo>
                    <a:cubicBezTo>
                      <a:pt x="487" y="202"/>
                      <a:pt x="534" y="154"/>
                      <a:pt x="534" y="95"/>
                    </a:cubicBezTo>
                    <a:cubicBezTo>
                      <a:pt x="534" y="0"/>
                      <a:pt x="534" y="0"/>
                      <a:pt x="534" y="0"/>
                    </a:cubicBezTo>
                    <a:cubicBezTo>
                      <a:pt x="548" y="0"/>
                      <a:pt x="548" y="0"/>
                      <a:pt x="548" y="0"/>
                    </a:cubicBezTo>
                    <a:cubicBezTo>
                      <a:pt x="548" y="95"/>
                      <a:pt x="548" y="95"/>
                      <a:pt x="548" y="95"/>
                    </a:cubicBezTo>
                    <a:cubicBezTo>
                      <a:pt x="548" y="161"/>
                      <a:pt x="494" y="215"/>
                      <a:pt x="428" y="215"/>
                    </a:cubicBezTo>
                    <a:close/>
                  </a:path>
                </a:pathLst>
              </a:custGeom>
              <a:noFill/>
              <a:ln w="4763" cap="flat">
                <a:solidFill>
                  <a:srgbClr val="C9D4D9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825" name="Freeform 160">
                <a:extLst>
                  <a:ext uri="{FF2B5EF4-FFF2-40B4-BE49-F238E27FC236}">
                    <a16:creationId xmlns:a16="http://schemas.microsoft.com/office/drawing/2014/main" id="{CC56BE55-6258-5361-BC7E-570AFEC514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52601" y="1554163"/>
                <a:ext cx="33338" cy="115888"/>
              </a:xfrm>
              <a:custGeom>
                <a:avLst/>
                <a:gdLst>
                  <a:gd name="T0" fmla="*/ 0 w 21"/>
                  <a:gd name="T1" fmla="*/ 73 h 73"/>
                  <a:gd name="T2" fmla="*/ 21 w 21"/>
                  <a:gd name="T3" fmla="*/ 58 h 73"/>
                  <a:gd name="T4" fmla="*/ 21 w 21"/>
                  <a:gd name="T5" fmla="*/ 0 h 73"/>
                  <a:gd name="T6" fmla="*/ 0 w 21"/>
                  <a:gd name="T7" fmla="*/ 15 h 73"/>
                  <a:gd name="T8" fmla="*/ 0 w 21"/>
                  <a:gd name="T9" fmla="*/ 73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" h="73">
                    <a:moveTo>
                      <a:pt x="0" y="73"/>
                    </a:moveTo>
                    <a:lnTo>
                      <a:pt x="21" y="58"/>
                    </a:lnTo>
                    <a:lnTo>
                      <a:pt x="21" y="0"/>
                    </a:lnTo>
                    <a:lnTo>
                      <a:pt x="0" y="15"/>
                    </a:lnTo>
                    <a:lnTo>
                      <a:pt x="0" y="73"/>
                    </a:lnTo>
                    <a:close/>
                  </a:path>
                </a:pathLst>
              </a:cu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826" name="Freeform 161">
                <a:extLst>
                  <a:ext uri="{FF2B5EF4-FFF2-40B4-BE49-F238E27FC236}">
                    <a16:creationId xmlns:a16="http://schemas.microsoft.com/office/drawing/2014/main" id="{A5B67600-286E-E7FB-8DEB-A7B00C31DA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08126" y="1554163"/>
                <a:ext cx="33338" cy="115888"/>
              </a:xfrm>
              <a:custGeom>
                <a:avLst/>
                <a:gdLst>
                  <a:gd name="T0" fmla="*/ 0 w 21"/>
                  <a:gd name="T1" fmla="*/ 73 h 73"/>
                  <a:gd name="T2" fmla="*/ 21 w 21"/>
                  <a:gd name="T3" fmla="*/ 64 h 73"/>
                  <a:gd name="T4" fmla="*/ 21 w 21"/>
                  <a:gd name="T5" fmla="*/ 0 h 73"/>
                  <a:gd name="T6" fmla="*/ 0 w 21"/>
                  <a:gd name="T7" fmla="*/ 15 h 73"/>
                  <a:gd name="T8" fmla="*/ 0 w 21"/>
                  <a:gd name="T9" fmla="*/ 73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" h="73">
                    <a:moveTo>
                      <a:pt x="0" y="73"/>
                    </a:moveTo>
                    <a:lnTo>
                      <a:pt x="21" y="64"/>
                    </a:lnTo>
                    <a:lnTo>
                      <a:pt x="21" y="0"/>
                    </a:lnTo>
                    <a:lnTo>
                      <a:pt x="0" y="15"/>
                    </a:lnTo>
                    <a:lnTo>
                      <a:pt x="0" y="73"/>
                    </a:lnTo>
                    <a:close/>
                  </a:path>
                </a:pathLst>
              </a:cu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827" name="Rectangle 162">
                <a:extLst>
                  <a:ext uri="{FF2B5EF4-FFF2-40B4-BE49-F238E27FC236}">
                    <a16:creationId xmlns:a16="http://schemas.microsoft.com/office/drawing/2014/main" id="{A85410DF-11D6-52A9-AABC-D281EDC7C9D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08126" y="1577976"/>
                <a:ext cx="244475" cy="92075"/>
              </a:xfrm>
              <a:prstGeom prst="rect">
                <a:avLst/>
              </a:prstGeom>
              <a:solidFill>
                <a:srgbClr val="8093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828" name="Freeform 163">
                <a:extLst>
                  <a:ext uri="{FF2B5EF4-FFF2-40B4-BE49-F238E27FC236}">
                    <a16:creationId xmlns:a16="http://schemas.microsoft.com/office/drawing/2014/main" id="{A900C1AB-7490-0E76-9FB3-4158794505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08126" y="1554163"/>
                <a:ext cx="277813" cy="23813"/>
              </a:xfrm>
              <a:custGeom>
                <a:avLst/>
                <a:gdLst>
                  <a:gd name="T0" fmla="*/ 0 w 175"/>
                  <a:gd name="T1" fmla="*/ 15 h 15"/>
                  <a:gd name="T2" fmla="*/ 154 w 175"/>
                  <a:gd name="T3" fmla="*/ 15 h 15"/>
                  <a:gd name="T4" fmla="*/ 175 w 175"/>
                  <a:gd name="T5" fmla="*/ 0 h 15"/>
                  <a:gd name="T6" fmla="*/ 21 w 175"/>
                  <a:gd name="T7" fmla="*/ 0 h 15"/>
                  <a:gd name="T8" fmla="*/ 0 w 175"/>
                  <a:gd name="T9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5" h="15">
                    <a:moveTo>
                      <a:pt x="0" y="15"/>
                    </a:moveTo>
                    <a:lnTo>
                      <a:pt x="154" y="15"/>
                    </a:lnTo>
                    <a:lnTo>
                      <a:pt x="175" y="0"/>
                    </a:lnTo>
                    <a:lnTo>
                      <a:pt x="21" y="0"/>
                    </a:lnTo>
                    <a:lnTo>
                      <a:pt x="0" y="15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829" name="Rectangle 186">
                <a:extLst>
                  <a:ext uri="{FF2B5EF4-FFF2-40B4-BE49-F238E27FC236}">
                    <a16:creationId xmlns:a16="http://schemas.microsoft.com/office/drawing/2014/main" id="{F3FCF6D5-A6E4-0ED5-C53D-C340529BC86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03388" y="1604963"/>
                <a:ext cx="14288" cy="1746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830" name="Rectangle 187">
                <a:extLst>
                  <a:ext uri="{FF2B5EF4-FFF2-40B4-BE49-F238E27FC236}">
                    <a16:creationId xmlns:a16="http://schemas.microsoft.com/office/drawing/2014/main" id="{FECDB369-10A7-00C2-4D4A-846446E494F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03388" y="1604963"/>
                <a:ext cx="4763" cy="17463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831" name="Freeform 188">
                <a:extLst>
                  <a:ext uri="{FF2B5EF4-FFF2-40B4-BE49-F238E27FC236}">
                    <a16:creationId xmlns:a16="http://schemas.microsoft.com/office/drawing/2014/main" id="{CED2C7C6-67AA-B747-4398-C956B800C2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03388" y="1619251"/>
                <a:ext cx="14288" cy="3175"/>
              </a:xfrm>
              <a:custGeom>
                <a:avLst/>
                <a:gdLst>
                  <a:gd name="T0" fmla="*/ 3 w 9"/>
                  <a:gd name="T1" fmla="*/ 0 h 2"/>
                  <a:gd name="T2" fmla="*/ 0 w 9"/>
                  <a:gd name="T3" fmla="*/ 2 h 2"/>
                  <a:gd name="T4" fmla="*/ 9 w 9"/>
                  <a:gd name="T5" fmla="*/ 2 h 2"/>
                  <a:gd name="T6" fmla="*/ 9 w 9"/>
                  <a:gd name="T7" fmla="*/ 0 h 2"/>
                  <a:gd name="T8" fmla="*/ 3 w 9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2">
                    <a:moveTo>
                      <a:pt x="3" y="0"/>
                    </a:moveTo>
                    <a:lnTo>
                      <a:pt x="0" y="2"/>
                    </a:lnTo>
                    <a:lnTo>
                      <a:pt x="9" y="2"/>
                    </a:lnTo>
                    <a:lnTo>
                      <a:pt x="9" y="0"/>
                    </a:lnTo>
                    <a:lnTo>
                      <a:pt x="3" y="0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832" name="Rectangle 189">
                <a:extLst>
                  <a:ext uri="{FF2B5EF4-FFF2-40B4-BE49-F238E27FC236}">
                    <a16:creationId xmlns:a16="http://schemas.microsoft.com/office/drawing/2014/main" id="{2CC9E6F8-9359-7223-A89B-0BE13B1DE31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49413" y="1604963"/>
                <a:ext cx="14288" cy="1746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833" name="Rectangle 190">
                <a:extLst>
                  <a:ext uri="{FF2B5EF4-FFF2-40B4-BE49-F238E27FC236}">
                    <a16:creationId xmlns:a16="http://schemas.microsoft.com/office/drawing/2014/main" id="{4E1832CA-6EAF-A36F-45C5-DF40F1F61B7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49413" y="1604963"/>
                <a:ext cx="4763" cy="17463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834" name="Freeform 191">
                <a:extLst>
                  <a:ext uri="{FF2B5EF4-FFF2-40B4-BE49-F238E27FC236}">
                    <a16:creationId xmlns:a16="http://schemas.microsoft.com/office/drawing/2014/main" id="{458B44A3-AE97-CD0D-7BA0-862586FAA5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49413" y="1619251"/>
                <a:ext cx="14288" cy="3175"/>
              </a:xfrm>
              <a:custGeom>
                <a:avLst/>
                <a:gdLst>
                  <a:gd name="T0" fmla="*/ 3 w 9"/>
                  <a:gd name="T1" fmla="*/ 0 h 2"/>
                  <a:gd name="T2" fmla="*/ 0 w 9"/>
                  <a:gd name="T3" fmla="*/ 2 h 2"/>
                  <a:gd name="T4" fmla="*/ 9 w 9"/>
                  <a:gd name="T5" fmla="*/ 2 h 2"/>
                  <a:gd name="T6" fmla="*/ 9 w 9"/>
                  <a:gd name="T7" fmla="*/ 0 h 2"/>
                  <a:gd name="T8" fmla="*/ 3 w 9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2">
                    <a:moveTo>
                      <a:pt x="3" y="0"/>
                    </a:moveTo>
                    <a:lnTo>
                      <a:pt x="0" y="2"/>
                    </a:lnTo>
                    <a:lnTo>
                      <a:pt x="9" y="2"/>
                    </a:lnTo>
                    <a:lnTo>
                      <a:pt x="9" y="0"/>
                    </a:lnTo>
                    <a:lnTo>
                      <a:pt x="3" y="0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835" name="Rectangle 192">
                <a:extLst>
                  <a:ext uri="{FF2B5EF4-FFF2-40B4-BE49-F238E27FC236}">
                    <a16:creationId xmlns:a16="http://schemas.microsoft.com/office/drawing/2014/main" id="{1DBFBB36-3F46-F586-0A65-BBE6F6D2972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95438" y="1604963"/>
                <a:ext cx="14288" cy="1746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836" name="Rectangle 193">
                <a:extLst>
                  <a:ext uri="{FF2B5EF4-FFF2-40B4-BE49-F238E27FC236}">
                    <a16:creationId xmlns:a16="http://schemas.microsoft.com/office/drawing/2014/main" id="{3B7BAB5D-E11A-EA13-6F42-AE9888588C1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95438" y="1604963"/>
                <a:ext cx="4763" cy="17463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837" name="Freeform 194">
                <a:extLst>
                  <a:ext uri="{FF2B5EF4-FFF2-40B4-BE49-F238E27FC236}">
                    <a16:creationId xmlns:a16="http://schemas.microsoft.com/office/drawing/2014/main" id="{2151DCCB-4A44-BF11-931D-0274D95CBB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95438" y="1619251"/>
                <a:ext cx="14288" cy="3175"/>
              </a:xfrm>
              <a:custGeom>
                <a:avLst/>
                <a:gdLst>
                  <a:gd name="T0" fmla="*/ 3 w 9"/>
                  <a:gd name="T1" fmla="*/ 0 h 2"/>
                  <a:gd name="T2" fmla="*/ 0 w 9"/>
                  <a:gd name="T3" fmla="*/ 2 h 2"/>
                  <a:gd name="T4" fmla="*/ 9 w 9"/>
                  <a:gd name="T5" fmla="*/ 2 h 2"/>
                  <a:gd name="T6" fmla="*/ 9 w 9"/>
                  <a:gd name="T7" fmla="*/ 0 h 2"/>
                  <a:gd name="T8" fmla="*/ 3 w 9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2">
                    <a:moveTo>
                      <a:pt x="3" y="0"/>
                    </a:moveTo>
                    <a:lnTo>
                      <a:pt x="0" y="2"/>
                    </a:lnTo>
                    <a:lnTo>
                      <a:pt x="9" y="2"/>
                    </a:lnTo>
                    <a:lnTo>
                      <a:pt x="9" y="0"/>
                    </a:lnTo>
                    <a:lnTo>
                      <a:pt x="3" y="0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838" name="Rectangle 195">
                <a:extLst>
                  <a:ext uri="{FF2B5EF4-FFF2-40B4-BE49-F238E27FC236}">
                    <a16:creationId xmlns:a16="http://schemas.microsoft.com/office/drawing/2014/main" id="{D3E8D932-2FD3-BE2F-8384-0E0D892E3EC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41463" y="1604963"/>
                <a:ext cx="15875" cy="1746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839" name="Rectangle 196">
                <a:extLst>
                  <a:ext uri="{FF2B5EF4-FFF2-40B4-BE49-F238E27FC236}">
                    <a16:creationId xmlns:a16="http://schemas.microsoft.com/office/drawing/2014/main" id="{3E737EAA-0E0E-93E1-E1E8-56AE8A65B77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41463" y="1604963"/>
                <a:ext cx="4763" cy="17463"/>
              </a:xfrm>
              <a:prstGeom prst="rect">
                <a:avLst/>
              </a:prstGeom>
              <a:solidFill>
                <a:srgbClr val="AFBEC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840" name="Freeform 197">
                <a:extLst>
                  <a:ext uri="{FF2B5EF4-FFF2-40B4-BE49-F238E27FC236}">
                    <a16:creationId xmlns:a16="http://schemas.microsoft.com/office/drawing/2014/main" id="{ADBEA9FC-1E09-E17B-9B07-E8177F3F9F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41463" y="1619251"/>
                <a:ext cx="15875" cy="3175"/>
              </a:xfrm>
              <a:custGeom>
                <a:avLst/>
                <a:gdLst>
                  <a:gd name="T0" fmla="*/ 3 w 10"/>
                  <a:gd name="T1" fmla="*/ 0 h 2"/>
                  <a:gd name="T2" fmla="*/ 0 w 10"/>
                  <a:gd name="T3" fmla="*/ 2 h 2"/>
                  <a:gd name="T4" fmla="*/ 10 w 10"/>
                  <a:gd name="T5" fmla="*/ 2 h 2"/>
                  <a:gd name="T6" fmla="*/ 10 w 10"/>
                  <a:gd name="T7" fmla="*/ 0 h 2"/>
                  <a:gd name="T8" fmla="*/ 3 w 10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2">
                    <a:moveTo>
                      <a:pt x="3" y="0"/>
                    </a:moveTo>
                    <a:lnTo>
                      <a:pt x="0" y="2"/>
                    </a:lnTo>
                    <a:lnTo>
                      <a:pt x="10" y="2"/>
                    </a:lnTo>
                    <a:lnTo>
                      <a:pt x="10" y="0"/>
                    </a:lnTo>
                    <a:lnTo>
                      <a:pt x="3" y="0"/>
                    </a:lnTo>
                    <a:close/>
                  </a:path>
                </a:pathLst>
              </a:custGeom>
              <a:solidFill>
                <a:srgbClr val="C9D4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l-SI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</p:grpSp>
      <p:pic>
        <p:nvPicPr>
          <p:cNvPr id="981" name="Slika 415">
            <a:extLst>
              <a:ext uri="{FF2B5EF4-FFF2-40B4-BE49-F238E27FC236}">
                <a16:creationId xmlns:a16="http://schemas.microsoft.com/office/drawing/2014/main" id="{FEB0E32B-C62E-9169-B006-CE5DD3C11FEB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47560" y="1507713"/>
            <a:ext cx="919778" cy="635594"/>
          </a:xfrm>
          <a:prstGeom prst="rect">
            <a:avLst/>
          </a:prstGeom>
        </p:spPr>
      </p:pic>
      <p:grpSp>
        <p:nvGrpSpPr>
          <p:cNvPr id="982" name="Group 200">
            <a:extLst>
              <a:ext uri="{FF2B5EF4-FFF2-40B4-BE49-F238E27FC236}">
                <a16:creationId xmlns:a16="http://schemas.microsoft.com/office/drawing/2014/main" id="{E1886AA6-BDEB-8526-DDAC-2C495BAE79A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163404" y="1588955"/>
            <a:ext cx="661988" cy="354013"/>
            <a:chOff x="2695" y="867"/>
            <a:chExt cx="417" cy="223"/>
          </a:xfrm>
        </p:grpSpPr>
        <p:sp>
          <p:nvSpPr>
            <p:cNvPr id="983" name="Freeform 201">
              <a:extLst>
                <a:ext uri="{FF2B5EF4-FFF2-40B4-BE49-F238E27FC236}">
                  <a16:creationId xmlns:a16="http://schemas.microsoft.com/office/drawing/2014/main" id="{E670A65B-89A3-6924-795D-063E05A2DD67}"/>
                </a:ext>
              </a:extLst>
            </p:cNvPr>
            <p:cNvSpPr>
              <a:spLocks/>
            </p:cNvSpPr>
            <p:nvPr/>
          </p:nvSpPr>
          <p:spPr bwMode="auto">
            <a:xfrm>
              <a:off x="2752" y="867"/>
              <a:ext cx="303" cy="194"/>
            </a:xfrm>
            <a:custGeom>
              <a:avLst/>
              <a:gdLst>
                <a:gd name="T0" fmla="*/ 313 w 313"/>
                <a:gd name="T1" fmla="*/ 199 h 199"/>
                <a:gd name="T2" fmla="*/ 0 w 313"/>
                <a:gd name="T3" fmla="*/ 199 h 199"/>
                <a:gd name="T4" fmla="*/ 0 w 313"/>
                <a:gd name="T5" fmla="*/ 5 h 199"/>
                <a:gd name="T6" fmla="*/ 5 w 313"/>
                <a:gd name="T7" fmla="*/ 0 h 199"/>
                <a:gd name="T8" fmla="*/ 308 w 313"/>
                <a:gd name="T9" fmla="*/ 0 h 199"/>
                <a:gd name="T10" fmla="*/ 313 w 313"/>
                <a:gd name="T11" fmla="*/ 5 h 199"/>
                <a:gd name="T12" fmla="*/ 313 w 313"/>
                <a:gd name="T13" fmla="*/ 19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3" h="199">
                  <a:moveTo>
                    <a:pt x="313" y="199"/>
                  </a:moveTo>
                  <a:cubicBezTo>
                    <a:pt x="0" y="199"/>
                    <a:pt x="0" y="199"/>
                    <a:pt x="0" y="199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308" y="0"/>
                    <a:pt x="308" y="0"/>
                    <a:pt x="308" y="0"/>
                  </a:cubicBezTo>
                  <a:cubicBezTo>
                    <a:pt x="311" y="0"/>
                    <a:pt x="313" y="2"/>
                    <a:pt x="313" y="5"/>
                  </a:cubicBezTo>
                  <a:lnTo>
                    <a:pt x="313" y="199"/>
                  </a:lnTo>
                  <a:close/>
                </a:path>
              </a:pathLst>
            </a:custGeom>
            <a:noFill/>
            <a:ln w="19050" cap="flat">
              <a:solidFill>
                <a:srgbClr val="80939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84" name="Freeform 202">
              <a:extLst>
                <a:ext uri="{FF2B5EF4-FFF2-40B4-BE49-F238E27FC236}">
                  <a16:creationId xmlns:a16="http://schemas.microsoft.com/office/drawing/2014/main" id="{94683217-DBB8-C2CF-0E6B-3548E5043E0B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5" y="1069"/>
              <a:ext cx="417" cy="21"/>
            </a:xfrm>
            <a:custGeom>
              <a:avLst/>
              <a:gdLst>
                <a:gd name="T0" fmla="*/ 246 w 431"/>
                <a:gd name="T1" fmla="*/ 0 h 22"/>
                <a:gd name="T2" fmla="*/ 235 w 431"/>
                <a:gd name="T3" fmla="*/ 11 h 22"/>
                <a:gd name="T4" fmla="*/ 196 w 431"/>
                <a:gd name="T5" fmla="*/ 11 h 22"/>
                <a:gd name="T6" fmla="*/ 185 w 431"/>
                <a:gd name="T7" fmla="*/ 0 h 22"/>
                <a:gd name="T8" fmla="*/ 0 w 431"/>
                <a:gd name="T9" fmla="*/ 0 h 22"/>
                <a:gd name="T10" fmla="*/ 0 w 431"/>
                <a:gd name="T11" fmla="*/ 9 h 22"/>
                <a:gd name="T12" fmla="*/ 14 w 431"/>
                <a:gd name="T13" fmla="*/ 22 h 22"/>
                <a:gd name="T14" fmla="*/ 417 w 431"/>
                <a:gd name="T15" fmla="*/ 22 h 22"/>
                <a:gd name="T16" fmla="*/ 431 w 431"/>
                <a:gd name="T17" fmla="*/ 9 h 22"/>
                <a:gd name="T18" fmla="*/ 431 w 431"/>
                <a:gd name="T19" fmla="*/ 0 h 22"/>
                <a:gd name="T20" fmla="*/ 246 w 431"/>
                <a:gd name="T21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31" h="22">
                  <a:moveTo>
                    <a:pt x="246" y="0"/>
                  </a:moveTo>
                  <a:cubicBezTo>
                    <a:pt x="246" y="6"/>
                    <a:pt x="241" y="11"/>
                    <a:pt x="235" y="11"/>
                  </a:cubicBezTo>
                  <a:cubicBezTo>
                    <a:pt x="196" y="11"/>
                    <a:pt x="196" y="11"/>
                    <a:pt x="196" y="11"/>
                  </a:cubicBezTo>
                  <a:cubicBezTo>
                    <a:pt x="190" y="11"/>
                    <a:pt x="185" y="6"/>
                    <a:pt x="18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6"/>
                    <a:pt x="6" y="22"/>
                    <a:pt x="14" y="22"/>
                  </a:cubicBezTo>
                  <a:cubicBezTo>
                    <a:pt x="417" y="22"/>
                    <a:pt x="417" y="22"/>
                    <a:pt x="417" y="22"/>
                  </a:cubicBezTo>
                  <a:cubicBezTo>
                    <a:pt x="425" y="22"/>
                    <a:pt x="431" y="16"/>
                    <a:pt x="431" y="9"/>
                  </a:cubicBezTo>
                  <a:cubicBezTo>
                    <a:pt x="431" y="0"/>
                    <a:pt x="431" y="0"/>
                    <a:pt x="431" y="0"/>
                  </a:cubicBezTo>
                  <a:lnTo>
                    <a:pt x="246" y="0"/>
                  </a:lnTo>
                  <a:close/>
                </a:path>
              </a:pathLst>
            </a:custGeom>
            <a:solidFill>
              <a:srgbClr val="8093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2258" name="TextBox 9">
            <a:extLst>
              <a:ext uri="{FF2B5EF4-FFF2-40B4-BE49-F238E27FC236}">
                <a16:creationId xmlns:a16="http://schemas.microsoft.com/office/drawing/2014/main" id="{5598EA26-A925-C92E-CE3B-21FA16D1CF06}"/>
              </a:ext>
            </a:extLst>
          </p:cNvPr>
          <p:cNvSpPr txBox="1"/>
          <p:nvPr/>
        </p:nvSpPr>
        <p:spPr>
          <a:xfrm>
            <a:off x="3036643" y="11099"/>
            <a:ext cx="3146807" cy="3077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 defTabSz="685783">
              <a:spcAft>
                <a:spcPts val="300"/>
              </a:spcAft>
              <a:defRPr/>
            </a:pPr>
            <a:r>
              <a:rPr lang="sl-SI" sz="2000" dirty="0">
                <a:solidFill>
                  <a:srgbClr val="000000"/>
                </a:solidFill>
                <a:latin typeface="Verdana Pro Light" panose="020B0304030504040204" pitchFamily="34" charset="0"/>
              </a:rPr>
              <a:t>Leanheat</a:t>
            </a:r>
            <a:r>
              <a:rPr lang="sl-SI" sz="2000" baseline="30000" dirty="0">
                <a:solidFill>
                  <a:srgbClr val="000000"/>
                </a:solidFill>
                <a:latin typeface="Verdana Pro Light" panose="020B0304030504040204" pitchFamily="34" charset="0"/>
              </a:rPr>
              <a:t>® </a:t>
            </a:r>
            <a:r>
              <a:rPr lang="sl-SI" sz="2000" dirty="0">
                <a:solidFill>
                  <a:srgbClr val="000000"/>
                </a:solidFill>
                <a:latin typeface="Verdana Pro Light" panose="020B0304030504040204" pitchFamily="34" charset="0"/>
              </a:rPr>
              <a:t>Network </a:t>
            </a:r>
            <a:endParaRPr lang="en-US" sz="2000" dirty="0">
              <a:solidFill>
                <a:srgbClr val="000000"/>
              </a:solidFill>
              <a:latin typeface="Verdana Pro Light" panose="020B0304030504040204" pitchFamily="34" charset="0"/>
            </a:endParaRPr>
          </a:p>
        </p:txBody>
      </p:sp>
      <p:sp>
        <p:nvSpPr>
          <p:cNvPr id="2259" name="TextBox 9">
            <a:extLst>
              <a:ext uri="{FF2B5EF4-FFF2-40B4-BE49-F238E27FC236}">
                <a16:creationId xmlns:a16="http://schemas.microsoft.com/office/drawing/2014/main" id="{1898F670-2A06-0223-280C-485A252EF13D}"/>
              </a:ext>
            </a:extLst>
          </p:cNvPr>
          <p:cNvSpPr txBox="1"/>
          <p:nvPr/>
        </p:nvSpPr>
        <p:spPr>
          <a:xfrm>
            <a:off x="-207011" y="22020"/>
            <a:ext cx="3146807" cy="3077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 defTabSz="685783">
              <a:spcAft>
                <a:spcPts val="300"/>
              </a:spcAft>
              <a:defRPr/>
            </a:pPr>
            <a:r>
              <a:rPr lang="sl-SI" sz="2000" dirty="0">
                <a:solidFill>
                  <a:srgbClr val="000000"/>
                </a:solidFill>
                <a:latin typeface="Verdana Pro Light" panose="020B0304030504040204" pitchFamily="34" charset="0"/>
              </a:rPr>
              <a:t>Leanheat</a:t>
            </a:r>
            <a:r>
              <a:rPr lang="sl-SI" sz="2000" baseline="30000" dirty="0">
                <a:solidFill>
                  <a:srgbClr val="000000"/>
                </a:solidFill>
                <a:latin typeface="Verdana Pro Light" panose="020B0304030504040204" pitchFamily="34" charset="0"/>
              </a:rPr>
              <a:t>® </a:t>
            </a:r>
            <a:r>
              <a:rPr lang="sl-SI" sz="2000" dirty="0">
                <a:solidFill>
                  <a:srgbClr val="000000"/>
                </a:solidFill>
                <a:latin typeface="Verdana Pro Light" panose="020B0304030504040204" pitchFamily="34" charset="0"/>
              </a:rPr>
              <a:t>Production</a:t>
            </a:r>
            <a:endParaRPr lang="en-US" sz="2000" dirty="0">
              <a:solidFill>
                <a:srgbClr val="000000"/>
              </a:solidFill>
              <a:latin typeface="Verdana Pro Light" panose="020B0304030504040204" pitchFamily="34" charset="0"/>
            </a:endParaRPr>
          </a:p>
        </p:txBody>
      </p:sp>
      <p:sp>
        <p:nvSpPr>
          <p:cNvPr id="2260" name="TextBox 9">
            <a:extLst>
              <a:ext uri="{FF2B5EF4-FFF2-40B4-BE49-F238E27FC236}">
                <a16:creationId xmlns:a16="http://schemas.microsoft.com/office/drawing/2014/main" id="{C45AE3EE-1771-3F6E-729E-6D1F2D1C0DC7}"/>
              </a:ext>
            </a:extLst>
          </p:cNvPr>
          <p:cNvSpPr txBox="1"/>
          <p:nvPr/>
        </p:nvSpPr>
        <p:spPr>
          <a:xfrm>
            <a:off x="5930307" y="21963"/>
            <a:ext cx="3146807" cy="3077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 defTabSz="685783">
              <a:spcAft>
                <a:spcPts val="300"/>
              </a:spcAft>
              <a:defRPr/>
            </a:pPr>
            <a:r>
              <a:rPr lang="sl-SI" sz="2000" dirty="0">
                <a:solidFill>
                  <a:srgbClr val="000000"/>
                </a:solidFill>
                <a:latin typeface="Verdana Pro Light" panose="020B0304030504040204" pitchFamily="34" charset="0"/>
              </a:rPr>
              <a:t>Leanheat</a:t>
            </a:r>
            <a:r>
              <a:rPr lang="sl-SI" sz="2000" baseline="30000" dirty="0">
                <a:solidFill>
                  <a:srgbClr val="000000"/>
                </a:solidFill>
                <a:latin typeface="Verdana Pro Light" panose="020B0304030504040204" pitchFamily="34" charset="0"/>
              </a:rPr>
              <a:t>® </a:t>
            </a:r>
            <a:r>
              <a:rPr lang="sl-SI" sz="2000" dirty="0">
                <a:solidFill>
                  <a:srgbClr val="000000"/>
                </a:solidFill>
                <a:latin typeface="Verdana Pro Light" panose="020B0304030504040204" pitchFamily="34" charset="0"/>
              </a:rPr>
              <a:t>Monitor</a:t>
            </a:r>
            <a:endParaRPr lang="en-US" sz="2000" dirty="0">
              <a:solidFill>
                <a:srgbClr val="000000"/>
              </a:solidFill>
              <a:latin typeface="Verdana Pro Light" panose="020B0304030504040204" pitchFamily="34" charset="0"/>
            </a:endParaRPr>
          </a:p>
        </p:txBody>
      </p:sp>
      <p:cxnSp>
        <p:nvCxnSpPr>
          <p:cNvPr id="2261" name="Straight Connector 2260">
            <a:extLst>
              <a:ext uri="{FF2B5EF4-FFF2-40B4-BE49-F238E27FC236}">
                <a16:creationId xmlns:a16="http://schemas.microsoft.com/office/drawing/2014/main" id="{FCEDD80A-E8F0-78EA-29E0-61F3056434A9}"/>
              </a:ext>
            </a:extLst>
          </p:cNvPr>
          <p:cNvCxnSpPr/>
          <p:nvPr/>
        </p:nvCxnSpPr>
        <p:spPr>
          <a:xfrm flipH="1">
            <a:off x="6847032" y="4176712"/>
            <a:ext cx="653906" cy="0"/>
          </a:xfrm>
          <a:prstGeom prst="line">
            <a:avLst/>
          </a:prstGeom>
          <a:ln w="12700">
            <a:solidFill>
              <a:srgbClr val="E2000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62" name="Grafik 20">
            <a:extLst>
              <a:ext uri="{FF2B5EF4-FFF2-40B4-BE49-F238E27FC236}">
                <a16:creationId xmlns:a16="http://schemas.microsoft.com/office/drawing/2014/main" id="{441BF441-2368-2B2F-4F11-02C75B997F7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59720" y="4025864"/>
            <a:ext cx="6604254" cy="586359"/>
          </a:xfrm>
          <a:prstGeom prst="rect">
            <a:avLst/>
          </a:prstGeom>
        </p:spPr>
      </p:pic>
      <p:pic>
        <p:nvPicPr>
          <p:cNvPr id="2263" name="Grafik 23">
            <a:extLst>
              <a:ext uri="{FF2B5EF4-FFF2-40B4-BE49-F238E27FC236}">
                <a16:creationId xmlns:a16="http://schemas.microsoft.com/office/drawing/2014/main" id="{0961093F-965F-9D58-BA10-B196581AAE1B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950564" y="4023843"/>
            <a:ext cx="6721479" cy="699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5521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>
          <a:extLst>
            <a:ext uri="{FF2B5EF4-FFF2-40B4-BE49-F238E27FC236}">
              <a16:creationId xmlns:a16="http://schemas.microsoft.com/office/drawing/2014/main" id="{4537CAE6-6499-6E62-660B-F24079C1358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Billede 27" descr="Et billede, der indeholder sky, udendørs, vej/gade, træ&#10;&#10;Indhold genereret af kunstig intelligens kan være forkert.">
            <a:extLst>
              <a:ext uri="{FF2B5EF4-FFF2-40B4-BE49-F238E27FC236}">
                <a16:creationId xmlns:a16="http://schemas.microsoft.com/office/drawing/2014/main" id="{16B776AA-E3B3-FEF2-47DE-CD1578621FF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01" t="26736" b="19378"/>
          <a:stretch/>
        </p:blipFill>
        <p:spPr>
          <a:xfrm>
            <a:off x="0" y="0"/>
            <a:ext cx="9144000" cy="4323804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8DF4A809-E0CD-EB7A-2BC3-D18DAC897D04}"/>
              </a:ext>
            </a:extLst>
          </p:cNvPr>
          <p:cNvSpPr txBox="1"/>
          <p:nvPr/>
        </p:nvSpPr>
        <p:spPr>
          <a:xfrm>
            <a:off x="419886" y="179089"/>
            <a:ext cx="4455160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685800">
              <a:defRPr/>
            </a:pPr>
            <a:r>
              <a:rPr lang="en-GB" b="1" dirty="0">
                <a:solidFill>
                  <a:prstClr val="white"/>
                </a:solidFill>
                <a:latin typeface="Verdana"/>
              </a:rPr>
              <a:t>DEN </a:t>
            </a:r>
            <a:r>
              <a:rPr lang="sr-Latn-RS" b="1" dirty="0">
                <a:solidFill>
                  <a:prstClr val="white"/>
                </a:solidFill>
                <a:latin typeface="Verdana"/>
              </a:rPr>
              <a:t>pregled rešenja</a:t>
            </a:r>
            <a:br>
              <a:rPr lang="en-GB" dirty="0">
                <a:solidFill>
                  <a:prstClr val="white"/>
                </a:solidFill>
                <a:latin typeface=" Verdana Pro Light"/>
              </a:rPr>
            </a:br>
            <a:r>
              <a:rPr lang="en-GB" dirty="0">
                <a:solidFill>
                  <a:prstClr val="white"/>
                </a:solidFill>
                <a:latin typeface=" Verdana Pro Light"/>
              </a:rPr>
              <a:t>End-2-end optimization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9C6F5D1F-FEAC-4EA8-7E58-2337C16EF9C0}"/>
              </a:ext>
            </a:extLst>
          </p:cNvPr>
          <p:cNvSpPr txBox="1"/>
          <p:nvPr/>
        </p:nvSpPr>
        <p:spPr>
          <a:xfrm>
            <a:off x="2386720" y="6426671"/>
            <a:ext cx="761894" cy="1731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5783">
              <a:spcAft>
                <a:spcPts val="300"/>
              </a:spcAft>
              <a:defRPr/>
            </a:pPr>
            <a:endParaRPr lang="sl-SI" sz="525" b="1" dirty="0">
              <a:solidFill>
                <a:prstClr val="white"/>
              </a:solidFill>
              <a:latin typeface="Verdana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6781E8D-4F6E-DCA7-0401-9E26F0D2258E}"/>
              </a:ext>
            </a:extLst>
          </p:cNvPr>
          <p:cNvSpPr/>
          <p:nvPr/>
        </p:nvSpPr>
        <p:spPr>
          <a:xfrm>
            <a:off x="615150" y="1795216"/>
            <a:ext cx="793832" cy="793832"/>
          </a:xfrm>
          <a:prstGeom prst="rect">
            <a:avLst/>
          </a:prstGeom>
          <a:solidFill>
            <a:schemeClr val="bg1">
              <a:alpha val="60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GB" sz="1350" dirty="0" err="1">
              <a:solidFill>
                <a:prstClr val="white"/>
              </a:solidFill>
              <a:latin typeface="Verdana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D09DEE0-C246-80F9-56AE-32B0D42A5FC1}"/>
              </a:ext>
            </a:extLst>
          </p:cNvPr>
          <p:cNvSpPr/>
          <p:nvPr/>
        </p:nvSpPr>
        <p:spPr>
          <a:xfrm>
            <a:off x="615150" y="2589048"/>
            <a:ext cx="793832" cy="793832"/>
          </a:xfrm>
          <a:prstGeom prst="rect">
            <a:avLst/>
          </a:prstGeom>
          <a:solidFill>
            <a:srgbClr val="869098">
              <a:alpha val="66000"/>
            </a:srgb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GB" sz="1350" dirty="0" err="1">
              <a:solidFill>
                <a:prstClr val="white"/>
              </a:solidFill>
              <a:latin typeface="Verdana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B352D10-E08B-57D3-EF1D-CC23A41E2D5D}"/>
              </a:ext>
            </a:extLst>
          </p:cNvPr>
          <p:cNvSpPr/>
          <p:nvPr/>
        </p:nvSpPr>
        <p:spPr>
          <a:xfrm>
            <a:off x="1408982" y="2589048"/>
            <a:ext cx="793832" cy="793832"/>
          </a:xfrm>
          <a:prstGeom prst="rect">
            <a:avLst/>
          </a:prstGeom>
          <a:solidFill>
            <a:schemeClr val="bg1">
              <a:alpha val="60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GB" sz="1350" dirty="0" err="1">
              <a:solidFill>
                <a:prstClr val="white"/>
              </a:solidFill>
              <a:latin typeface="Verdana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2D58796-4EE4-F59A-54F9-6C70A4108A15}"/>
              </a:ext>
            </a:extLst>
          </p:cNvPr>
          <p:cNvSpPr/>
          <p:nvPr/>
        </p:nvSpPr>
        <p:spPr>
          <a:xfrm>
            <a:off x="1408982" y="1795216"/>
            <a:ext cx="793832" cy="793832"/>
          </a:xfrm>
          <a:prstGeom prst="rect">
            <a:avLst/>
          </a:prstGeom>
          <a:solidFill>
            <a:srgbClr val="869098">
              <a:alpha val="66000"/>
            </a:srgb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GB" sz="1350" dirty="0" err="1">
              <a:solidFill>
                <a:prstClr val="white"/>
              </a:solidFill>
              <a:latin typeface="Verdana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E289E3E-1296-8BEE-985D-BB3BBAFF5F91}"/>
              </a:ext>
            </a:extLst>
          </p:cNvPr>
          <p:cNvSpPr/>
          <p:nvPr/>
        </p:nvSpPr>
        <p:spPr>
          <a:xfrm>
            <a:off x="615150" y="3382880"/>
            <a:ext cx="793832" cy="793832"/>
          </a:xfrm>
          <a:prstGeom prst="rect">
            <a:avLst/>
          </a:pr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GB" sz="1350" dirty="0" err="1">
              <a:solidFill>
                <a:prstClr val="white"/>
              </a:solidFill>
              <a:latin typeface="Verdana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3628537-D315-A53E-E8DC-64793E1CD584}"/>
              </a:ext>
            </a:extLst>
          </p:cNvPr>
          <p:cNvSpPr/>
          <p:nvPr/>
        </p:nvSpPr>
        <p:spPr>
          <a:xfrm>
            <a:off x="3348163" y="2589048"/>
            <a:ext cx="793832" cy="793832"/>
          </a:xfrm>
          <a:prstGeom prst="rect">
            <a:avLst/>
          </a:prstGeom>
          <a:solidFill>
            <a:schemeClr val="bg1">
              <a:alpha val="60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GB" sz="1350" dirty="0" err="1">
              <a:solidFill>
                <a:prstClr val="white"/>
              </a:solidFill>
              <a:latin typeface="Verdana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8C61C35-02FA-3C26-1537-75B863438ACB}"/>
              </a:ext>
            </a:extLst>
          </p:cNvPr>
          <p:cNvSpPr/>
          <p:nvPr/>
        </p:nvSpPr>
        <p:spPr>
          <a:xfrm>
            <a:off x="3348163" y="3382880"/>
            <a:ext cx="793832" cy="793832"/>
          </a:xfrm>
          <a:prstGeom prst="rect">
            <a:avLst/>
          </a:pr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GB" sz="1350" dirty="0" err="1">
              <a:solidFill>
                <a:prstClr val="white"/>
              </a:solidFill>
              <a:latin typeface="Verdana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5D470D2-435E-5232-4AC1-79EF72E60C19}"/>
              </a:ext>
            </a:extLst>
          </p:cNvPr>
          <p:cNvSpPr/>
          <p:nvPr/>
        </p:nvSpPr>
        <p:spPr>
          <a:xfrm>
            <a:off x="5259369" y="2589048"/>
            <a:ext cx="793832" cy="793832"/>
          </a:xfrm>
          <a:prstGeom prst="rect">
            <a:avLst/>
          </a:prstGeom>
          <a:solidFill>
            <a:schemeClr val="bg1">
              <a:alpha val="60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GB" sz="1350" dirty="0" err="1">
              <a:solidFill>
                <a:prstClr val="white"/>
              </a:solidFill>
              <a:latin typeface="Verdana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BE4316DE-444B-B1C7-3BE7-21FBD7660C1E}"/>
              </a:ext>
            </a:extLst>
          </p:cNvPr>
          <p:cNvSpPr/>
          <p:nvPr/>
        </p:nvSpPr>
        <p:spPr>
          <a:xfrm>
            <a:off x="5259369" y="3382880"/>
            <a:ext cx="793832" cy="793832"/>
          </a:xfrm>
          <a:prstGeom prst="rect">
            <a:avLst/>
          </a:pr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GB" sz="1350" dirty="0" err="1">
              <a:solidFill>
                <a:prstClr val="white"/>
              </a:solidFill>
              <a:latin typeface="Verdana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AC7E1D68-F94C-B027-5882-65A6BB116C50}"/>
              </a:ext>
            </a:extLst>
          </p:cNvPr>
          <p:cNvSpPr/>
          <p:nvPr/>
        </p:nvSpPr>
        <p:spPr>
          <a:xfrm>
            <a:off x="6847033" y="2589048"/>
            <a:ext cx="793832" cy="793832"/>
          </a:xfrm>
          <a:prstGeom prst="rect">
            <a:avLst/>
          </a:prstGeom>
          <a:solidFill>
            <a:schemeClr val="bg1">
              <a:alpha val="60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GB" sz="1350" dirty="0" err="1">
              <a:solidFill>
                <a:prstClr val="white"/>
              </a:solidFill>
              <a:latin typeface="Verdana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533075C1-E05A-2EDC-CE71-1EAAB2D69AB3}"/>
              </a:ext>
            </a:extLst>
          </p:cNvPr>
          <p:cNvSpPr/>
          <p:nvPr/>
        </p:nvSpPr>
        <p:spPr>
          <a:xfrm>
            <a:off x="6053201" y="1795216"/>
            <a:ext cx="793832" cy="793832"/>
          </a:xfrm>
          <a:prstGeom prst="rect">
            <a:avLst/>
          </a:prstGeom>
          <a:solidFill>
            <a:schemeClr val="bg1">
              <a:alpha val="60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GB" sz="1350" dirty="0" err="1">
              <a:solidFill>
                <a:prstClr val="white"/>
              </a:solidFill>
              <a:latin typeface="Verdana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1CC46305-8077-BCDB-4A76-E4DE4A885FF7}"/>
              </a:ext>
            </a:extLst>
          </p:cNvPr>
          <p:cNvSpPr/>
          <p:nvPr/>
        </p:nvSpPr>
        <p:spPr>
          <a:xfrm>
            <a:off x="6847033" y="1795216"/>
            <a:ext cx="793832" cy="793832"/>
          </a:xfrm>
          <a:prstGeom prst="rect">
            <a:avLst/>
          </a:prstGeom>
          <a:solidFill>
            <a:schemeClr val="bg1">
              <a:alpha val="60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GB" sz="1350" dirty="0" err="1">
              <a:solidFill>
                <a:prstClr val="white"/>
              </a:solidFill>
              <a:latin typeface="Verdana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70F93305-3D66-FC2D-DE70-A3ABE5AA33D3}"/>
              </a:ext>
            </a:extLst>
          </p:cNvPr>
          <p:cNvSpPr/>
          <p:nvPr/>
        </p:nvSpPr>
        <p:spPr>
          <a:xfrm>
            <a:off x="6053201" y="2589048"/>
            <a:ext cx="793832" cy="793832"/>
          </a:xfrm>
          <a:prstGeom prst="rect">
            <a:avLst/>
          </a:prstGeom>
          <a:solidFill>
            <a:srgbClr val="869098">
              <a:alpha val="66000"/>
            </a:srgb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GB" sz="1350" dirty="0" err="1">
              <a:solidFill>
                <a:prstClr val="white"/>
              </a:solidFill>
              <a:latin typeface="Verdana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68357C8A-BA60-BDE4-CC62-E3A8819F2F77}"/>
              </a:ext>
            </a:extLst>
          </p:cNvPr>
          <p:cNvSpPr/>
          <p:nvPr/>
        </p:nvSpPr>
        <p:spPr>
          <a:xfrm>
            <a:off x="6053201" y="1001383"/>
            <a:ext cx="793832" cy="793832"/>
          </a:xfrm>
          <a:prstGeom prst="rect">
            <a:avLst/>
          </a:prstGeom>
          <a:solidFill>
            <a:srgbClr val="869098">
              <a:alpha val="66000"/>
            </a:srgb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GB" sz="1350" dirty="0" err="1">
              <a:solidFill>
                <a:prstClr val="white"/>
              </a:solidFill>
              <a:latin typeface="Verdana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7143078F-61BE-5B8B-5C32-9E3709C9E06E}"/>
              </a:ext>
            </a:extLst>
          </p:cNvPr>
          <p:cNvSpPr/>
          <p:nvPr/>
        </p:nvSpPr>
        <p:spPr>
          <a:xfrm>
            <a:off x="6847033" y="1001383"/>
            <a:ext cx="793832" cy="793832"/>
          </a:xfrm>
          <a:prstGeom prst="rect">
            <a:avLst/>
          </a:prstGeom>
          <a:solidFill>
            <a:schemeClr val="bg1">
              <a:alpha val="60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GB" sz="1350" dirty="0" err="1">
              <a:solidFill>
                <a:prstClr val="white"/>
              </a:solidFill>
              <a:latin typeface="Verdana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1430FC6E-209A-A4DC-378A-6D4F6781B41A}"/>
              </a:ext>
            </a:extLst>
          </p:cNvPr>
          <p:cNvSpPr/>
          <p:nvPr/>
        </p:nvSpPr>
        <p:spPr>
          <a:xfrm>
            <a:off x="6847033" y="3382880"/>
            <a:ext cx="793832" cy="793832"/>
          </a:xfrm>
          <a:prstGeom prst="rect">
            <a:avLst/>
          </a:pr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GB" sz="1350" dirty="0" err="1">
              <a:solidFill>
                <a:prstClr val="white"/>
              </a:solidFill>
              <a:latin typeface="Verdana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38368500-DBEE-2C65-6421-134F031281EF}"/>
              </a:ext>
            </a:extLst>
          </p:cNvPr>
          <p:cNvSpPr/>
          <p:nvPr/>
        </p:nvSpPr>
        <p:spPr>
          <a:xfrm>
            <a:off x="6847033" y="207551"/>
            <a:ext cx="793832" cy="793832"/>
          </a:xfrm>
          <a:prstGeom prst="rect">
            <a:avLst/>
          </a:prstGeom>
          <a:solidFill>
            <a:schemeClr val="bg1">
              <a:alpha val="60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GB" sz="1350" dirty="0" err="1">
              <a:solidFill>
                <a:prstClr val="white"/>
              </a:solidFill>
              <a:latin typeface="Verdana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8707514-F2FF-0E02-1BF9-83D63FE1D6BE}"/>
              </a:ext>
            </a:extLst>
          </p:cNvPr>
          <p:cNvSpPr/>
          <p:nvPr/>
        </p:nvSpPr>
        <p:spPr>
          <a:xfrm>
            <a:off x="7640865" y="207551"/>
            <a:ext cx="793832" cy="793832"/>
          </a:xfrm>
          <a:prstGeom prst="rect">
            <a:avLst/>
          </a:prstGeom>
          <a:solidFill>
            <a:srgbClr val="869098">
              <a:alpha val="66000"/>
            </a:srgb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GB" sz="1350" dirty="0" err="1">
              <a:solidFill>
                <a:prstClr val="white"/>
              </a:solidFill>
              <a:latin typeface="Verdana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48CCDB58-145D-4164-8B0F-D070A12FCC30}"/>
              </a:ext>
            </a:extLst>
          </p:cNvPr>
          <p:cNvSpPr/>
          <p:nvPr/>
        </p:nvSpPr>
        <p:spPr>
          <a:xfrm>
            <a:off x="7640865" y="1795216"/>
            <a:ext cx="793832" cy="793832"/>
          </a:xfrm>
          <a:prstGeom prst="rect">
            <a:avLst/>
          </a:prstGeom>
          <a:solidFill>
            <a:schemeClr val="bg1">
              <a:alpha val="60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GB" sz="1350" dirty="0" err="1">
              <a:solidFill>
                <a:prstClr val="white"/>
              </a:solidFill>
              <a:latin typeface="Verdana"/>
            </a:endParaRPr>
          </a:p>
        </p:txBody>
      </p:sp>
      <p:sp>
        <p:nvSpPr>
          <p:cNvPr id="43" name="TextBox 9">
            <a:extLst>
              <a:ext uri="{FF2B5EF4-FFF2-40B4-BE49-F238E27FC236}">
                <a16:creationId xmlns:a16="http://schemas.microsoft.com/office/drawing/2014/main" id="{6FDCEA93-D416-13BD-F43F-9B44BAED09E9}"/>
              </a:ext>
            </a:extLst>
          </p:cNvPr>
          <p:cNvSpPr txBox="1"/>
          <p:nvPr/>
        </p:nvSpPr>
        <p:spPr>
          <a:xfrm>
            <a:off x="615149" y="1831310"/>
            <a:ext cx="793832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 defTabSz="685783">
              <a:spcAft>
                <a:spcPts val="300"/>
              </a:spcAft>
              <a:defRPr/>
            </a:pPr>
            <a:r>
              <a:rPr lang="sl-SI" sz="600" dirty="0" err="1">
                <a:solidFill>
                  <a:srgbClr val="000000"/>
                </a:solidFill>
                <a:latin typeface="Verdana Pro Light" panose="020B0304030504040204" pitchFamily="34" charset="0"/>
              </a:rPr>
              <a:t>Leanheat</a:t>
            </a:r>
            <a:r>
              <a:rPr lang="sl-SI" sz="600" baseline="30000" dirty="0">
                <a:solidFill>
                  <a:srgbClr val="000000"/>
                </a:solidFill>
                <a:latin typeface="Verdana Pro Light" panose="020B0304030504040204" pitchFamily="34" charset="0"/>
              </a:rPr>
              <a:t>® </a:t>
            </a:r>
            <a:br>
              <a:rPr lang="sl-SI" sz="600" baseline="30000" dirty="0">
                <a:solidFill>
                  <a:srgbClr val="000000"/>
                </a:solidFill>
                <a:latin typeface="Verdana Pro Light" panose="020B0304030504040204" pitchFamily="34" charset="0"/>
              </a:rPr>
            </a:br>
            <a:r>
              <a:rPr lang="sl-SI" sz="600" dirty="0" err="1">
                <a:solidFill>
                  <a:srgbClr val="000000"/>
                </a:solidFill>
                <a:latin typeface="Verdana Pro Light" panose="020B0304030504040204" pitchFamily="34" charset="0"/>
              </a:rPr>
              <a:t>Production</a:t>
            </a:r>
            <a:r>
              <a:rPr lang="sl-SI" sz="600" dirty="0">
                <a:solidFill>
                  <a:srgbClr val="000000"/>
                </a:solidFill>
                <a:latin typeface="Verdana Pro Light" panose="020B0304030504040204" pitchFamily="34" charset="0"/>
              </a:rPr>
              <a:t> </a:t>
            </a:r>
            <a:endParaRPr lang="en-US" sz="600" dirty="0">
              <a:solidFill>
                <a:srgbClr val="000000"/>
              </a:solidFill>
              <a:latin typeface="Verdana Pro Light" panose="020B0304030504040204" pitchFamily="34" charset="0"/>
            </a:endParaRPr>
          </a:p>
        </p:txBody>
      </p:sp>
      <p:sp>
        <p:nvSpPr>
          <p:cNvPr id="44" name="TextBox 9">
            <a:extLst>
              <a:ext uri="{FF2B5EF4-FFF2-40B4-BE49-F238E27FC236}">
                <a16:creationId xmlns:a16="http://schemas.microsoft.com/office/drawing/2014/main" id="{ADCF14C8-2963-6137-C87E-834A47E4C0FB}"/>
              </a:ext>
            </a:extLst>
          </p:cNvPr>
          <p:cNvSpPr txBox="1"/>
          <p:nvPr/>
        </p:nvSpPr>
        <p:spPr>
          <a:xfrm>
            <a:off x="1408982" y="1831310"/>
            <a:ext cx="793832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 defTabSz="685783">
              <a:spcAft>
                <a:spcPts val="300"/>
              </a:spcAft>
              <a:defRPr/>
            </a:pPr>
            <a:r>
              <a:rPr lang="sl-SI" sz="600" dirty="0" err="1">
                <a:solidFill>
                  <a:prstClr val="white"/>
                </a:solidFill>
                <a:latin typeface="Verdana Pro Light" panose="020B0304030504040204" pitchFamily="34" charset="0"/>
              </a:rPr>
              <a:t>Renewable</a:t>
            </a:r>
            <a:r>
              <a:rPr lang="sl-SI" sz="600" dirty="0">
                <a:solidFill>
                  <a:prstClr val="white"/>
                </a:solidFill>
                <a:latin typeface="Verdana Pro Light" panose="020B0304030504040204" pitchFamily="34" charset="0"/>
              </a:rPr>
              <a:t> </a:t>
            </a:r>
            <a:br>
              <a:rPr lang="sl-SI" sz="600" dirty="0">
                <a:solidFill>
                  <a:prstClr val="white"/>
                </a:solidFill>
                <a:latin typeface="Verdana Pro Light" panose="020B0304030504040204" pitchFamily="34" charset="0"/>
              </a:rPr>
            </a:br>
            <a:r>
              <a:rPr lang="sl-SI" sz="600" dirty="0" err="1">
                <a:solidFill>
                  <a:prstClr val="white"/>
                </a:solidFill>
                <a:latin typeface="Verdana Pro Light" panose="020B0304030504040204" pitchFamily="34" charset="0"/>
              </a:rPr>
              <a:t>energy</a:t>
            </a:r>
            <a:r>
              <a:rPr lang="sl-SI" sz="600" dirty="0">
                <a:solidFill>
                  <a:prstClr val="white"/>
                </a:solidFill>
                <a:latin typeface="Verdana Pro Light" panose="020B0304030504040204" pitchFamily="34" charset="0"/>
              </a:rPr>
              <a:t> </a:t>
            </a:r>
            <a:r>
              <a:rPr lang="sl-SI" sz="600" dirty="0" err="1">
                <a:solidFill>
                  <a:prstClr val="white"/>
                </a:solidFill>
                <a:latin typeface="Verdana Pro Light" panose="020B0304030504040204" pitchFamily="34" charset="0"/>
              </a:rPr>
              <a:t>sources</a:t>
            </a:r>
            <a:r>
              <a:rPr lang="sl-SI" sz="600" dirty="0">
                <a:solidFill>
                  <a:prstClr val="white"/>
                </a:solidFill>
                <a:latin typeface="Verdana Pro Light" panose="020B0304030504040204" pitchFamily="34" charset="0"/>
              </a:rPr>
              <a:t> </a:t>
            </a:r>
            <a:endParaRPr lang="en-US" sz="600" dirty="0">
              <a:solidFill>
                <a:prstClr val="white"/>
              </a:solidFill>
              <a:latin typeface="Verdana Pro Light" panose="020B0304030504040204" pitchFamily="34" charset="0"/>
            </a:endParaRPr>
          </a:p>
        </p:txBody>
      </p:sp>
      <p:sp>
        <p:nvSpPr>
          <p:cNvPr id="45" name="TextBox 9">
            <a:extLst>
              <a:ext uri="{FF2B5EF4-FFF2-40B4-BE49-F238E27FC236}">
                <a16:creationId xmlns:a16="http://schemas.microsoft.com/office/drawing/2014/main" id="{E5D2DAF7-F921-5807-E6CA-3612DAA81303}"/>
              </a:ext>
            </a:extLst>
          </p:cNvPr>
          <p:cNvSpPr txBox="1"/>
          <p:nvPr/>
        </p:nvSpPr>
        <p:spPr>
          <a:xfrm>
            <a:off x="1408982" y="2625142"/>
            <a:ext cx="793832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 defTabSz="685783">
              <a:spcAft>
                <a:spcPts val="300"/>
              </a:spcAft>
              <a:defRPr/>
            </a:pPr>
            <a:r>
              <a:rPr lang="sl-SI" sz="600" dirty="0" err="1">
                <a:solidFill>
                  <a:srgbClr val="000000"/>
                </a:solidFill>
                <a:latin typeface="Verdana Pro Light" panose="020B0304030504040204" pitchFamily="34" charset="0"/>
              </a:rPr>
              <a:t>Leanheat</a:t>
            </a:r>
            <a:r>
              <a:rPr lang="sl-SI" sz="600" baseline="30000" dirty="0">
                <a:solidFill>
                  <a:srgbClr val="000000"/>
                </a:solidFill>
                <a:latin typeface="Verdana Pro Light" panose="020B0304030504040204" pitchFamily="34" charset="0"/>
              </a:rPr>
              <a:t>® </a:t>
            </a:r>
            <a:br>
              <a:rPr lang="sl-SI" sz="600" baseline="30000" dirty="0">
                <a:solidFill>
                  <a:srgbClr val="000000"/>
                </a:solidFill>
                <a:latin typeface="Verdana Pro Light" panose="020B0304030504040204" pitchFamily="34" charset="0"/>
              </a:rPr>
            </a:br>
            <a:r>
              <a:rPr lang="sl-SI" sz="600" dirty="0" err="1">
                <a:solidFill>
                  <a:srgbClr val="000000"/>
                </a:solidFill>
                <a:latin typeface="Verdana Pro Light" panose="020B0304030504040204" pitchFamily="34" charset="0"/>
              </a:rPr>
              <a:t>Network</a:t>
            </a:r>
            <a:r>
              <a:rPr lang="sl-SI" sz="600" dirty="0">
                <a:solidFill>
                  <a:srgbClr val="000000"/>
                </a:solidFill>
                <a:latin typeface="Verdana Pro Light" panose="020B0304030504040204" pitchFamily="34" charset="0"/>
              </a:rPr>
              <a:t> </a:t>
            </a:r>
            <a:endParaRPr lang="en-US" sz="600" dirty="0">
              <a:solidFill>
                <a:srgbClr val="000000"/>
              </a:solidFill>
              <a:latin typeface="Verdana Pro Light" panose="020B0304030504040204" pitchFamily="34" charset="0"/>
            </a:endParaRPr>
          </a:p>
        </p:txBody>
      </p:sp>
      <p:sp>
        <p:nvSpPr>
          <p:cNvPr id="46" name="TextBox 9">
            <a:extLst>
              <a:ext uri="{FF2B5EF4-FFF2-40B4-BE49-F238E27FC236}">
                <a16:creationId xmlns:a16="http://schemas.microsoft.com/office/drawing/2014/main" id="{7889282B-599B-041E-703B-B89FF20A8BA4}"/>
              </a:ext>
            </a:extLst>
          </p:cNvPr>
          <p:cNvSpPr txBox="1"/>
          <p:nvPr/>
        </p:nvSpPr>
        <p:spPr>
          <a:xfrm>
            <a:off x="615149" y="2625142"/>
            <a:ext cx="793832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 defTabSz="685783">
              <a:spcAft>
                <a:spcPts val="300"/>
              </a:spcAft>
              <a:defRPr/>
            </a:pPr>
            <a:r>
              <a:rPr lang="sl-SI" sz="600" dirty="0" err="1">
                <a:solidFill>
                  <a:prstClr val="white"/>
                </a:solidFill>
                <a:latin typeface="Verdana Pro Light" panose="020B0304030504040204" pitchFamily="34" charset="0"/>
              </a:rPr>
              <a:t>Heating</a:t>
            </a:r>
            <a:r>
              <a:rPr lang="sl-SI" sz="600" dirty="0">
                <a:solidFill>
                  <a:prstClr val="white"/>
                </a:solidFill>
                <a:latin typeface="Verdana Pro Light" panose="020B0304030504040204" pitchFamily="34" charset="0"/>
              </a:rPr>
              <a:t> </a:t>
            </a:r>
            <a:br>
              <a:rPr lang="sl-SI" sz="600" dirty="0">
                <a:solidFill>
                  <a:prstClr val="white"/>
                </a:solidFill>
                <a:latin typeface="Verdana Pro Light" panose="020B0304030504040204" pitchFamily="34" charset="0"/>
              </a:rPr>
            </a:br>
            <a:r>
              <a:rPr lang="sl-SI" sz="600" dirty="0" err="1">
                <a:solidFill>
                  <a:prstClr val="white"/>
                </a:solidFill>
                <a:latin typeface="Verdana Pro Light" panose="020B0304030504040204" pitchFamily="34" charset="0"/>
              </a:rPr>
              <a:t>production</a:t>
            </a:r>
            <a:endParaRPr lang="en-US" sz="600" dirty="0">
              <a:solidFill>
                <a:prstClr val="white"/>
              </a:solidFill>
              <a:latin typeface="Verdana Pro Light" panose="020B0304030504040204" pitchFamily="34" charset="0"/>
            </a:endParaRPr>
          </a:p>
        </p:txBody>
      </p:sp>
      <p:sp>
        <p:nvSpPr>
          <p:cNvPr id="47" name="TextBox 9">
            <a:extLst>
              <a:ext uri="{FF2B5EF4-FFF2-40B4-BE49-F238E27FC236}">
                <a16:creationId xmlns:a16="http://schemas.microsoft.com/office/drawing/2014/main" id="{F5C85B1A-60ED-2813-A61D-1C0785371291}"/>
              </a:ext>
            </a:extLst>
          </p:cNvPr>
          <p:cNvSpPr txBox="1"/>
          <p:nvPr/>
        </p:nvSpPr>
        <p:spPr>
          <a:xfrm>
            <a:off x="3348162" y="2631934"/>
            <a:ext cx="793832" cy="9233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 defTabSz="685783">
              <a:spcAft>
                <a:spcPts val="300"/>
              </a:spcAft>
              <a:defRPr/>
            </a:pPr>
            <a:r>
              <a:rPr lang="sl-SI" sz="600" dirty="0" err="1">
                <a:solidFill>
                  <a:srgbClr val="000000"/>
                </a:solidFill>
                <a:latin typeface="Verdana Pro Light" panose="020B0304030504040204" pitchFamily="34" charset="0"/>
              </a:rPr>
              <a:t>Villa</a:t>
            </a:r>
            <a:r>
              <a:rPr lang="sl-SI" sz="600" dirty="0">
                <a:solidFill>
                  <a:srgbClr val="000000"/>
                </a:solidFill>
                <a:latin typeface="Verdana Pro Light" panose="020B0304030504040204" pitchFamily="34" charset="0"/>
              </a:rPr>
              <a:t> </a:t>
            </a:r>
            <a:r>
              <a:rPr lang="sl-SI" sz="600" dirty="0" err="1">
                <a:solidFill>
                  <a:srgbClr val="000000"/>
                </a:solidFill>
                <a:latin typeface="Verdana Pro Light" panose="020B0304030504040204" pitchFamily="34" charset="0"/>
              </a:rPr>
              <a:t>substation</a:t>
            </a:r>
            <a:endParaRPr lang="en-US" sz="600" dirty="0">
              <a:solidFill>
                <a:srgbClr val="000000"/>
              </a:solidFill>
              <a:latin typeface="Verdana Pro Light" panose="020B0304030504040204" pitchFamily="34" charset="0"/>
            </a:endParaRPr>
          </a:p>
        </p:txBody>
      </p:sp>
      <p:sp>
        <p:nvSpPr>
          <p:cNvPr id="48" name="TextBox 9">
            <a:extLst>
              <a:ext uri="{FF2B5EF4-FFF2-40B4-BE49-F238E27FC236}">
                <a16:creationId xmlns:a16="http://schemas.microsoft.com/office/drawing/2014/main" id="{FDC5C88E-2220-B461-7C0C-B2F09BAE464D}"/>
              </a:ext>
            </a:extLst>
          </p:cNvPr>
          <p:cNvSpPr txBox="1"/>
          <p:nvPr/>
        </p:nvSpPr>
        <p:spPr>
          <a:xfrm>
            <a:off x="5259368" y="2625142"/>
            <a:ext cx="793832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 defTabSz="685783">
              <a:spcAft>
                <a:spcPts val="300"/>
              </a:spcAft>
              <a:defRPr/>
            </a:pPr>
            <a:r>
              <a:rPr lang="sl-SI" sz="600" dirty="0" err="1">
                <a:solidFill>
                  <a:srgbClr val="000000"/>
                </a:solidFill>
                <a:latin typeface="Verdana Pro Light" panose="020B0304030504040204" pitchFamily="34" charset="0"/>
              </a:rPr>
              <a:t>Multi-family</a:t>
            </a:r>
            <a:r>
              <a:rPr lang="sl-SI" sz="600" dirty="0">
                <a:solidFill>
                  <a:srgbClr val="000000"/>
                </a:solidFill>
                <a:latin typeface="Verdana Pro Light" panose="020B0304030504040204" pitchFamily="34" charset="0"/>
              </a:rPr>
              <a:t> </a:t>
            </a:r>
            <a:br>
              <a:rPr lang="sl-SI" sz="600" dirty="0">
                <a:solidFill>
                  <a:srgbClr val="000000"/>
                </a:solidFill>
                <a:latin typeface="Verdana Pro Light" panose="020B0304030504040204" pitchFamily="34" charset="0"/>
              </a:rPr>
            </a:br>
            <a:r>
              <a:rPr lang="sl-SI" sz="600" dirty="0" err="1">
                <a:solidFill>
                  <a:srgbClr val="000000"/>
                </a:solidFill>
                <a:latin typeface="Verdana Pro Light" panose="020B0304030504040204" pitchFamily="34" charset="0"/>
              </a:rPr>
              <a:t>substation</a:t>
            </a:r>
            <a:endParaRPr lang="en-US" sz="600" dirty="0">
              <a:solidFill>
                <a:srgbClr val="000000"/>
              </a:solidFill>
              <a:latin typeface="Verdana Pro Light" panose="020B0304030504040204" pitchFamily="34" charset="0"/>
            </a:endParaRPr>
          </a:p>
        </p:txBody>
      </p:sp>
      <p:sp>
        <p:nvSpPr>
          <p:cNvPr id="49" name="TextBox 9">
            <a:extLst>
              <a:ext uri="{FF2B5EF4-FFF2-40B4-BE49-F238E27FC236}">
                <a16:creationId xmlns:a16="http://schemas.microsoft.com/office/drawing/2014/main" id="{50998877-28D0-8107-1BFF-8DB9EF7026DC}"/>
              </a:ext>
            </a:extLst>
          </p:cNvPr>
          <p:cNvSpPr txBox="1"/>
          <p:nvPr/>
        </p:nvSpPr>
        <p:spPr>
          <a:xfrm>
            <a:off x="6053201" y="1822445"/>
            <a:ext cx="793832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 defTabSz="685783">
              <a:spcAft>
                <a:spcPts val="300"/>
              </a:spcAft>
              <a:defRPr/>
            </a:pPr>
            <a:r>
              <a:rPr lang="sl-SI" sz="600" dirty="0" err="1">
                <a:solidFill>
                  <a:srgbClr val="000000"/>
                </a:solidFill>
                <a:latin typeface="Verdana Pro Light" panose="020B0304030504040204" pitchFamily="34" charset="0"/>
              </a:rPr>
              <a:t>Micro</a:t>
            </a:r>
            <a:r>
              <a:rPr lang="sl-SI" sz="600" dirty="0">
                <a:solidFill>
                  <a:srgbClr val="000000"/>
                </a:solidFill>
                <a:latin typeface="Verdana Pro Light" panose="020B0304030504040204" pitchFamily="34" charset="0"/>
              </a:rPr>
              <a:t> Plate™ </a:t>
            </a:r>
            <a:br>
              <a:rPr lang="sl-SI" sz="600" dirty="0">
                <a:solidFill>
                  <a:srgbClr val="000000"/>
                </a:solidFill>
                <a:latin typeface="Verdana Pro Light" panose="020B0304030504040204" pitchFamily="34" charset="0"/>
              </a:rPr>
            </a:br>
            <a:r>
              <a:rPr lang="sl-SI" sz="600" dirty="0" err="1">
                <a:solidFill>
                  <a:srgbClr val="000000"/>
                </a:solidFill>
                <a:latin typeface="Verdana Pro Light" panose="020B0304030504040204" pitchFamily="34" charset="0"/>
              </a:rPr>
              <a:t>heat</a:t>
            </a:r>
            <a:r>
              <a:rPr lang="sl-SI" sz="600" dirty="0">
                <a:solidFill>
                  <a:srgbClr val="000000"/>
                </a:solidFill>
                <a:latin typeface="Verdana Pro Light" panose="020B0304030504040204" pitchFamily="34" charset="0"/>
              </a:rPr>
              <a:t> </a:t>
            </a:r>
            <a:r>
              <a:rPr lang="sl-SI" sz="600" dirty="0" err="1">
                <a:solidFill>
                  <a:srgbClr val="000000"/>
                </a:solidFill>
                <a:latin typeface="Verdana Pro Light" panose="020B0304030504040204" pitchFamily="34" charset="0"/>
              </a:rPr>
              <a:t>exchanger</a:t>
            </a:r>
            <a:endParaRPr lang="en-US" sz="600" dirty="0">
              <a:solidFill>
                <a:srgbClr val="000000"/>
              </a:solidFill>
              <a:latin typeface="Verdana Pro Light" panose="020B0304030504040204" pitchFamily="34" charset="0"/>
            </a:endParaRPr>
          </a:p>
        </p:txBody>
      </p:sp>
      <p:sp>
        <p:nvSpPr>
          <p:cNvPr id="50" name="TextBox 9">
            <a:extLst>
              <a:ext uri="{FF2B5EF4-FFF2-40B4-BE49-F238E27FC236}">
                <a16:creationId xmlns:a16="http://schemas.microsoft.com/office/drawing/2014/main" id="{2D6A207A-CCB9-45DE-235D-B3E08E516A1C}"/>
              </a:ext>
            </a:extLst>
          </p:cNvPr>
          <p:cNvSpPr txBox="1"/>
          <p:nvPr/>
        </p:nvSpPr>
        <p:spPr>
          <a:xfrm>
            <a:off x="6847033" y="1826821"/>
            <a:ext cx="793832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 defTabSz="685783">
              <a:spcAft>
                <a:spcPts val="300"/>
              </a:spcAft>
              <a:defRPr/>
            </a:pPr>
            <a:r>
              <a:rPr lang="sl-SI" sz="600" dirty="0" err="1">
                <a:solidFill>
                  <a:srgbClr val="000000"/>
                </a:solidFill>
                <a:latin typeface="Verdana Pro Light" panose="020B0304030504040204" pitchFamily="34" charset="0"/>
              </a:rPr>
              <a:t>Sono</a:t>
            </a:r>
            <a:r>
              <a:rPr lang="sl-SI" sz="600" baseline="30000" dirty="0">
                <a:solidFill>
                  <a:srgbClr val="000000"/>
                </a:solidFill>
                <a:latin typeface="Verdana Pro Light" panose="020B0304030504040204" pitchFamily="34" charset="0"/>
              </a:rPr>
              <a:t>®</a:t>
            </a:r>
            <a:r>
              <a:rPr lang="sl-SI" sz="600" dirty="0">
                <a:solidFill>
                  <a:srgbClr val="000000"/>
                </a:solidFill>
                <a:latin typeface="Verdana Pro Light" panose="020B0304030504040204" pitchFamily="34" charset="0"/>
              </a:rPr>
              <a:t> </a:t>
            </a:r>
            <a:r>
              <a:rPr lang="sl-SI" sz="600" dirty="0" err="1">
                <a:solidFill>
                  <a:srgbClr val="000000"/>
                </a:solidFill>
                <a:latin typeface="Verdana Pro Light" panose="020B0304030504040204" pitchFamily="34" charset="0"/>
              </a:rPr>
              <a:t>ultrasonic</a:t>
            </a:r>
            <a:br>
              <a:rPr lang="sl-SI" sz="600" dirty="0">
                <a:solidFill>
                  <a:srgbClr val="000000"/>
                </a:solidFill>
                <a:latin typeface="Verdana Pro Light" panose="020B0304030504040204" pitchFamily="34" charset="0"/>
              </a:rPr>
            </a:br>
            <a:r>
              <a:rPr lang="sl-SI" sz="600" dirty="0" err="1">
                <a:solidFill>
                  <a:srgbClr val="000000"/>
                </a:solidFill>
                <a:latin typeface="Verdana Pro Light" panose="020B0304030504040204" pitchFamily="34" charset="0"/>
              </a:rPr>
              <a:t>energy</a:t>
            </a:r>
            <a:r>
              <a:rPr lang="sl-SI" sz="600" dirty="0">
                <a:solidFill>
                  <a:srgbClr val="000000"/>
                </a:solidFill>
                <a:latin typeface="Verdana Pro Light" panose="020B0304030504040204" pitchFamily="34" charset="0"/>
              </a:rPr>
              <a:t> meter</a:t>
            </a:r>
            <a:endParaRPr lang="en-US" sz="600" dirty="0">
              <a:solidFill>
                <a:srgbClr val="000000"/>
              </a:solidFill>
              <a:latin typeface="Verdana Pro Light" panose="020B0304030504040204" pitchFamily="34" charset="0"/>
            </a:endParaRPr>
          </a:p>
        </p:txBody>
      </p:sp>
      <p:sp>
        <p:nvSpPr>
          <p:cNvPr id="51" name="TextBox 9">
            <a:extLst>
              <a:ext uri="{FF2B5EF4-FFF2-40B4-BE49-F238E27FC236}">
                <a16:creationId xmlns:a16="http://schemas.microsoft.com/office/drawing/2014/main" id="{79240412-3DD8-CF89-9142-D11420CC2410}"/>
              </a:ext>
            </a:extLst>
          </p:cNvPr>
          <p:cNvSpPr txBox="1"/>
          <p:nvPr/>
        </p:nvSpPr>
        <p:spPr>
          <a:xfrm>
            <a:off x="6847033" y="2625142"/>
            <a:ext cx="793832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 defTabSz="685783">
              <a:spcAft>
                <a:spcPts val="300"/>
              </a:spcAft>
              <a:defRPr/>
            </a:pPr>
            <a:r>
              <a:rPr lang="sl-SI" sz="600" dirty="0" err="1">
                <a:solidFill>
                  <a:srgbClr val="000000"/>
                </a:solidFill>
                <a:latin typeface="Verdana Pro Light" panose="020B0304030504040204" pitchFamily="34" charset="0"/>
              </a:rPr>
              <a:t>Commercial</a:t>
            </a:r>
            <a:r>
              <a:rPr lang="sl-SI" sz="600" dirty="0">
                <a:solidFill>
                  <a:srgbClr val="000000"/>
                </a:solidFill>
                <a:latin typeface="Verdana Pro Light" panose="020B0304030504040204" pitchFamily="34" charset="0"/>
              </a:rPr>
              <a:t> </a:t>
            </a:r>
            <a:br>
              <a:rPr lang="sl-SI" sz="600" dirty="0">
                <a:solidFill>
                  <a:srgbClr val="000000"/>
                </a:solidFill>
                <a:latin typeface="Verdana Pro Light" panose="020B0304030504040204" pitchFamily="34" charset="0"/>
              </a:rPr>
            </a:br>
            <a:r>
              <a:rPr lang="sl-SI" sz="600" dirty="0" err="1">
                <a:solidFill>
                  <a:srgbClr val="000000"/>
                </a:solidFill>
                <a:latin typeface="Verdana Pro Light" panose="020B0304030504040204" pitchFamily="34" charset="0"/>
              </a:rPr>
              <a:t>building</a:t>
            </a:r>
            <a:r>
              <a:rPr lang="sl-SI" sz="600" dirty="0">
                <a:solidFill>
                  <a:srgbClr val="000000"/>
                </a:solidFill>
                <a:latin typeface="Verdana Pro Light" panose="020B0304030504040204" pitchFamily="34" charset="0"/>
              </a:rPr>
              <a:t> </a:t>
            </a:r>
            <a:r>
              <a:rPr lang="sl-SI" sz="600" dirty="0" err="1">
                <a:solidFill>
                  <a:srgbClr val="000000"/>
                </a:solidFill>
                <a:latin typeface="Verdana Pro Light" panose="020B0304030504040204" pitchFamily="34" charset="0"/>
              </a:rPr>
              <a:t>substation</a:t>
            </a:r>
            <a:endParaRPr lang="en-US" sz="600" dirty="0">
              <a:solidFill>
                <a:srgbClr val="000000"/>
              </a:solidFill>
              <a:latin typeface="Verdana Pro Light" panose="020B0304030504040204" pitchFamily="34" charset="0"/>
            </a:endParaRPr>
          </a:p>
        </p:txBody>
      </p:sp>
      <p:sp>
        <p:nvSpPr>
          <p:cNvPr id="53" name="TextBox 9">
            <a:extLst>
              <a:ext uri="{FF2B5EF4-FFF2-40B4-BE49-F238E27FC236}">
                <a16:creationId xmlns:a16="http://schemas.microsoft.com/office/drawing/2014/main" id="{E486B281-C9EE-AAFD-6F50-D68F26DA3313}"/>
              </a:ext>
            </a:extLst>
          </p:cNvPr>
          <p:cNvSpPr txBox="1"/>
          <p:nvPr/>
        </p:nvSpPr>
        <p:spPr>
          <a:xfrm>
            <a:off x="6847033" y="1037478"/>
            <a:ext cx="793832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 defTabSz="685783">
              <a:spcAft>
                <a:spcPts val="300"/>
              </a:spcAft>
              <a:defRPr/>
            </a:pPr>
            <a:r>
              <a:rPr lang="sl-SI" sz="600" dirty="0">
                <a:solidFill>
                  <a:srgbClr val="000000"/>
                </a:solidFill>
                <a:latin typeface="Verdana Pro Light" panose="020B0304030504040204" pitchFamily="34" charset="0"/>
              </a:rPr>
              <a:t>ECL </a:t>
            </a:r>
            <a:r>
              <a:rPr lang="sl-SI" sz="600" dirty="0" err="1">
                <a:solidFill>
                  <a:srgbClr val="000000"/>
                </a:solidFill>
                <a:latin typeface="Verdana Pro Light" panose="020B0304030504040204" pitchFamily="34" charset="0"/>
              </a:rPr>
              <a:t>Comfort</a:t>
            </a:r>
            <a:r>
              <a:rPr lang="sl-SI" sz="600" dirty="0">
                <a:solidFill>
                  <a:srgbClr val="000000"/>
                </a:solidFill>
                <a:latin typeface="Verdana Pro Light" panose="020B0304030504040204" pitchFamily="34" charset="0"/>
              </a:rPr>
              <a:t> </a:t>
            </a:r>
            <a:br>
              <a:rPr lang="sl-SI" sz="600" dirty="0">
                <a:solidFill>
                  <a:srgbClr val="000000"/>
                </a:solidFill>
                <a:latin typeface="Verdana Pro Light" panose="020B0304030504040204" pitchFamily="34" charset="0"/>
              </a:rPr>
            </a:br>
            <a:r>
              <a:rPr lang="sl-SI" sz="600" dirty="0" err="1">
                <a:solidFill>
                  <a:srgbClr val="000000"/>
                </a:solidFill>
                <a:latin typeface="Verdana Pro Light" panose="020B0304030504040204" pitchFamily="34" charset="0"/>
              </a:rPr>
              <a:t>controller</a:t>
            </a:r>
            <a:endParaRPr lang="en-US" sz="600" dirty="0">
              <a:solidFill>
                <a:srgbClr val="000000"/>
              </a:solidFill>
              <a:latin typeface="Verdana Pro Light" panose="020B0304030504040204" pitchFamily="34" charset="0"/>
            </a:endParaRPr>
          </a:p>
        </p:txBody>
      </p:sp>
      <p:sp>
        <p:nvSpPr>
          <p:cNvPr id="54" name="TextBox 9">
            <a:extLst>
              <a:ext uri="{FF2B5EF4-FFF2-40B4-BE49-F238E27FC236}">
                <a16:creationId xmlns:a16="http://schemas.microsoft.com/office/drawing/2014/main" id="{A29381FE-FF4B-6B64-B675-CDD188F5EC7C}"/>
              </a:ext>
            </a:extLst>
          </p:cNvPr>
          <p:cNvSpPr txBox="1"/>
          <p:nvPr/>
        </p:nvSpPr>
        <p:spPr>
          <a:xfrm>
            <a:off x="6847033" y="243645"/>
            <a:ext cx="793832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 defTabSz="685783">
              <a:spcAft>
                <a:spcPts val="300"/>
              </a:spcAft>
              <a:defRPr/>
            </a:pPr>
            <a:r>
              <a:rPr lang="sl-SI" sz="600" dirty="0" err="1">
                <a:solidFill>
                  <a:srgbClr val="000000"/>
                </a:solidFill>
                <a:latin typeface="Verdana Pro Light" panose="020B0304030504040204" pitchFamily="34" charset="0"/>
              </a:rPr>
              <a:t>Leanheat</a:t>
            </a:r>
            <a:r>
              <a:rPr lang="sl-SI" sz="600" baseline="30000" dirty="0">
                <a:solidFill>
                  <a:srgbClr val="000000"/>
                </a:solidFill>
                <a:latin typeface="Verdana Pro Light" panose="020B0304030504040204" pitchFamily="34" charset="0"/>
              </a:rPr>
              <a:t>®</a:t>
            </a:r>
            <a:r>
              <a:rPr lang="sl-SI" sz="600" dirty="0">
                <a:solidFill>
                  <a:srgbClr val="000000"/>
                </a:solidFill>
                <a:latin typeface="Verdana Pro Light" panose="020B0304030504040204" pitchFamily="34" charset="0"/>
              </a:rPr>
              <a:t> </a:t>
            </a:r>
            <a:br>
              <a:rPr lang="sl-SI" sz="600" dirty="0">
                <a:solidFill>
                  <a:srgbClr val="000000"/>
                </a:solidFill>
                <a:latin typeface="Verdana Pro Light" panose="020B0304030504040204" pitchFamily="34" charset="0"/>
              </a:rPr>
            </a:br>
            <a:r>
              <a:rPr lang="sl-SI" sz="600" dirty="0">
                <a:solidFill>
                  <a:srgbClr val="000000"/>
                </a:solidFill>
                <a:latin typeface="Verdana Pro Light" panose="020B0304030504040204" pitchFamily="34" charset="0"/>
              </a:rPr>
              <a:t>Monitor</a:t>
            </a:r>
            <a:endParaRPr lang="en-US" sz="600" dirty="0">
              <a:solidFill>
                <a:srgbClr val="000000"/>
              </a:solidFill>
              <a:latin typeface="Verdana Pro Light" panose="020B0304030504040204" pitchFamily="34" charset="0"/>
            </a:endParaRPr>
          </a:p>
        </p:txBody>
      </p:sp>
      <p:sp>
        <p:nvSpPr>
          <p:cNvPr id="55" name="TextBox 9">
            <a:extLst>
              <a:ext uri="{FF2B5EF4-FFF2-40B4-BE49-F238E27FC236}">
                <a16:creationId xmlns:a16="http://schemas.microsoft.com/office/drawing/2014/main" id="{E1D8BF0E-ABA3-C12A-ADB2-07AC45AB672A}"/>
              </a:ext>
            </a:extLst>
          </p:cNvPr>
          <p:cNvSpPr txBox="1"/>
          <p:nvPr/>
        </p:nvSpPr>
        <p:spPr>
          <a:xfrm>
            <a:off x="7640865" y="1814679"/>
            <a:ext cx="793832" cy="2769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 defTabSz="685783">
              <a:spcAft>
                <a:spcPts val="300"/>
              </a:spcAft>
              <a:defRPr/>
            </a:pPr>
            <a:r>
              <a:rPr lang="en-GB" sz="600" dirty="0">
                <a:solidFill>
                  <a:srgbClr val="000000"/>
                </a:solidFill>
                <a:latin typeface="Verdana Pro Light" panose="020B0304030504040204" pitchFamily="34" charset="0"/>
              </a:rPr>
              <a:t>Virtus heavy-duty pressure and flow controller</a:t>
            </a:r>
            <a:endParaRPr lang="en-US" sz="600" dirty="0">
              <a:solidFill>
                <a:srgbClr val="000000"/>
              </a:solidFill>
              <a:latin typeface="Verdana Pro Light" panose="020B0304030504040204" pitchFamily="34" charset="0"/>
            </a:endParaRPr>
          </a:p>
        </p:txBody>
      </p:sp>
      <p:pic>
        <p:nvPicPr>
          <p:cNvPr id="61" name="Picture 60">
            <a:extLst>
              <a:ext uri="{FF2B5EF4-FFF2-40B4-BE49-F238E27FC236}">
                <a16:creationId xmlns:a16="http://schemas.microsoft.com/office/drawing/2014/main" id="{39B02C5F-42C3-2CF2-F29B-56E1C139510C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929" b="22422"/>
          <a:stretch/>
        </p:blipFill>
        <p:spPr>
          <a:xfrm>
            <a:off x="300731" y="2045584"/>
            <a:ext cx="1426257" cy="526166"/>
          </a:xfrm>
          <a:prstGeom prst="rect">
            <a:avLst/>
          </a:prstGeom>
        </p:spPr>
      </p:pic>
      <p:pic>
        <p:nvPicPr>
          <p:cNvPr id="63" name="Picture 62">
            <a:extLst>
              <a:ext uri="{FF2B5EF4-FFF2-40B4-BE49-F238E27FC236}">
                <a16:creationId xmlns:a16="http://schemas.microsoft.com/office/drawing/2014/main" id="{A6B8B2C1-C08D-8000-61B3-6876721A6F78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102" b="22586"/>
          <a:stretch/>
        </p:blipFill>
        <p:spPr>
          <a:xfrm>
            <a:off x="1085201" y="2839417"/>
            <a:ext cx="1435620" cy="526166"/>
          </a:xfrm>
          <a:prstGeom prst="rect">
            <a:avLst/>
          </a:prstGeom>
        </p:spPr>
      </p:pic>
      <p:pic>
        <p:nvPicPr>
          <p:cNvPr id="65" name="Graphic 64">
            <a:extLst>
              <a:ext uri="{FF2B5EF4-FFF2-40B4-BE49-F238E27FC236}">
                <a16:creationId xmlns:a16="http://schemas.microsoft.com/office/drawing/2014/main" id="{CEED5180-21C7-70CB-7630-4A73333291C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547480" y="2049474"/>
            <a:ext cx="503290" cy="472601"/>
          </a:xfrm>
          <a:prstGeom prst="rect">
            <a:avLst/>
          </a:prstGeom>
        </p:spPr>
      </p:pic>
      <p:pic>
        <p:nvPicPr>
          <p:cNvPr id="67" name="Graphic 66">
            <a:extLst>
              <a:ext uri="{FF2B5EF4-FFF2-40B4-BE49-F238E27FC236}">
                <a16:creationId xmlns:a16="http://schemas.microsoft.com/office/drawing/2014/main" id="{0B572114-A9D7-FACF-E810-A661010AC6D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70001" y="2916919"/>
            <a:ext cx="693663" cy="369521"/>
          </a:xfrm>
          <a:prstGeom prst="rect">
            <a:avLst/>
          </a:prstGeom>
        </p:spPr>
      </p:pic>
      <p:pic>
        <p:nvPicPr>
          <p:cNvPr id="71" name="Picture 70">
            <a:extLst>
              <a:ext uri="{FF2B5EF4-FFF2-40B4-BE49-F238E27FC236}">
                <a16:creationId xmlns:a16="http://schemas.microsoft.com/office/drawing/2014/main" id="{1AC2A7A8-F4C9-3588-A9F7-2C81444A4234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2603" y="2752638"/>
            <a:ext cx="962082" cy="641388"/>
          </a:xfrm>
          <a:prstGeom prst="rect">
            <a:avLst/>
          </a:prstGeom>
        </p:spPr>
      </p:pic>
      <p:pic>
        <p:nvPicPr>
          <p:cNvPr id="73" name="Picture 72">
            <a:extLst>
              <a:ext uri="{FF2B5EF4-FFF2-40B4-BE49-F238E27FC236}">
                <a16:creationId xmlns:a16="http://schemas.microsoft.com/office/drawing/2014/main" id="{DA47C053-9515-C2F2-5614-C44AAE12CA93}"/>
              </a:ext>
            </a:extLst>
          </p:cNvPr>
          <p:cNvPicPr>
            <a:picLocks noChangeAspect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531"/>
          <a:stretch/>
        </p:blipFill>
        <p:spPr>
          <a:xfrm>
            <a:off x="6653340" y="457878"/>
            <a:ext cx="1193777" cy="652046"/>
          </a:xfrm>
          <a:prstGeom prst="rect">
            <a:avLst/>
          </a:prstGeom>
        </p:spPr>
      </p:pic>
      <p:pic>
        <p:nvPicPr>
          <p:cNvPr id="75" name="Picture 74">
            <a:extLst>
              <a:ext uri="{FF2B5EF4-FFF2-40B4-BE49-F238E27FC236}">
                <a16:creationId xmlns:a16="http://schemas.microsoft.com/office/drawing/2014/main" id="{491DC210-ECE6-B17F-5916-66B589559630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65056" y="2066905"/>
            <a:ext cx="757784" cy="463145"/>
          </a:xfrm>
          <a:prstGeom prst="rect">
            <a:avLst/>
          </a:prstGeom>
        </p:spPr>
      </p:pic>
      <p:pic>
        <p:nvPicPr>
          <p:cNvPr id="77" name="Picture 76">
            <a:extLst>
              <a:ext uri="{FF2B5EF4-FFF2-40B4-BE49-F238E27FC236}">
                <a16:creationId xmlns:a16="http://schemas.microsoft.com/office/drawing/2014/main" id="{2C9D8500-7DA5-2177-E68C-07657715C6D3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5016" y="2084817"/>
            <a:ext cx="365528" cy="523187"/>
          </a:xfrm>
          <a:prstGeom prst="rect">
            <a:avLst/>
          </a:prstGeom>
        </p:spPr>
      </p:pic>
      <p:pic>
        <p:nvPicPr>
          <p:cNvPr id="79" name="Picture 78">
            <a:extLst>
              <a:ext uri="{FF2B5EF4-FFF2-40B4-BE49-F238E27FC236}">
                <a16:creationId xmlns:a16="http://schemas.microsoft.com/office/drawing/2014/main" id="{6491DA88-DB21-811F-7D24-25216BC570D8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17120" y="2814343"/>
            <a:ext cx="878326" cy="584714"/>
          </a:xfrm>
          <a:prstGeom prst="rect">
            <a:avLst/>
          </a:prstGeom>
        </p:spPr>
      </p:pic>
      <p:pic>
        <p:nvPicPr>
          <p:cNvPr id="83" name="Picture 82">
            <a:extLst>
              <a:ext uri="{FF2B5EF4-FFF2-40B4-BE49-F238E27FC236}">
                <a16:creationId xmlns:a16="http://schemas.microsoft.com/office/drawing/2014/main" id="{C6DF1445-F990-986C-DF8D-EE60B57BAFC1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77484" y="2045585"/>
            <a:ext cx="158375" cy="505786"/>
          </a:xfrm>
          <a:prstGeom prst="rect">
            <a:avLst/>
          </a:prstGeom>
        </p:spPr>
      </p:pic>
      <p:pic>
        <p:nvPicPr>
          <p:cNvPr id="89" name="Graphic 88">
            <a:extLst>
              <a:ext uri="{FF2B5EF4-FFF2-40B4-BE49-F238E27FC236}">
                <a16:creationId xmlns:a16="http://schemas.microsoft.com/office/drawing/2014/main" id="{7A4CA348-DF8D-889C-36B8-14E513CB6195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6735179" y="2819373"/>
            <a:ext cx="1017539" cy="574653"/>
          </a:xfrm>
          <a:prstGeom prst="rect">
            <a:avLst/>
          </a:prstGeom>
        </p:spPr>
      </p:pic>
      <p:sp>
        <p:nvSpPr>
          <p:cNvPr id="90" name="TextBox 9">
            <a:extLst>
              <a:ext uri="{FF2B5EF4-FFF2-40B4-BE49-F238E27FC236}">
                <a16:creationId xmlns:a16="http://schemas.microsoft.com/office/drawing/2014/main" id="{BFBC2E57-8774-E7CB-BF27-04D9DF281DDF}"/>
              </a:ext>
            </a:extLst>
          </p:cNvPr>
          <p:cNvSpPr txBox="1"/>
          <p:nvPr/>
        </p:nvSpPr>
        <p:spPr>
          <a:xfrm>
            <a:off x="7640865" y="817913"/>
            <a:ext cx="793832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 defTabSz="685783">
              <a:spcAft>
                <a:spcPts val="300"/>
              </a:spcAft>
              <a:defRPr/>
            </a:pPr>
            <a:r>
              <a:rPr lang="en-GB" sz="450" dirty="0">
                <a:solidFill>
                  <a:prstClr val="white"/>
                </a:solidFill>
                <a:latin typeface="Verdana Pro" panose="020B0604030504040204" pitchFamily="34" charset="0"/>
              </a:rPr>
              <a:t>Scan to visit</a:t>
            </a:r>
            <a:br>
              <a:rPr lang="sl-SI" sz="450" dirty="0">
                <a:solidFill>
                  <a:prstClr val="white"/>
                </a:solidFill>
                <a:latin typeface="Verdana Pro" panose="020B0604030504040204" pitchFamily="34" charset="0"/>
              </a:rPr>
            </a:br>
            <a:r>
              <a:rPr lang="en-GB" sz="450" dirty="0">
                <a:solidFill>
                  <a:prstClr val="white"/>
                </a:solidFill>
                <a:latin typeface="Verdana Pro" panose="020B0604030504040204" pitchFamily="34" charset="0"/>
              </a:rPr>
              <a:t>Leanheat.danfoss.com</a:t>
            </a:r>
            <a:endParaRPr lang="en-US" sz="450" dirty="0">
              <a:solidFill>
                <a:prstClr val="white"/>
              </a:solidFill>
              <a:latin typeface="Verdana Pro" panose="020B0604030504040204" pitchFamily="34" charset="0"/>
            </a:endParaRPr>
          </a:p>
        </p:txBody>
      </p:sp>
      <p:sp>
        <p:nvSpPr>
          <p:cNvPr id="91" name="TextBox 9">
            <a:extLst>
              <a:ext uri="{FF2B5EF4-FFF2-40B4-BE49-F238E27FC236}">
                <a16:creationId xmlns:a16="http://schemas.microsoft.com/office/drawing/2014/main" id="{C117F64C-A0E1-0D4E-A916-886BD81948A4}"/>
              </a:ext>
            </a:extLst>
          </p:cNvPr>
          <p:cNvSpPr txBox="1"/>
          <p:nvPr/>
        </p:nvSpPr>
        <p:spPr>
          <a:xfrm>
            <a:off x="6053200" y="1610804"/>
            <a:ext cx="793832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 defTabSz="685783">
              <a:spcAft>
                <a:spcPts val="300"/>
              </a:spcAft>
              <a:defRPr/>
            </a:pPr>
            <a:r>
              <a:rPr lang="en-GB" sz="450" dirty="0">
                <a:solidFill>
                  <a:prstClr val="white"/>
                </a:solidFill>
                <a:latin typeface="Verdana Pro" panose="020B0604030504040204" pitchFamily="34" charset="0"/>
              </a:rPr>
              <a:t>Scan to visit</a:t>
            </a:r>
            <a:br>
              <a:rPr lang="sl-SI" sz="450" dirty="0">
                <a:solidFill>
                  <a:prstClr val="white"/>
                </a:solidFill>
                <a:latin typeface="Verdana Pro" panose="020B0604030504040204" pitchFamily="34" charset="0"/>
              </a:rPr>
            </a:br>
            <a:r>
              <a:rPr lang="en-GB" sz="450" dirty="0">
                <a:solidFill>
                  <a:prstClr val="white"/>
                </a:solidFill>
                <a:latin typeface="Verdana Pro" panose="020B0604030504040204" pitchFamily="34" charset="0"/>
              </a:rPr>
              <a:t>ECL.danfoss.com</a:t>
            </a:r>
            <a:endParaRPr lang="en-US" sz="450" dirty="0">
              <a:solidFill>
                <a:prstClr val="white"/>
              </a:solidFill>
              <a:latin typeface="Verdana Pro" panose="020B0604030504040204" pitchFamily="34" charset="0"/>
            </a:endParaRPr>
          </a:p>
        </p:txBody>
      </p:sp>
      <p:sp>
        <p:nvSpPr>
          <p:cNvPr id="92" name="TextBox 9">
            <a:extLst>
              <a:ext uri="{FF2B5EF4-FFF2-40B4-BE49-F238E27FC236}">
                <a16:creationId xmlns:a16="http://schemas.microsoft.com/office/drawing/2014/main" id="{D61CD888-6F66-D28E-9E0C-8A2F0ADF03DF}"/>
              </a:ext>
            </a:extLst>
          </p:cNvPr>
          <p:cNvSpPr txBox="1"/>
          <p:nvPr/>
        </p:nvSpPr>
        <p:spPr>
          <a:xfrm>
            <a:off x="6053200" y="3199281"/>
            <a:ext cx="793832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 defTabSz="685783">
              <a:spcAft>
                <a:spcPts val="300"/>
              </a:spcAft>
              <a:defRPr/>
            </a:pPr>
            <a:r>
              <a:rPr lang="en-GB" sz="450" dirty="0">
                <a:solidFill>
                  <a:prstClr val="white"/>
                </a:solidFill>
                <a:latin typeface="Verdana Pro" panose="020B0604030504040204" pitchFamily="34" charset="0"/>
              </a:rPr>
              <a:t>Scan to visit</a:t>
            </a:r>
            <a:br>
              <a:rPr lang="sl-SI" sz="450" dirty="0">
                <a:solidFill>
                  <a:prstClr val="white"/>
                </a:solidFill>
                <a:latin typeface="Verdana Pro" panose="020B0604030504040204" pitchFamily="34" charset="0"/>
              </a:rPr>
            </a:br>
            <a:r>
              <a:rPr lang="en-GB" sz="450" dirty="0">
                <a:solidFill>
                  <a:prstClr val="white"/>
                </a:solidFill>
                <a:latin typeface="Verdana Pro" panose="020B0604030504040204" pitchFamily="34" charset="0"/>
              </a:rPr>
              <a:t>substations.danfoss.com</a:t>
            </a:r>
            <a:endParaRPr lang="en-US" sz="450" dirty="0">
              <a:solidFill>
                <a:prstClr val="white"/>
              </a:solidFill>
              <a:latin typeface="Verdana Pro" panose="020B0604030504040204" pitchFamily="34" charset="0"/>
            </a:endParaRPr>
          </a:p>
        </p:txBody>
      </p:sp>
      <p:pic>
        <p:nvPicPr>
          <p:cNvPr id="94" name="Graphic 93">
            <a:extLst>
              <a:ext uri="{FF2B5EF4-FFF2-40B4-BE49-F238E27FC236}">
                <a16:creationId xmlns:a16="http://schemas.microsoft.com/office/drawing/2014/main" id="{DA9D425A-4CFB-979E-2AC7-3F1E406A0FC9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7796798" y="291032"/>
            <a:ext cx="484061" cy="484061"/>
          </a:xfrm>
          <a:prstGeom prst="rect">
            <a:avLst/>
          </a:prstGeom>
        </p:spPr>
      </p:pic>
      <p:pic>
        <p:nvPicPr>
          <p:cNvPr id="96" name="Graphic 95">
            <a:extLst>
              <a:ext uri="{FF2B5EF4-FFF2-40B4-BE49-F238E27FC236}">
                <a16:creationId xmlns:a16="http://schemas.microsoft.com/office/drawing/2014/main" id="{1B25AF7D-BCEF-7E26-E82D-BD75A3A8B936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6216729" y="1089305"/>
            <a:ext cx="466773" cy="466773"/>
          </a:xfrm>
          <a:prstGeom prst="rect">
            <a:avLst/>
          </a:prstGeom>
        </p:spPr>
      </p:pic>
      <p:pic>
        <p:nvPicPr>
          <p:cNvPr id="98" name="Graphic 97">
            <a:extLst>
              <a:ext uri="{FF2B5EF4-FFF2-40B4-BE49-F238E27FC236}">
                <a16:creationId xmlns:a16="http://schemas.microsoft.com/office/drawing/2014/main" id="{A18B6B83-E764-9B4D-F16B-D216264ADE0B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6204481" y="2684320"/>
            <a:ext cx="484061" cy="484061"/>
          </a:xfrm>
          <a:prstGeom prst="rect">
            <a:avLst/>
          </a:prstGeom>
        </p:spPr>
      </p:pic>
      <p:cxnSp>
        <p:nvCxnSpPr>
          <p:cNvPr id="102" name="Straight Connector 101">
            <a:extLst>
              <a:ext uri="{FF2B5EF4-FFF2-40B4-BE49-F238E27FC236}">
                <a16:creationId xmlns:a16="http://schemas.microsoft.com/office/drawing/2014/main" id="{0E1E43E1-F76F-E34C-F2C5-2062558A42B9}"/>
              </a:ext>
            </a:extLst>
          </p:cNvPr>
          <p:cNvCxnSpPr/>
          <p:nvPr/>
        </p:nvCxnSpPr>
        <p:spPr>
          <a:xfrm flipH="1">
            <a:off x="6847032" y="4176712"/>
            <a:ext cx="653906" cy="0"/>
          </a:xfrm>
          <a:prstGeom prst="line">
            <a:avLst/>
          </a:prstGeom>
          <a:ln w="12700">
            <a:solidFill>
              <a:srgbClr val="E2000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Straight Connector 102">
            <a:extLst>
              <a:ext uri="{FF2B5EF4-FFF2-40B4-BE49-F238E27FC236}">
                <a16:creationId xmlns:a16="http://schemas.microsoft.com/office/drawing/2014/main" id="{B856224E-BC2E-57CE-2E11-1E171F566220}"/>
              </a:ext>
            </a:extLst>
          </p:cNvPr>
          <p:cNvCxnSpPr>
            <a:cxnSpLocks/>
          </p:cNvCxnSpPr>
          <p:nvPr/>
        </p:nvCxnSpPr>
        <p:spPr>
          <a:xfrm flipH="1">
            <a:off x="6847033" y="3382880"/>
            <a:ext cx="793832" cy="0"/>
          </a:xfrm>
          <a:prstGeom prst="line">
            <a:avLst/>
          </a:prstGeom>
          <a:ln w="12700">
            <a:solidFill>
              <a:srgbClr val="E2000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Connector 110">
            <a:extLst>
              <a:ext uri="{FF2B5EF4-FFF2-40B4-BE49-F238E27FC236}">
                <a16:creationId xmlns:a16="http://schemas.microsoft.com/office/drawing/2014/main" id="{1F730CF7-567D-D160-1E09-6660FD4860B7}"/>
              </a:ext>
            </a:extLst>
          </p:cNvPr>
          <p:cNvCxnSpPr>
            <a:cxnSpLocks/>
          </p:cNvCxnSpPr>
          <p:nvPr/>
        </p:nvCxnSpPr>
        <p:spPr>
          <a:xfrm flipV="1">
            <a:off x="6847032" y="1001383"/>
            <a:ext cx="0" cy="3175329"/>
          </a:xfrm>
          <a:prstGeom prst="line">
            <a:avLst/>
          </a:prstGeom>
          <a:ln w="12700">
            <a:solidFill>
              <a:srgbClr val="E2000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Straight Connector 118">
            <a:extLst>
              <a:ext uri="{FF2B5EF4-FFF2-40B4-BE49-F238E27FC236}">
                <a16:creationId xmlns:a16="http://schemas.microsoft.com/office/drawing/2014/main" id="{46B062C4-045E-F615-D363-0BB5D4717720}"/>
              </a:ext>
            </a:extLst>
          </p:cNvPr>
          <p:cNvCxnSpPr>
            <a:cxnSpLocks/>
          </p:cNvCxnSpPr>
          <p:nvPr/>
        </p:nvCxnSpPr>
        <p:spPr>
          <a:xfrm flipH="1">
            <a:off x="6847032" y="1001383"/>
            <a:ext cx="1587665" cy="0"/>
          </a:xfrm>
          <a:prstGeom prst="line">
            <a:avLst/>
          </a:prstGeom>
          <a:ln w="12700">
            <a:solidFill>
              <a:srgbClr val="E2000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Straight Connector 123">
            <a:extLst>
              <a:ext uri="{FF2B5EF4-FFF2-40B4-BE49-F238E27FC236}">
                <a16:creationId xmlns:a16="http://schemas.microsoft.com/office/drawing/2014/main" id="{422FDBB2-9D42-CD15-80F7-B2F2FA01B417}"/>
              </a:ext>
            </a:extLst>
          </p:cNvPr>
          <p:cNvCxnSpPr>
            <a:cxnSpLocks/>
          </p:cNvCxnSpPr>
          <p:nvPr/>
        </p:nvCxnSpPr>
        <p:spPr>
          <a:xfrm flipH="1">
            <a:off x="6847032" y="2590305"/>
            <a:ext cx="1587665" cy="0"/>
          </a:xfrm>
          <a:prstGeom prst="line">
            <a:avLst/>
          </a:prstGeom>
          <a:ln w="12700">
            <a:solidFill>
              <a:srgbClr val="E2000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3" name="Picture 132">
            <a:extLst>
              <a:ext uri="{FF2B5EF4-FFF2-40B4-BE49-F238E27FC236}">
                <a16:creationId xmlns:a16="http://schemas.microsoft.com/office/drawing/2014/main" id="{A0F30D0A-3C9D-9B84-6584-062610AF8D4B}"/>
              </a:ext>
            </a:extLst>
          </p:cNvPr>
          <p:cNvPicPr>
            <a:picLocks noChangeAspect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24713" y="1241359"/>
            <a:ext cx="673906" cy="448628"/>
          </a:xfrm>
          <a:prstGeom prst="rect">
            <a:avLst/>
          </a:prstGeom>
        </p:spPr>
      </p:pic>
      <p:pic>
        <p:nvPicPr>
          <p:cNvPr id="21" name="Grafik 20">
            <a:extLst>
              <a:ext uri="{FF2B5EF4-FFF2-40B4-BE49-F238E27FC236}">
                <a16:creationId xmlns:a16="http://schemas.microsoft.com/office/drawing/2014/main" id="{4B663559-8889-4E81-1B01-30EEC575E1D4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1059720" y="4025864"/>
            <a:ext cx="6604254" cy="586359"/>
          </a:xfrm>
          <a:prstGeom prst="rect">
            <a:avLst/>
          </a:prstGeom>
        </p:spPr>
      </p:pic>
      <p:pic>
        <p:nvPicPr>
          <p:cNvPr id="24" name="Grafik 23">
            <a:extLst>
              <a:ext uri="{FF2B5EF4-FFF2-40B4-BE49-F238E27FC236}">
                <a16:creationId xmlns:a16="http://schemas.microsoft.com/office/drawing/2014/main" id="{BA18DFC1-2D83-435E-9A56-74C9757E4710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950564" y="4023843"/>
            <a:ext cx="6721479" cy="699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74491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>
          <a:extLst>
            <a:ext uri="{FF2B5EF4-FFF2-40B4-BE49-F238E27FC236}">
              <a16:creationId xmlns:a16="http://schemas.microsoft.com/office/drawing/2014/main" id="{C4F7B3D5-E1A4-1365-F787-5AE61550A99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Billede 27" descr="Et billede, der indeholder sky, udendørs, vej/gade, træ&#10;&#10;Indhold genereret af kunstig intelligens kan være forkert.">
            <a:extLst>
              <a:ext uri="{FF2B5EF4-FFF2-40B4-BE49-F238E27FC236}">
                <a16:creationId xmlns:a16="http://schemas.microsoft.com/office/drawing/2014/main" id="{0CC2DD6D-EB77-347C-AE87-3E3BAD010F4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01" t="26736" b="19378"/>
          <a:stretch/>
        </p:blipFill>
        <p:spPr>
          <a:xfrm>
            <a:off x="0" y="0"/>
            <a:ext cx="9144000" cy="4323804"/>
          </a:xfrm>
          <a:prstGeom prst="rect">
            <a:avLst/>
          </a:prstGeom>
        </p:spPr>
      </p:pic>
      <p:sp>
        <p:nvSpPr>
          <p:cNvPr id="52" name="TextBox 51">
            <a:extLst>
              <a:ext uri="{FF2B5EF4-FFF2-40B4-BE49-F238E27FC236}">
                <a16:creationId xmlns:a16="http://schemas.microsoft.com/office/drawing/2014/main" id="{B0CBE6C8-6B3F-1FD4-9369-CA51A4769ABF}"/>
              </a:ext>
            </a:extLst>
          </p:cNvPr>
          <p:cNvSpPr txBox="1"/>
          <p:nvPr/>
        </p:nvSpPr>
        <p:spPr>
          <a:xfrm>
            <a:off x="2386720" y="6426671"/>
            <a:ext cx="761894" cy="1731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5783">
              <a:spcAft>
                <a:spcPts val="300"/>
              </a:spcAft>
              <a:defRPr/>
            </a:pPr>
            <a:endParaRPr lang="sl-SI" sz="525" b="1" dirty="0">
              <a:solidFill>
                <a:prstClr val="white"/>
              </a:solidFill>
              <a:latin typeface="Verdana"/>
            </a:endParaRPr>
          </a:p>
        </p:txBody>
      </p:sp>
      <p:sp>
        <p:nvSpPr>
          <p:cNvPr id="790" name="PoljeZBesedilom 19">
            <a:extLst>
              <a:ext uri="{FF2B5EF4-FFF2-40B4-BE49-F238E27FC236}">
                <a16:creationId xmlns:a16="http://schemas.microsoft.com/office/drawing/2014/main" id="{7261BCD1-0B19-057D-0125-3F3B5FE61A33}"/>
              </a:ext>
            </a:extLst>
          </p:cNvPr>
          <p:cNvSpPr txBox="1"/>
          <p:nvPr/>
        </p:nvSpPr>
        <p:spPr>
          <a:xfrm>
            <a:off x="3148614" y="1245171"/>
            <a:ext cx="2888215" cy="523220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r-Latn-RS" sz="1400" b="1" i="0" u="none" strike="noStrike" kern="1200" cap="none" spc="0" normalizeH="0" baseline="0" noProof="0" dirty="0">
                <a:ln>
                  <a:noFill/>
                </a:ln>
                <a:solidFill>
                  <a:srgbClr val="E60A1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Regulatori diferencijalnog pritiska i protoka</a:t>
            </a:r>
            <a:endParaRPr kumimoji="0" lang="da-DK" sz="1400" b="1" i="0" u="none" strike="noStrike" kern="1200" cap="none" spc="0" normalizeH="0" baseline="0" noProof="0" dirty="0">
              <a:ln>
                <a:noFill/>
              </a:ln>
              <a:solidFill>
                <a:srgbClr val="E60A11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800" name="Skupina 15">
            <a:extLst>
              <a:ext uri="{FF2B5EF4-FFF2-40B4-BE49-F238E27FC236}">
                <a16:creationId xmlns:a16="http://schemas.microsoft.com/office/drawing/2014/main" id="{5AA25CFC-0B6A-0372-8981-C318018A9EA3}"/>
              </a:ext>
            </a:extLst>
          </p:cNvPr>
          <p:cNvGrpSpPr/>
          <p:nvPr/>
        </p:nvGrpSpPr>
        <p:grpSpPr>
          <a:xfrm>
            <a:off x="1778426" y="1844227"/>
            <a:ext cx="2831620" cy="1529293"/>
            <a:chOff x="488789" y="1983976"/>
            <a:chExt cx="1604657" cy="1529293"/>
          </a:xfrm>
        </p:grpSpPr>
        <p:sp>
          <p:nvSpPr>
            <p:cNvPr id="801" name="PoljeZBesedilom 31">
              <a:extLst>
                <a:ext uri="{FF2B5EF4-FFF2-40B4-BE49-F238E27FC236}">
                  <a16:creationId xmlns:a16="http://schemas.microsoft.com/office/drawing/2014/main" id="{AE85F55C-5439-196A-950E-9777831FA6D4}"/>
                </a:ext>
              </a:extLst>
            </p:cNvPr>
            <p:cNvSpPr txBox="1"/>
            <p:nvPr/>
          </p:nvSpPr>
          <p:spPr>
            <a:xfrm>
              <a:off x="488789" y="1983976"/>
              <a:ext cx="1440000" cy="24622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02" name="TextBox 20">
              <a:extLst>
                <a:ext uri="{FF2B5EF4-FFF2-40B4-BE49-F238E27FC236}">
                  <a16:creationId xmlns:a16="http://schemas.microsoft.com/office/drawing/2014/main" id="{36BB6D41-6F5D-7DD3-C5CE-570A2B8CDC65}"/>
                </a:ext>
              </a:extLst>
            </p:cNvPr>
            <p:cNvSpPr txBox="1"/>
            <p:nvPr/>
          </p:nvSpPr>
          <p:spPr>
            <a:xfrm>
              <a:off x="653446" y="2212913"/>
              <a:ext cx="1440000" cy="130035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r-Latn-BA" sz="12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Verdana Pro Light" panose="020B0304030504040204" pitchFamily="34" charset="0"/>
                </a:rPr>
                <a:t>i-Set</a:t>
              </a:r>
            </a:p>
            <a:p>
              <a:pPr marL="0" marR="0" lvl="0" indent="0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sr-Latn-BA" sz="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/>
                <a:ea typeface="+mn-ea"/>
                <a:cs typeface="+mn-cs"/>
              </a:endParaRPr>
            </a:p>
            <a:p>
              <a:pPr marL="0" marR="0" lvl="0" indent="0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r-Latn-RS" sz="85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Verdana"/>
                  <a:ea typeface="+mn-ea"/>
                  <a:cs typeface="+mn-cs"/>
                </a:rPr>
                <a:t>Autonomna funkcija optimizacije podstanice</a:t>
              </a:r>
              <a:endParaRPr kumimoji="0" lang="da-DK" sz="85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/>
                <a:ea typeface="+mn-ea"/>
                <a:cs typeface="+mn-cs"/>
              </a:endParaRPr>
            </a:p>
            <a:p>
              <a:pPr marL="0" marR="0" lvl="0" indent="0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r-Latn-RS" sz="85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Verdana"/>
                  <a:ea typeface="+mn-ea"/>
                  <a:cs typeface="+mn-cs"/>
                </a:rPr>
                <a:t>Poboljšanje rada regulacionog ventila u uslovima smanjenog opterećenja</a:t>
              </a:r>
            </a:p>
            <a:p>
              <a:pPr marL="0" marR="0" lvl="0" indent="0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lang="sr-Latn-RS" sz="850" dirty="0">
                  <a:latin typeface="Verdana"/>
                </a:rPr>
                <a:t>Sprečavanje nestabilne regulacije</a:t>
              </a:r>
              <a:endParaRPr kumimoji="0" lang="da-DK" sz="85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808" name="TextBox 30">
            <a:extLst>
              <a:ext uri="{FF2B5EF4-FFF2-40B4-BE49-F238E27FC236}">
                <a16:creationId xmlns:a16="http://schemas.microsoft.com/office/drawing/2014/main" id="{193A9D22-BFF9-5591-9F36-BBF6CA5BE97C}"/>
              </a:ext>
            </a:extLst>
          </p:cNvPr>
          <p:cNvSpPr txBox="1"/>
          <p:nvPr/>
        </p:nvSpPr>
        <p:spPr>
          <a:xfrm>
            <a:off x="5850057" y="2090448"/>
            <a:ext cx="1993950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354" rtl="0" eaLnBrk="1" fontAlgn="auto" latinLnBrk="0" hangingPunct="1">
              <a:lnSpc>
                <a:spcPts val="102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sr-Latn-RS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 Pro Light" panose="020B0304030504040204" pitchFamily="34" charset="0"/>
              </a:rPr>
              <a:t>i-Net</a:t>
            </a:r>
            <a:endParaRPr kumimoji="0" lang="sr-Latn-RS" sz="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Verdana Pro Light" panose="020B0304030504040204" pitchFamily="34" charset="0"/>
            </a:endParaRPr>
          </a:p>
          <a:p>
            <a:pPr marL="0" marR="0" lvl="0" indent="0" defTabSz="914354" rtl="0" eaLnBrk="1" fontAlgn="auto" latinLnBrk="0" hangingPunct="1">
              <a:lnSpc>
                <a:spcPts val="102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sr-Latn-RS" sz="85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/>
                <a:ea typeface="+mn-ea"/>
                <a:cs typeface="+mn-cs"/>
              </a:rPr>
              <a:t>Daljinsko podešavanje diferencijalnog pritiska </a:t>
            </a:r>
            <a:endParaRPr kumimoji="0" lang="da-DK" sz="85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0" indent="0" defTabSz="914354" rtl="0" eaLnBrk="1" fontAlgn="auto" latinLnBrk="0" hangingPunct="1">
              <a:lnSpc>
                <a:spcPts val="102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sr-Latn-RS" sz="85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/>
                <a:ea typeface="+mn-ea"/>
                <a:cs typeface="+mn-cs"/>
              </a:rPr>
              <a:t>Optimizacija rada mreže</a:t>
            </a:r>
          </a:p>
          <a:p>
            <a:pPr marL="0" marR="0" lvl="0" indent="0" defTabSz="914354" rtl="0" eaLnBrk="1" fontAlgn="auto" latinLnBrk="0" hangingPunct="1">
              <a:lnSpc>
                <a:spcPts val="102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sr-Latn-RS" sz="850" dirty="0">
                <a:latin typeface="Verdana"/>
              </a:rPr>
              <a:t>Optimizacija ogranaka</a:t>
            </a:r>
          </a:p>
          <a:p>
            <a:pPr marL="0" marR="0" lvl="0" indent="0" defTabSz="914354" rtl="0" eaLnBrk="1" fontAlgn="auto" latinLnBrk="0" hangingPunct="1">
              <a:lnSpc>
                <a:spcPts val="102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sr-Latn-RS" sz="85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/>
                <a:ea typeface="+mn-ea"/>
                <a:cs typeface="+mn-cs"/>
              </a:rPr>
              <a:t>Optimizacija napora pumpe </a:t>
            </a:r>
            <a:endParaRPr kumimoji="0" lang="en-US" sz="85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258" name="TextBox 9">
            <a:extLst>
              <a:ext uri="{FF2B5EF4-FFF2-40B4-BE49-F238E27FC236}">
                <a16:creationId xmlns:a16="http://schemas.microsoft.com/office/drawing/2014/main" id="{A34139DA-D200-0AAA-DD0A-4B8FADF95D42}"/>
              </a:ext>
            </a:extLst>
          </p:cNvPr>
          <p:cNvSpPr txBox="1"/>
          <p:nvPr/>
        </p:nvSpPr>
        <p:spPr>
          <a:xfrm>
            <a:off x="3036643" y="11099"/>
            <a:ext cx="3146807" cy="3077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 defTabSz="685783">
              <a:spcAft>
                <a:spcPts val="300"/>
              </a:spcAft>
              <a:defRPr/>
            </a:pPr>
            <a:r>
              <a:rPr lang="sl-SI" sz="2000" dirty="0">
                <a:solidFill>
                  <a:srgbClr val="000000"/>
                </a:solidFill>
                <a:latin typeface="Verdana Pro Light" panose="020B0304030504040204" pitchFamily="34" charset="0"/>
              </a:rPr>
              <a:t>Virtus</a:t>
            </a:r>
            <a:endParaRPr lang="en-US" sz="2000" dirty="0">
              <a:solidFill>
                <a:srgbClr val="000000"/>
              </a:solidFill>
              <a:latin typeface="Verdana Pro Light" panose="020B0304030504040204" pitchFamily="34" charset="0"/>
            </a:endParaRPr>
          </a:p>
        </p:txBody>
      </p:sp>
      <p:cxnSp>
        <p:nvCxnSpPr>
          <p:cNvPr id="2261" name="Straight Connector 2260">
            <a:extLst>
              <a:ext uri="{FF2B5EF4-FFF2-40B4-BE49-F238E27FC236}">
                <a16:creationId xmlns:a16="http://schemas.microsoft.com/office/drawing/2014/main" id="{8CE411B1-A161-5849-B9F4-C03EA3F5241C}"/>
              </a:ext>
            </a:extLst>
          </p:cNvPr>
          <p:cNvCxnSpPr/>
          <p:nvPr/>
        </p:nvCxnSpPr>
        <p:spPr>
          <a:xfrm flipH="1">
            <a:off x="6847032" y="4176712"/>
            <a:ext cx="653906" cy="0"/>
          </a:xfrm>
          <a:prstGeom prst="line">
            <a:avLst/>
          </a:prstGeom>
          <a:ln w="12700">
            <a:solidFill>
              <a:srgbClr val="E2000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62" name="Grafik 20">
            <a:extLst>
              <a:ext uri="{FF2B5EF4-FFF2-40B4-BE49-F238E27FC236}">
                <a16:creationId xmlns:a16="http://schemas.microsoft.com/office/drawing/2014/main" id="{74557D24-8ED5-1A87-91DC-E05F6F4E211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59720" y="4025864"/>
            <a:ext cx="6604254" cy="586359"/>
          </a:xfrm>
          <a:prstGeom prst="rect">
            <a:avLst/>
          </a:prstGeom>
        </p:spPr>
      </p:pic>
      <p:pic>
        <p:nvPicPr>
          <p:cNvPr id="2263" name="Grafik 23">
            <a:extLst>
              <a:ext uri="{FF2B5EF4-FFF2-40B4-BE49-F238E27FC236}">
                <a16:creationId xmlns:a16="http://schemas.microsoft.com/office/drawing/2014/main" id="{3B13AB3C-DAE0-057B-6B32-4EE5CED81A1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50564" y="4023843"/>
            <a:ext cx="6721479" cy="69994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1B135A9E-3CA0-112C-A36E-AF50EFA83CEA}"/>
              </a:ext>
            </a:extLst>
          </p:cNvPr>
          <p:cNvSpPr/>
          <p:nvPr/>
        </p:nvSpPr>
        <p:spPr>
          <a:xfrm>
            <a:off x="4242421" y="384349"/>
            <a:ext cx="793832" cy="793832"/>
          </a:xfrm>
          <a:prstGeom prst="rect">
            <a:avLst/>
          </a:prstGeom>
          <a:solidFill>
            <a:schemeClr val="bg1">
              <a:alpha val="60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GB" sz="1350" dirty="0" err="1">
              <a:solidFill>
                <a:prstClr val="white"/>
              </a:solidFill>
              <a:latin typeface="Verdana"/>
            </a:endParaRPr>
          </a:p>
        </p:txBody>
      </p:sp>
      <p:sp>
        <p:nvSpPr>
          <p:cNvPr id="5" name="TextBox 9">
            <a:extLst>
              <a:ext uri="{FF2B5EF4-FFF2-40B4-BE49-F238E27FC236}">
                <a16:creationId xmlns:a16="http://schemas.microsoft.com/office/drawing/2014/main" id="{1591FE8D-59D8-BC90-0722-35268CD41040}"/>
              </a:ext>
            </a:extLst>
          </p:cNvPr>
          <p:cNvSpPr txBox="1"/>
          <p:nvPr/>
        </p:nvSpPr>
        <p:spPr>
          <a:xfrm>
            <a:off x="4242421" y="403812"/>
            <a:ext cx="793832" cy="2769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 defTabSz="685783">
              <a:spcAft>
                <a:spcPts val="300"/>
              </a:spcAft>
              <a:defRPr/>
            </a:pPr>
            <a:r>
              <a:rPr lang="en-GB" sz="600" dirty="0">
                <a:solidFill>
                  <a:srgbClr val="000000"/>
                </a:solidFill>
                <a:latin typeface="Verdana Pro Light" panose="020B0304030504040204" pitchFamily="34" charset="0"/>
              </a:rPr>
              <a:t>Virtus heavy-duty pressure and flow controller</a:t>
            </a:r>
            <a:endParaRPr lang="en-US" sz="600" dirty="0">
              <a:solidFill>
                <a:srgbClr val="000000"/>
              </a:solidFill>
              <a:latin typeface="Verdana Pro Light" panose="020B030403050404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C372F5B-EEF9-8338-344B-D09128B525DC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56572" y="673950"/>
            <a:ext cx="365528" cy="5231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79166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>
          <a:xfrm>
            <a:off x="343644" y="164694"/>
            <a:ext cx="6697927" cy="1356609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l-SI" sz="2400" b="1" i="0" u="none" strike="noStrike" kern="1200" cap="none" spc="0" normalizeH="0" baseline="0" noProof="0" dirty="0">
                <a:ln>
                  <a:noFill/>
                </a:ln>
                <a:solidFill>
                  <a:srgbClr val="E60A11"/>
                </a:solidFill>
                <a:effectLst/>
                <a:uLnTx/>
                <a:uFillTx/>
                <a:latin typeface="Verdana"/>
                <a:ea typeface="+mj-ea"/>
                <a:cs typeface="+mj-cs"/>
              </a:rPr>
              <a:t>Virtus</a:t>
            </a:r>
            <a:r>
              <a:rPr kumimoji="0" lang="sl-SI" sz="2400" b="0" i="0" u="none" strike="noStrike" kern="1200" cap="none" spc="0" normalizeH="0" baseline="0" noProof="0" dirty="0">
                <a:ln>
                  <a:noFill/>
                </a:ln>
                <a:solidFill>
                  <a:srgbClr val="B4BCC3">
                    <a:lumMod val="50000"/>
                  </a:srgbClr>
                </a:solidFill>
                <a:effectLst/>
                <a:uLnTx/>
                <a:uFillTx/>
                <a:latin typeface="Verdana"/>
                <a:ea typeface="+mj-ea"/>
                <a:cs typeface="+mj-cs"/>
              </a:rPr>
              <a:t> – Danfoss regulatori pritiska i protoka – pouzdano rešenje sa kompletnim proizvodnim opsegom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E60A11"/>
              </a:solidFill>
              <a:effectLst/>
              <a:uLnTx/>
              <a:uFillTx/>
              <a:latin typeface="Verdana"/>
              <a:ea typeface="+mj-ea"/>
              <a:cs typeface="+mj-cs"/>
            </a:endParaRPr>
          </a:p>
        </p:txBody>
      </p:sp>
      <p:pic>
        <p:nvPicPr>
          <p:cNvPr id="6" name="Slika 5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69" r="8779" b="34717"/>
          <a:stretch/>
        </p:blipFill>
        <p:spPr>
          <a:xfrm>
            <a:off x="2581359" y="802537"/>
            <a:ext cx="6230868" cy="3454157"/>
          </a:xfrm>
          <a:prstGeom prst="rect">
            <a:avLst/>
          </a:prstGeom>
        </p:spPr>
      </p:pic>
      <p:sp>
        <p:nvSpPr>
          <p:cNvPr id="7" name="Rectangle 3"/>
          <p:cNvSpPr/>
          <p:nvPr/>
        </p:nvSpPr>
        <p:spPr>
          <a:xfrm>
            <a:off x="466914" y="4189625"/>
            <a:ext cx="6813041" cy="43345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kumimoji="0" lang="sl-SI" sz="1200" b="0" i="0" u="none" strike="noStrike" kern="1200" cap="none" spc="0" normalizeH="0" baseline="0" noProof="0" dirty="0">
                <a:ln>
                  <a:noFill/>
                </a:ln>
                <a:solidFill>
                  <a:srgbClr val="B4BCC3">
                    <a:lumMod val="50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Nominalni pritisak PN 16, 25 &amp; 4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kumimoji="0" lang="sl-SI" sz="1200" b="0" i="0" u="none" strike="noStrike" kern="1200" cap="none" spc="0" normalizeH="0" baseline="0" noProof="0" dirty="0">
                <a:ln>
                  <a:noFill/>
                </a:ln>
                <a:solidFill>
                  <a:srgbClr val="B4BCC3">
                    <a:lumMod val="50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Nominalni prečnici DN 65-250</a:t>
            </a:r>
          </a:p>
        </p:txBody>
      </p:sp>
      <p:pic>
        <p:nvPicPr>
          <p:cNvPr id="3" name="Picture 2" descr="A red sign with white text&#10;&#10;AI-generated content may be incorrect.">
            <a:extLst>
              <a:ext uri="{FF2B5EF4-FFF2-40B4-BE49-F238E27FC236}">
                <a16:creationId xmlns:a16="http://schemas.microsoft.com/office/drawing/2014/main" id="{827D72F3-0FB5-1A21-3F78-2FA68A034C5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4100" y="113595"/>
            <a:ext cx="1203205" cy="527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484287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4" presetClass="path" presetSubtype="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1.11111E-6 L 5.55556E-7 -0.08272 " pathEditMode="relative" rAng="0" ptsTypes="AA">
                                      <p:cBhvr>
                                        <p:cTn id="9" dur="1000" spd="-100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4136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64" presetClass="path" presetSubtype="0" decel="50000" fill="hold" grpId="1" nodeType="withEffect">
                                  <p:stCondLst>
                                    <p:cond delay="1750"/>
                                  </p:stCondLst>
                                  <p:childTnLst>
                                    <p:animMotion origin="layout" path="M -1.11111E-6 -1.48148E-6 L -1.11111E-6 -0.08271 " pathEditMode="relative" rAng="0" ptsTypes="AA">
                                      <p:cBhvr>
                                        <p:cTn id="14" dur="1000" spd="-100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4136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22" presetClass="entr" presetSubtype="8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1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2" grpId="1"/>
      <p:bldP spid="7" grpId="0"/>
      <p:bldP spid="7" grpId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6" name="Skupina 115"/>
          <p:cNvGrpSpPr/>
          <p:nvPr/>
        </p:nvGrpSpPr>
        <p:grpSpPr>
          <a:xfrm>
            <a:off x="3060040" y="630227"/>
            <a:ext cx="4500001" cy="536033"/>
            <a:chOff x="3344978" y="1736681"/>
            <a:chExt cx="4500001" cy="536033"/>
          </a:xfrm>
        </p:grpSpPr>
        <p:sp>
          <p:nvSpPr>
            <p:cNvPr id="118" name="Tekstfelt 5"/>
            <p:cNvSpPr txBox="1"/>
            <p:nvPr/>
          </p:nvSpPr>
          <p:spPr>
            <a:xfrm>
              <a:off x="3344978" y="1736681"/>
              <a:ext cx="4170225" cy="430887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r-Latn-BA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E60A11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Multifunkcionalni inteligentni kontroler</a:t>
              </a: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E60A11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E60A11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cxnSp>
          <p:nvCxnSpPr>
            <p:cNvPr id="117" name="Lige forbindelse 4"/>
            <p:cNvCxnSpPr/>
            <p:nvPr/>
          </p:nvCxnSpPr>
          <p:spPr>
            <a:xfrm flipH="1">
              <a:off x="3344979" y="2272714"/>
              <a:ext cx="4500000" cy="0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8" name="Pravokotnik 147"/>
          <p:cNvSpPr/>
          <p:nvPr/>
        </p:nvSpPr>
        <p:spPr>
          <a:xfrm>
            <a:off x="2725810" y="-513"/>
            <a:ext cx="18000" cy="4802659"/>
          </a:xfrm>
          <a:prstGeom prst="rect">
            <a:avLst/>
          </a:prstGeom>
          <a:gradFill>
            <a:gsLst>
              <a:gs pos="0">
                <a:schemeClr val="bg2"/>
              </a:gs>
              <a:gs pos="100000">
                <a:schemeClr val="bg2">
                  <a:alpha val="0"/>
                </a:schemeClr>
              </a:gs>
            </a:gsLst>
            <a:lin ang="540000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l-SI" sz="1800" b="0" i="0" u="none" strike="noStrike" kern="1200" cap="none" spc="0" normalizeH="0" baseline="0" noProof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18" name="Skupina 17"/>
          <p:cNvGrpSpPr/>
          <p:nvPr/>
        </p:nvGrpSpPr>
        <p:grpSpPr>
          <a:xfrm>
            <a:off x="-36698" y="-22198"/>
            <a:ext cx="3007293" cy="4851241"/>
            <a:chOff x="-338752" y="-55631"/>
            <a:chExt cx="3007293" cy="4851241"/>
          </a:xfrm>
        </p:grpSpPr>
        <p:sp>
          <p:nvSpPr>
            <p:cNvPr id="13" name="Pravokotnik 12"/>
            <p:cNvSpPr/>
            <p:nvPr/>
          </p:nvSpPr>
          <p:spPr>
            <a:xfrm>
              <a:off x="-287259" y="-38258"/>
              <a:ext cx="2682484" cy="4833868"/>
            </a:xfrm>
            <a:prstGeom prst="rect">
              <a:avLst/>
            </a:prstGeom>
            <a:gradFill>
              <a:gsLst>
                <a:gs pos="0">
                  <a:schemeClr val="bg2">
                    <a:alpha val="16000"/>
                  </a:schemeClr>
                </a:gs>
                <a:gs pos="44000">
                  <a:schemeClr val="bg2">
                    <a:alpha val="0"/>
                  </a:schemeClr>
                </a:gs>
              </a:gsLst>
              <a:lin ang="27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18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54" name="Pravokotnik 153"/>
            <p:cNvSpPr/>
            <p:nvPr/>
          </p:nvSpPr>
          <p:spPr>
            <a:xfrm rot="10800000">
              <a:off x="-338751" y="-55631"/>
              <a:ext cx="2762506" cy="4824343"/>
            </a:xfrm>
            <a:prstGeom prst="rect">
              <a:avLst/>
            </a:prstGeom>
            <a:gradFill>
              <a:gsLst>
                <a:gs pos="0">
                  <a:schemeClr val="bg2">
                    <a:alpha val="16000"/>
                  </a:schemeClr>
                </a:gs>
                <a:gs pos="44000">
                  <a:schemeClr val="bg2">
                    <a:alpha val="0"/>
                  </a:schemeClr>
                </a:gs>
              </a:gsLst>
              <a:lin ang="2700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18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pic>
          <p:nvPicPr>
            <p:cNvPr id="4" name="Slika 3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338752" y="268729"/>
              <a:ext cx="3007293" cy="4252311"/>
            </a:xfrm>
            <a:prstGeom prst="rect">
              <a:avLst/>
            </a:prstGeom>
          </p:spPr>
        </p:pic>
      </p:grpSp>
      <p:sp>
        <p:nvSpPr>
          <p:cNvPr id="51" name="Označba mesta besedila 2"/>
          <p:cNvSpPr txBox="1">
            <a:spLocks/>
          </p:cNvSpPr>
          <p:nvPr/>
        </p:nvSpPr>
        <p:spPr>
          <a:xfrm>
            <a:off x="3060040" y="1387458"/>
            <a:ext cx="4416124" cy="3300412"/>
          </a:xfrm>
          <a:prstGeom prst="rect">
            <a:avLst/>
          </a:prstGeom>
        </p:spPr>
        <p:txBody>
          <a:bodyPr l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40000"/>
              <a:buFont typeface="Arial" panose="020B0604020202020204" pitchFamily="34" charset="0"/>
              <a:buNone/>
              <a:defRPr sz="1200" b="1" kern="120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74663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40000"/>
              <a:buFont typeface="Arial" panose="020B0604020202020204" pitchFamily="34" charset="0"/>
              <a:buChar char="•"/>
              <a:defRPr sz="1200" kern="120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46112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40000"/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828675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40000"/>
              <a:buFont typeface="Arial" panose="020B0604020202020204" pitchFamily="34" charset="0"/>
              <a:buChar char="•"/>
              <a:defRPr sz="1200" kern="120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004888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40000"/>
              <a:buFont typeface="Arial" panose="020B0604020202020204" pitchFamily="34" charset="0"/>
              <a:buChar char="•"/>
              <a:defRPr sz="1200" kern="120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ts val="600"/>
              </a:spcAft>
              <a:buClr>
                <a:srgbClr val="B4BCC3"/>
              </a:buClr>
              <a:buSzPct val="140000"/>
              <a:buFont typeface="Arial" panose="020B0604020202020204" pitchFamily="34" charset="0"/>
              <a:buNone/>
              <a:tabLst/>
              <a:defRPr/>
            </a:pPr>
            <a:r>
              <a:rPr kumimoji="0" lang="sl-SI" sz="1200" b="1" i="0" u="none" strike="noStrike" kern="1200" cap="none" spc="0" normalizeH="0" baseline="0" noProof="0" dirty="0">
                <a:ln>
                  <a:noFill/>
                </a:ln>
                <a:solidFill>
                  <a:srgbClr val="B4BCC3">
                    <a:lumMod val="50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2 inovativne fukcije implementirane u jedan proizvod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B4BCC3">
                  <a:lumMod val="50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176213" marR="0" lvl="0" indent="-176213" algn="l" defTabSz="6858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ts val="600"/>
              </a:spcAft>
              <a:buClr>
                <a:srgbClr val="B4BCC3"/>
              </a:buClr>
              <a:buSzPct val="14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Verdana" pitchFamily="34" charset="0"/>
                <a:ea typeface="+mn-ea"/>
                <a:cs typeface="Arial" charset="0"/>
              </a:rPr>
              <a:t>iS</a:t>
            </a:r>
            <a:r>
              <a:rPr kumimoji="0" lang="sl-SI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Verdana" pitchFamily="34" charset="0"/>
                <a:ea typeface="+mn-ea"/>
                <a:cs typeface="Arial" charset="0"/>
              </a:rPr>
              <a:t>e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Verdana" pitchFamily="34" charset="0"/>
                <a:ea typeface="+mn-ea"/>
                <a:cs typeface="Arial" charset="0"/>
              </a:rPr>
              <a:t> </a:t>
            </a:r>
            <a:r>
              <a:rPr kumimoji="0" lang="sr-Latn-RS" sz="1200" b="0" i="0" u="none" strike="noStrike" kern="1200" cap="none" spc="0" normalizeH="0" baseline="0" noProof="0" dirty="0">
                <a:ln>
                  <a:noFill/>
                </a:ln>
                <a:solidFill>
                  <a:srgbClr val="B4BCC3">
                    <a:lumMod val="50000"/>
                  </a:srgbClr>
                </a:solidFill>
                <a:effectLst/>
                <a:uLnTx/>
                <a:uFillTx/>
                <a:latin typeface="Verdana" pitchFamily="34" charset="0"/>
                <a:ea typeface="+mn-ea"/>
                <a:cs typeface="Arial" charset="0"/>
              </a:rPr>
              <a:t>optimizacija podstanice</a:t>
            </a:r>
            <a:endParaRPr kumimoji="0" lang="sl-SI" sz="1200" b="0" i="0" u="none" strike="noStrike" kern="1200" cap="none" spc="0" normalizeH="0" baseline="0" noProof="0" dirty="0">
              <a:ln>
                <a:noFill/>
              </a:ln>
              <a:solidFill>
                <a:srgbClr val="B4BCC3">
                  <a:lumMod val="50000"/>
                </a:srgbClr>
              </a:solidFill>
              <a:effectLst/>
              <a:uLnTx/>
              <a:uFillTx/>
              <a:latin typeface="Verdana" pitchFamily="34" charset="0"/>
              <a:ea typeface="+mn-ea"/>
              <a:cs typeface="Arial" charset="0"/>
            </a:endParaRPr>
          </a:p>
          <a:p>
            <a:pPr marL="176213" marR="0" lvl="0" indent="-176213" algn="l" defTabSz="6858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ts val="600"/>
              </a:spcAft>
              <a:buClr>
                <a:srgbClr val="B4BCC3"/>
              </a:buClr>
              <a:buSzPct val="14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Verdana" pitchFamily="34" charset="0"/>
                <a:ea typeface="+mn-ea"/>
                <a:cs typeface="Arial" charset="0"/>
              </a:rPr>
              <a:t>iN</a:t>
            </a:r>
            <a:r>
              <a:rPr kumimoji="0" lang="sl-SI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Verdana" pitchFamily="34" charset="0"/>
                <a:ea typeface="+mn-ea"/>
                <a:cs typeface="Arial" charset="0"/>
              </a:rPr>
              <a:t>et</a:t>
            </a:r>
            <a:r>
              <a:rPr kumimoji="0" lang="sl-SI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Verdana" pitchFamily="34" charset="0"/>
                <a:ea typeface="+mn-ea"/>
                <a:cs typeface="Arial" charset="0"/>
              </a:rPr>
              <a:t> </a:t>
            </a:r>
            <a:r>
              <a:rPr kumimoji="0" lang="sr-Latn-RS" sz="1200" b="0" i="0" u="none" strike="noStrike" kern="1200" cap="none" spc="0" normalizeH="0" baseline="0" noProof="0" dirty="0">
                <a:ln>
                  <a:noFill/>
                </a:ln>
                <a:solidFill>
                  <a:srgbClr val="B4BCC3">
                    <a:lumMod val="50000"/>
                  </a:srgbClr>
                </a:solidFill>
                <a:effectLst/>
                <a:uLnTx/>
                <a:uFillTx/>
                <a:latin typeface="Verdana" pitchFamily="34" charset="0"/>
                <a:ea typeface="+mn-ea"/>
                <a:cs typeface="Arial" charset="0"/>
              </a:rPr>
              <a:t>optimizacija mreže</a:t>
            </a:r>
            <a:endParaRPr kumimoji="0" lang="sl-SI" sz="1200" b="0" i="0" u="none" strike="noStrike" kern="1200" cap="none" spc="0" normalizeH="0" baseline="0" noProof="0" dirty="0">
              <a:ln>
                <a:noFill/>
              </a:ln>
              <a:solidFill>
                <a:srgbClr val="B4BCC3">
                  <a:lumMod val="50000"/>
                </a:srgbClr>
              </a:solidFill>
              <a:effectLst/>
              <a:uLnTx/>
              <a:uFillTx/>
              <a:latin typeface="Verdana" pitchFamily="34" charset="0"/>
              <a:ea typeface="+mn-ea"/>
              <a:cs typeface="Arial" charset="0"/>
            </a:endParaRPr>
          </a:p>
          <a:p>
            <a:pPr marL="176213" marR="0" lvl="0" indent="-176213" algn="l" defTabSz="6858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ts val="600"/>
              </a:spcAft>
              <a:buClr>
                <a:srgbClr val="B4BCC3"/>
              </a:buClr>
              <a:buSzPct val="140000"/>
              <a:buFont typeface="Arial" panose="020B0604020202020204" pitchFamily="34" charset="0"/>
              <a:buChar char="•"/>
              <a:tabLst/>
              <a:defRPr/>
            </a:pPr>
            <a:r>
              <a:rPr kumimoji="0" lang="sr-Latn-BA" sz="1200" b="0" i="0" u="none" strike="noStrike" kern="1200" cap="none" spc="0" normalizeH="0" baseline="0" noProof="0" dirty="0">
                <a:ln>
                  <a:noFill/>
                </a:ln>
                <a:solidFill>
                  <a:srgbClr val="B4BCC3">
                    <a:lumMod val="50000"/>
                  </a:srgbClr>
                </a:solidFill>
                <a:effectLst/>
                <a:uLnTx/>
                <a:uFillTx/>
                <a:latin typeface="Verdana" pitchFamily="34" charset="0"/>
                <a:ea typeface="+mn-ea"/>
                <a:cs typeface="Arial" charset="0"/>
              </a:rPr>
              <a:t>Omogućena komunikacija i povezivanje sa različitom opremom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B4BCC3">
                  <a:lumMod val="50000"/>
                </a:srgbClr>
              </a:solidFill>
              <a:effectLst/>
              <a:uLnTx/>
              <a:uFillTx/>
              <a:latin typeface="Verdana" pitchFamily="34" charset="0"/>
              <a:ea typeface="+mn-ea"/>
              <a:cs typeface="Arial" charset="0"/>
            </a:endParaRPr>
          </a:p>
        </p:txBody>
      </p:sp>
      <p:grpSp>
        <p:nvGrpSpPr>
          <p:cNvPr id="52" name="Group 55">
            <a:extLst>
              <a:ext uri="{FF2B5EF4-FFF2-40B4-BE49-F238E27FC236}">
                <a16:creationId xmlns:a16="http://schemas.microsoft.com/office/drawing/2014/main" id="{3938541F-B280-48F1-9DAE-E7DADA8883D1}"/>
              </a:ext>
            </a:extLst>
          </p:cNvPr>
          <p:cNvGrpSpPr/>
          <p:nvPr/>
        </p:nvGrpSpPr>
        <p:grpSpPr>
          <a:xfrm rot="10800000">
            <a:off x="7294986" y="833513"/>
            <a:ext cx="664210" cy="664210"/>
            <a:chOff x="3933577" y="2336801"/>
            <a:chExt cx="1295400" cy="1295400"/>
          </a:xfrm>
        </p:grpSpPr>
        <p:sp>
          <p:nvSpPr>
            <p:cNvPr id="53" name="Oval 56">
              <a:extLst>
                <a:ext uri="{FF2B5EF4-FFF2-40B4-BE49-F238E27FC236}">
                  <a16:creationId xmlns:a16="http://schemas.microsoft.com/office/drawing/2014/main" id="{58C996B2-4110-407C-9F92-6A7015DE1540}"/>
                </a:ext>
              </a:extLst>
            </p:cNvPr>
            <p:cNvSpPr/>
            <p:nvPr/>
          </p:nvSpPr>
          <p:spPr>
            <a:xfrm>
              <a:off x="3933577" y="2336801"/>
              <a:ext cx="1295400" cy="1295400"/>
            </a:xfrm>
            <a:prstGeom prst="ellipse">
              <a:avLst/>
            </a:prstGeom>
            <a:gradFill flip="none" rotWithShape="1">
              <a:gsLst>
                <a:gs pos="48000">
                  <a:schemeClr val="tx1">
                    <a:alpha val="0"/>
                  </a:schemeClr>
                </a:gs>
                <a:gs pos="100000">
                  <a:schemeClr val="tx1">
                    <a:alpha val="35000"/>
                  </a:schemeClr>
                </a:gs>
              </a:gsLst>
              <a:lin ang="5400000" scaled="1"/>
              <a:tileRect/>
            </a:gradFill>
            <a:ln w="9525">
              <a:noFill/>
            </a:ln>
            <a:effectLst>
              <a:outerShdw blurRad="50800" dist="38100" dir="16200000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4" name="Oval 57">
              <a:extLst>
                <a:ext uri="{FF2B5EF4-FFF2-40B4-BE49-F238E27FC236}">
                  <a16:creationId xmlns:a16="http://schemas.microsoft.com/office/drawing/2014/main" id="{A93C87FA-B5D8-4BA1-89FC-762964449E89}"/>
                </a:ext>
              </a:extLst>
            </p:cNvPr>
            <p:cNvSpPr/>
            <p:nvPr/>
          </p:nvSpPr>
          <p:spPr>
            <a:xfrm>
              <a:off x="3933577" y="2336801"/>
              <a:ext cx="1295400" cy="12954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55" name="Oval 59">
            <a:extLst>
              <a:ext uri="{FF2B5EF4-FFF2-40B4-BE49-F238E27FC236}">
                <a16:creationId xmlns:a16="http://schemas.microsoft.com/office/drawing/2014/main" id="{4B41819B-2DD2-4424-8FE4-A73317EEFE04}"/>
              </a:ext>
            </a:extLst>
          </p:cNvPr>
          <p:cNvSpPr/>
          <p:nvPr/>
        </p:nvSpPr>
        <p:spPr>
          <a:xfrm>
            <a:off x="7327377" y="858819"/>
            <a:ext cx="602372" cy="602372"/>
          </a:xfrm>
          <a:prstGeom prst="ellipse">
            <a:avLst/>
          </a:prstGeom>
          <a:solidFill>
            <a:schemeClr val="accent2"/>
          </a:solidFill>
          <a:ln w="9525">
            <a:noFill/>
          </a:ln>
          <a:effectLst>
            <a:innerShdw blurRad="165100" dist="50800" dir="5400000">
              <a:prstClr val="black">
                <a:alpha val="36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56" name="Group 12"/>
          <p:cNvGrpSpPr>
            <a:grpSpLocks noChangeAspect="1"/>
          </p:cNvGrpSpPr>
          <p:nvPr/>
        </p:nvGrpSpPr>
        <p:grpSpPr bwMode="auto">
          <a:xfrm>
            <a:off x="7469570" y="957917"/>
            <a:ext cx="324519" cy="424877"/>
            <a:chOff x="2790" y="3822"/>
            <a:chExt cx="443" cy="580"/>
          </a:xfrm>
          <a:solidFill>
            <a:schemeClr val="bg1"/>
          </a:solidFill>
        </p:grpSpPr>
        <p:sp>
          <p:nvSpPr>
            <p:cNvPr id="57" name="Freeform 13"/>
            <p:cNvSpPr>
              <a:spLocks noEditPoints="1"/>
            </p:cNvSpPr>
            <p:nvPr/>
          </p:nvSpPr>
          <p:spPr bwMode="auto">
            <a:xfrm>
              <a:off x="2833" y="4290"/>
              <a:ext cx="21" cy="112"/>
            </a:xfrm>
            <a:custGeom>
              <a:avLst/>
              <a:gdLst>
                <a:gd name="T0" fmla="*/ 23 w 46"/>
                <a:gd name="T1" fmla="*/ 45 h 253"/>
                <a:gd name="T2" fmla="*/ 6 w 46"/>
                <a:gd name="T3" fmla="*/ 39 h 253"/>
                <a:gd name="T4" fmla="*/ 0 w 46"/>
                <a:gd name="T5" fmla="*/ 22 h 253"/>
                <a:gd name="T6" fmla="*/ 7 w 46"/>
                <a:gd name="T7" fmla="*/ 6 h 253"/>
                <a:gd name="T8" fmla="*/ 23 w 46"/>
                <a:gd name="T9" fmla="*/ 0 h 253"/>
                <a:gd name="T10" fmla="*/ 39 w 46"/>
                <a:gd name="T11" fmla="*/ 5 h 253"/>
                <a:gd name="T12" fmla="*/ 46 w 46"/>
                <a:gd name="T13" fmla="*/ 22 h 253"/>
                <a:gd name="T14" fmla="*/ 39 w 46"/>
                <a:gd name="T15" fmla="*/ 39 h 253"/>
                <a:gd name="T16" fmla="*/ 23 w 46"/>
                <a:gd name="T17" fmla="*/ 45 h 253"/>
                <a:gd name="T18" fmla="*/ 46 w 46"/>
                <a:gd name="T19" fmla="*/ 92 h 253"/>
                <a:gd name="T20" fmla="*/ 46 w 46"/>
                <a:gd name="T21" fmla="*/ 225 h 253"/>
                <a:gd name="T22" fmla="*/ 39 w 46"/>
                <a:gd name="T23" fmla="*/ 246 h 253"/>
                <a:gd name="T24" fmla="*/ 22 w 46"/>
                <a:gd name="T25" fmla="*/ 253 h 253"/>
                <a:gd name="T26" fmla="*/ 6 w 46"/>
                <a:gd name="T27" fmla="*/ 246 h 253"/>
                <a:gd name="T28" fmla="*/ 0 w 46"/>
                <a:gd name="T29" fmla="*/ 225 h 253"/>
                <a:gd name="T30" fmla="*/ 0 w 46"/>
                <a:gd name="T31" fmla="*/ 94 h 253"/>
                <a:gd name="T32" fmla="*/ 6 w 46"/>
                <a:gd name="T33" fmla="*/ 73 h 253"/>
                <a:gd name="T34" fmla="*/ 22 w 46"/>
                <a:gd name="T35" fmla="*/ 66 h 253"/>
                <a:gd name="T36" fmla="*/ 39 w 46"/>
                <a:gd name="T37" fmla="*/ 73 h 253"/>
                <a:gd name="T38" fmla="*/ 46 w 46"/>
                <a:gd name="T39" fmla="*/ 92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6" h="253">
                  <a:moveTo>
                    <a:pt x="23" y="45"/>
                  </a:moveTo>
                  <a:cubicBezTo>
                    <a:pt x="16" y="45"/>
                    <a:pt x="11" y="43"/>
                    <a:pt x="6" y="39"/>
                  </a:cubicBezTo>
                  <a:cubicBezTo>
                    <a:pt x="2" y="35"/>
                    <a:pt x="0" y="29"/>
                    <a:pt x="0" y="22"/>
                  </a:cubicBezTo>
                  <a:cubicBezTo>
                    <a:pt x="0" y="16"/>
                    <a:pt x="2" y="10"/>
                    <a:pt x="7" y="6"/>
                  </a:cubicBezTo>
                  <a:cubicBezTo>
                    <a:pt x="11" y="2"/>
                    <a:pt x="17" y="0"/>
                    <a:pt x="23" y="0"/>
                  </a:cubicBezTo>
                  <a:cubicBezTo>
                    <a:pt x="29" y="0"/>
                    <a:pt x="34" y="2"/>
                    <a:pt x="39" y="5"/>
                  </a:cubicBezTo>
                  <a:cubicBezTo>
                    <a:pt x="43" y="9"/>
                    <a:pt x="46" y="15"/>
                    <a:pt x="46" y="22"/>
                  </a:cubicBezTo>
                  <a:cubicBezTo>
                    <a:pt x="46" y="29"/>
                    <a:pt x="43" y="35"/>
                    <a:pt x="39" y="39"/>
                  </a:cubicBezTo>
                  <a:cubicBezTo>
                    <a:pt x="34" y="43"/>
                    <a:pt x="29" y="45"/>
                    <a:pt x="23" y="45"/>
                  </a:cubicBezTo>
                  <a:close/>
                  <a:moveTo>
                    <a:pt x="46" y="92"/>
                  </a:moveTo>
                  <a:cubicBezTo>
                    <a:pt x="46" y="225"/>
                    <a:pt x="46" y="225"/>
                    <a:pt x="46" y="225"/>
                  </a:cubicBezTo>
                  <a:cubicBezTo>
                    <a:pt x="46" y="235"/>
                    <a:pt x="43" y="242"/>
                    <a:pt x="39" y="246"/>
                  </a:cubicBezTo>
                  <a:cubicBezTo>
                    <a:pt x="35" y="251"/>
                    <a:pt x="29" y="253"/>
                    <a:pt x="22" y="253"/>
                  </a:cubicBezTo>
                  <a:cubicBezTo>
                    <a:pt x="16" y="253"/>
                    <a:pt x="10" y="251"/>
                    <a:pt x="6" y="246"/>
                  </a:cubicBezTo>
                  <a:cubicBezTo>
                    <a:pt x="2" y="241"/>
                    <a:pt x="0" y="234"/>
                    <a:pt x="0" y="225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85"/>
                    <a:pt x="2" y="78"/>
                    <a:pt x="6" y="73"/>
                  </a:cubicBezTo>
                  <a:cubicBezTo>
                    <a:pt x="10" y="68"/>
                    <a:pt x="16" y="66"/>
                    <a:pt x="22" y="66"/>
                  </a:cubicBezTo>
                  <a:cubicBezTo>
                    <a:pt x="29" y="66"/>
                    <a:pt x="35" y="68"/>
                    <a:pt x="39" y="73"/>
                  </a:cubicBezTo>
                  <a:cubicBezTo>
                    <a:pt x="43" y="78"/>
                    <a:pt x="46" y="84"/>
                    <a:pt x="46" y="9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8" name="Freeform 14"/>
            <p:cNvSpPr>
              <a:spLocks/>
            </p:cNvSpPr>
            <p:nvPr/>
          </p:nvSpPr>
          <p:spPr bwMode="auto">
            <a:xfrm>
              <a:off x="2888" y="4289"/>
              <a:ext cx="92" cy="113"/>
            </a:xfrm>
            <a:custGeom>
              <a:avLst/>
              <a:gdLst>
                <a:gd name="T0" fmla="*/ 65 w 207"/>
                <a:gd name="T1" fmla="*/ 30 h 255"/>
                <a:gd name="T2" fmla="*/ 161 w 207"/>
                <a:gd name="T3" fmla="*/ 175 h 255"/>
                <a:gd name="T4" fmla="*/ 161 w 207"/>
                <a:gd name="T5" fmla="*/ 28 h 255"/>
                <a:gd name="T6" fmla="*/ 167 w 207"/>
                <a:gd name="T7" fmla="*/ 7 h 255"/>
                <a:gd name="T8" fmla="*/ 184 w 207"/>
                <a:gd name="T9" fmla="*/ 0 h 255"/>
                <a:gd name="T10" fmla="*/ 201 w 207"/>
                <a:gd name="T11" fmla="*/ 7 h 255"/>
                <a:gd name="T12" fmla="*/ 207 w 207"/>
                <a:gd name="T13" fmla="*/ 28 h 255"/>
                <a:gd name="T14" fmla="*/ 207 w 207"/>
                <a:gd name="T15" fmla="*/ 223 h 255"/>
                <a:gd name="T16" fmla="*/ 180 w 207"/>
                <a:gd name="T17" fmla="*/ 255 h 255"/>
                <a:gd name="T18" fmla="*/ 168 w 207"/>
                <a:gd name="T19" fmla="*/ 253 h 255"/>
                <a:gd name="T20" fmla="*/ 158 w 207"/>
                <a:gd name="T21" fmla="*/ 247 h 255"/>
                <a:gd name="T22" fmla="*/ 149 w 207"/>
                <a:gd name="T23" fmla="*/ 237 h 255"/>
                <a:gd name="T24" fmla="*/ 141 w 207"/>
                <a:gd name="T25" fmla="*/ 226 h 255"/>
                <a:gd name="T26" fmla="*/ 47 w 207"/>
                <a:gd name="T27" fmla="*/ 82 h 255"/>
                <a:gd name="T28" fmla="*/ 47 w 207"/>
                <a:gd name="T29" fmla="*/ 227 h 255"/>
                <a:gd name="T30" fmla="*/ 40 w 207"/>
                <a:gd name="T31" fmla="*/ 248 h 255"/>
                <a:gd name="T32" fmla="*/ 23 w 207"/>
                <a:gd name="T33" fmla="*/ 255 h 255"/>
                <a:gd name="T34" fmla="*/ 6 w 207"/>
                <a:gd name="T35" fmla="*/ 248 h 255"/>
                <a:gd name="T36" fmla="*/ 0 w 207"/>
                <a:gd name="T37" fmla="*/ 227 h 255"/>
                <a:gd name="T38" fmla="*/ 0 w 207"/>
                <a:gd name="T39" fmla="*/ 36 h 255"/>
                <a:gd name="T40" fmla="*/ 3 w 207"/>
                <a:gd name="T41" fmla="*/ 17 h 255"/>
                <a:gd name="T42" fmla="*/ 13 w 207"/>
                <a:gd name="T43" fmla="*/ 5 h 255"/>
                <a:gd name="T44" fmla="*/ 29 w 207"/>
                <a:gd name="T45" fmla="*/ 0 h 255"/>
                <a:gd name="T46" fmla="*/ 41 w 207"/>
                <a:gd name="T47" fmla="*/ 2 h 255"/>
                <a:gd name="T48" fmla="*/ 49 w 207"/>
                <a:gd name="T49" fmla="*/ 8 h 255"/>
                <a:gd name="T50" fmla="*/ 57 w 207"/>
                <a:gd name="T51" fmla="*/ 17 h 255"/>
                <a:gd name="T52" fmla="*/ 65 w 207"/>
                <a:gd name="T53" fmla="*/ 30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07" h="255">
                  <a:moveTo>
                    <a:pt x="65" y="30"/>
                  </a:moveTo>
                  <a:cubicBezTo>
                    <a:pt x="161" y="175"/>
                    <a:pt x="161" y="175"/>
                    <a:pt x="161" y="175"/>
                  </a:cubicBezTo>
                  <a:cubicBezTo>
                    <a:pt x="161" y="28"/>
                    <a:pt x="161" y="28"/>
                    <a:pt x="161" y="28"/>
                  </a:cubicBezTo>
                  <a:cubicBezTo>
                    <a:pt x="161" y="19"/>
                    <a:pt x="163" y="12"/>
                    <a:pt x="167" y="7"/>
                  </a:cubicBezTo>
                  <a:cubicBezTo>
                    <a:pt x="171" y="2"/>
                    <a:pt x="177" y="0"/>
                    <a:pt x="184" y="0"/>
                  </a:cubicBezTo>
                  <a:cubicBezTo>
                    <a:pt x="191" y="0"/>
                    <a:pt x="197" y="2"/>
                    <a:pt x="201" y="7"/>
                  </a:cubicBezTo>
                  <a:cubicBezTo>
                    <a:pt x="205" y="12"/>
                    <a:pt x="207" y="19"/>
                    <a:pt x="207" y="28"/>
                  </a:cubicBezTo>
                  <a:cubicBezTo>
                    <a:pt x="207" y="223"/>
                    <a:pt x="207" y="223"/>
                    <a:pt x="207" y="223"/>
                  </a:cubicBezTo>
                  <a:cubicBezTo>
                    <a:pt x="207" y="245"/>
                    <a:pt x="198" y="255"/>
                    <a:pt x="180" y="255"/>
                  </a:cubicBezTo>
                  <a:cubicBezTo>
                    <a:pt x="175" y="255"/>
                    <a:pt x="171" y="255"/>
                    <a:pt x="168" y="253"/>
                  </a:cubicBezTo>
                  <a:cubicBezTo>
                    <a:pt x="164" y="252"/>
                    <a:pt x="161" y="250"/>
                    <a:pt x="158" y="247"/>
                  </a:cubicBezTo>
                  <a:cubicBezTo>
                    <a:pt x="155" y="244"/>
                    <a:pt x="152" y="241"/>
                    <a:pt x="149" y="237"/>
                  </a:cubicBezTo>
                  <a:cubicBezTo>
                    <a:pt x="146" y="234"/>
                    <a:pt x="144" y="230"/>
                    <a:pt x="141" y="226"/>
                  </a:cubicBezTo>
                  <a:cubicBezTo>
                    <a:pt x="47" y="82"/>
                    <a:pt x="47" y="82"/>
                    <a:pt x="47" y="82"/>
                  </a:cubicBezTo>
                  <a:cubicBezTo>
                    <a:pt x="47" y="227"/>
                    <a:pt x="47" y="227"/>
                    <a:pt x="47" y="227"/>
                  </a:cubicBezTo>
                  <a:cubicBezTo>
                    <a:pt x="47" y="236"/>
                    <a:pt x="45" y="243"/>
                    <a:pt x="40" y="248"/>
                  </a:cubicBezTo>
                  <a:cubicBezTo>
                    <a:pt x="36" y="253"/>
                    <a:pt x="30" y="255"/>
                    <a:pt x="23" y="255"/>
                  </a:cubicBezTo>
                  <a:cubicBezTo>
                    <a:pt x="16" y="255"/>
                    <a:pt x="11" y="253"/>
                    <a:pt x="6" y="248"/>
                  </a:cubicBezTo>
                  <a:cubicBezTo>
                    <a:pt x="2" y="243"/>
                    <a:pt x="0" y="236"/>
                    <a:pt x="0" y="227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28"/>
                    <a:pt x="1" y="22"/>
                    <a:pt x="3" y="17"/>
                  </a:cubicBezTo>
                  <a:cubicBezTo>
                    <a:pt x="5" y="12"/>
                    <a:pt x="8" y="8"/>
                    <a:pt x="13" y="5"/>
                  </a:cubicBezTo>
                  <a:cubicBezTo>
                    <a:pt x="18" y="1"/>
                    <a:pt x="24" y="0"/>
                    <a:pt x="29" y="0"/>
                  </a:cubicBezTo>
                  <a:cubicBezTo>
                    <a:pt x="34" y="0"/>
                    <a:pt x="38" y="0"/>
                    <a:pt x="41" y="2"/>
                  </a:cubicBezTo>
                  <a:cubicBezTo>
                    <a:pt x="44" y="3"/>
                    <a:pt x="47" y="5"/>
                    <a:pt x="49" y="8"/>
                  </a:cubicBezTo>
                  <a:cubicBezTo>
                    <a:pt x="52" y="10"/>
                    <a:pt x="54" y="13"/>
                    <a:pt x="57" y="17"/>
                  </a:cubicBezTo>
                  <a:cubicBezTo>
                    <a:pt x="59" y="21"/>
                    <a:pt x="62" y="25"/>
                    <a:pt x="65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9" name="Freeform 15"/>
            <p:cNvSpPr>
              <a:spLocks/>
            </p:cNvSpPr>
            <p:nvPr/>
          </p:nvSpPr>
          <p:spPr bwMode="auto">
            <a:xfrm>
              <a:off x="3005" y="4291"/>
              <a:ext cx="84" cy="109"/>
            </a:xfrm>
            <a:custGeom>
              <a:avLst/>
              <a:gdLst>
                <a:gd name="T0" fmla="*/ 163 w 190"/>
                <a:gd name="T1" fmla="*/ 39 h 247"/>
                <a:gd name="T2" fmla="*/ 50 w 190"/>
                <a:gd name="T3" fmla="*/ 39 h 247"/>
                <a:gd name="T4" fmla="*/ 50 w 190"/>
                <a:gd name="T5" fmla="*/ 99 h 247"/>
                <a:gd name="T6" fmla="*/ 154 w 190"/>
                <a:gd name="T7" fmla="*/ 99 h 247"/>
                <a:gd name="T8" fmla="*/ 171 w 190"/>
                <a:gd name="T9" fmla="*/ 104 h 247"/>
                <a:gd name="T10" fmla="*/ 177 w 190"/>
                <a:gd name="T11" fmla="*/ 118 h 247"/>
                <a:gd name="T12" fmla="*/ 171 w 190"/>
                <a:gd name="T13" fmla="*/ 132 h 247"/>
                <a:gd name="T14" fmla="*/ 154 w 190"/>
                <a:gd name="T15" fmla="*/ 137 h 247"/>
                <a:gd name="T16" fmla="*/ 50 w 190"/>
                <a:gd name="T17" fmla="*/ 137 h 247"/>
                <a:gd name="T18" fmla="*/ 50 w 190"/>
                <a:gd name="T19" fmla="*/ 207 h 247"/>
                <a:gd name="T20" fmla="*/ 167 w 190"/>
                <a:gd name="T21" fmla="*/ 207 h 247"/>
                <a:gd name="T22" fmla="*/ 184 w 190"/>
                <a:gd name="T23" fmla="*/ 213 h 247"/>
                <a:gd name="T24" fmla="*/ 190 w 190"/>
                <a:gd name="T25" fmla="*/ 227 h 247"/>
                <a:gd name="T26" fmla="*/ 184 w 190"/>
                <a:gd name="T27" fmla="*/ 242 h 247"/>
                <a:gd name="T28" fmla="*/ 167 w 190"/>
                <a:gd name="T29" fmla="*/ 247 h 247"/>
                <a:gd name="T30" fmla="*/ 30 w 190"/>
                <a:gd name="T31" fmla="*/ 247 h 247"/>
                <a:gd name="T32" fmla="*/ 7 w 190"/>
                <a:gd name="T33" fmla="*/ 240 h 247"/>
                <a:gd name="T34" fmla="*/ 0 w 190"/>
                <a:gd name="T35" fmla="*/ 216 h 247"/>
                <a:gd name="T36" fmla="*/ 0 w 190"/>
                <a:gd name="T37" fmla="*/ 31 h 247"/>
                <a:gd name="T38" fmla="*/ 3 w 190"/>
                <a:gd name="T39" fmla="*/ 13 h 247"/>
                <a:gd name="T40" fmla="*/ 13 w 190"/>
                <a:gd name="T41" fmla="*/ 3 h 247"/>
                <a:gd name="T42" fmla="*/ 30 w 190"/>
                <a:gd name="T43" fmla="*/ 0 h 247"/>
                <a:gd name="T44" fmla="*/ 163 w 190"/>
                <a:gd name="T45" fmla="*/ 0 h 247"/>
                <a:gd name="T46" fmla="*/ 180 w 190"/>
                <a:gd name="T47" fmla="*/ 5 h 247"/>
                <a:gd name="T48" fmla="*/ 186 w 190"/>
                <a:gd name="T49" fmla="*/ 19 h 247"/>
                <a:gd name="T50" fmla="*/ 180 w 190"/>
                <a:gd name="T51" fmla="*/ 33 h 247"/>
                <a:gd name="T52" fmla="*/ 163 w 190"/>
                <a:gd name="T53" fmla="*/ 39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90" h="247">
                  <a:moveTo>
                    <a:pt x="163" y="39"/>
                  </a:moveTo>
                  <a:cubicBezTo>
                    <a:pt x="50" y="39"/>
                    <a:pt x="50" y="39"/>
                    <a:pt x="50" y="39"/>
                  </a:cubicBezTo>
                  <a:cubicBezTo>
                    <a:pt x="50" y="99"/>
                    <a:pt x="50" y="99"/>
                    <a:pt x="50" y="99"/>
                  </a:cubicBezTo>
                  <a:cubicBezTo>
                    <a:pt x="154" y="99"/>
                    <a:pt x="154" y="99"/>
                    <a:pt x="154" y="99"/>
                  </a:cubicBezTo>
                  <a:cubicBezTo>
                    <a:pt x="161" y="99"/>
                    <a:pt x="167" y="101"/>
                    <a:pt x="171" y="104"/>
                  </a:cubicBezTo>
                  <a:cubicBezTo>
                    <a:pt x="175" y="108"/>
                    <a:pt x="177" y="112"/>
                    <a:pt x="177" y="118"/>
                  </a:cubicBezTo>
                  <a:cubicBezTo>
                    <a:pt x="177" y="124"/>
                    <a:pt x="175" y="128"/>
                    <a:pt x="171" y="132"/>
                  </a:cubicBezTo>
                  <a:cubicBezTo>
                    <a:pt x="167" y="135"/>
                    <a:pt x="161" y="137"/>
                    <a:pt x="154" y="137"/>
                  </a:cubicBezTo>
                  <a:cubicBezTo>
                    <a:pt x="50" y="137"/>
                    <a:pt x="50" y="137"/>
                    <a:pt x="50" y="137"/>
                  </a:cubicBezTo>
                  <a:cubicBezTo>
                    <a:pt x="50" y="207"/>
                    <a:pt x="50" y="207"/>
                    <a:pt x="50" y="207"/>
                  </a:cubicBezTo>
                  <a:cubicBezTo>
                    <a:pt x="167" y="207"/>
                    <a:pt x="167" y="207"/>
                    <a:pt x="167" y="207"/>
                  </a:cubicBezTo>
                  <a:cubicBezTo>
                    <a:pt x="174" y="207"/>
                    <a:pt x="180" y="209"/>
                    <a:pt x="184" y="213"/>
                  </a:cubicBezTo>
                  <a:cubicBezTo>
                    <a:pt x="188" y="216"/>
                    <a:pt x="190" y="221"/>
                    <a:pt x="190" y="227"/>
                  </a:cubicBezTo>
                  <a:cubicBezTo>
                    <a:pt x="190" y="233"/>
                    <a:pt x="188" y="238"/>
                    <a:pt x="184" y="242"/>
                  </a:cubicBezTo>
                  <a:cubicBezTo>
                    <a:pt x="180" y="245"/>
                    <a:pt x="174" y="247"/>
                    <a:pt x="167" y="247"/>
                  </a:cubicBezTo>
                  <a:cubicBezTo>
                    <a:pt x="30" y="247"/>
                    <a:pt x="30" y="247"/>
                    <a:pt x="30" y="247"/>
                  </a:cubicBezTo>
                  <a:cubicBezTo>
                    <a:pt x="20" y="247"/>
                    <a:pt x="12" y="245"/>
                    <a:pt x="7" y="240"/>
                  </a:cubicBezTo>
                  <a:cubicBezTo>
                    <a:pt x="2" y="235"/>
                    <a:pt x="0" y="227"/>
                    <a:pt x="0" y="216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23"/>
                    <a:pt x="1" y="18"/>
                    <a:pt x="3" y="13"/>
                  </a:cubicBezTo>
                  <a:cubicBezTo>
                    <a:pt x="5" y="8"/>
                    <a:pt x="8" y="5"/>
                    <a:pt x="13" y="3"/>
                  </a:cubicBezTo>
                  <a:cubicBezTo>
                    <a:pt x="18" y="1"/>
                    <a:pt x="23" y="0"/>
                    <a:pt x="30" y="0"/>
                  </a:cubicBezTo>
                  <a:cubicBezTo>
                    <a:pt x="163" y="0"/>
                    <a:pt x="163" y="0"/>
                    <a:pt x="163" y="0"/>
                  </a:cubicBezTo>
                  <a:cubicBezTo>
                    <a:pt x="171" y="0"/>
                    <a:pt x="177" y="2"/>
                    <a:pt x="180" y="5"/>
                  </a:cubicBezTo>
                  <a:cubicBezTo>
                    <a:pt x="184" y="9"/>
                    <a:pt x="186" y="13"/>
                    <a:pt x="186" y="19"/>
                  </a:cubicBezTo>
                  <a:cubicBezTo>
                    <a:pt x="186" y="25"/>
                    <a:pt x="184" y="30"/>
                    <a:pt x="180" y="33"/>
                  </a:cubicBezTo>
                  <a:cubicBezTo>
                    <a:pt x="177" y="37"/>
                    <a:pt x="171" y="39"/>
                    <a:pt x="163" y="3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0" name="Freeform 16"/>
            <p:cNvSpPr>
              <a:spLocks/>
            </p:cNvSpPr>
            <p:nvPr/>
          </p:nvSpPr>
          <p:spPr bwMode="auto">
            <a:xfrm>
              <a:off x="3096" y="4291"/>
              <a:ext cx="93" cy="111"/>
            </a:xfrm>
            <a:custGeom>
              <a:avLst/>
              <a:gdLst>
                <a:gd name="T0" fmla="*/ 185 w 210"/>
                <a:gd name="T1" fmla="*/ 41 h 251"/>
                <a:gd name="T2" fmla="*/ 130 w 210"/>
                <a:gd name="T3" fmla="*/ 41 h 251"/>
                <a:gd name="T4" fmla="*/ 130 w 210"/>
                <a:gd name="T5" fmla="*/ 221 h 251"/>
                <a:gd name="T6" fmla="*/ 123 w 210"/>
                <a:gd name="T7" fmla="*/ 244 h 251"/>
                <a:gd name="T8" fmla="*/ 105 w 210"/>
                <a:gd name="T9" fmla="*/ 251 h 251"/>
                <a:gd name="T10" fmla="*/ 87 w 210"/>
                <a:gd name="T11" fmla="*/ 244 h 251"/>
                <a:gd name="T12" fmla="*/ 80 w 210"/>
                <a:gd name="T13" fmla="*/ 221 h 251"/>
                <a:gd name="T14" fmla="*/ 80 w 210"/>
                <a:gd name="T15" fmla="*/ 41 h 251"/>
                <a:gd name="T16" fmla="*/ 25 w 210"/>
                <a:gd name="T17" fmla="*/ 41 h 251"/>
                <a:gd name="T18" fmla="*/ 6 w 210"/>
                <a:gd name="T19" fmla="*/ 36 h 251"/>
                <a:gd name="T20" fmla="*/ 0 w 210"/>
                <a:gd name="T21" fmla="*/ 21 h 251"/>
                <a:gd name="T22" fmla="*/ 7 w 210"/>
                <a:gd name="T23" fmla="*/ 5 h 251"/>
                <a:gd name="T24" fmla="*/ 25 w 210"/>
                <a:gd name="T25" fmla="*/ 0 h 251"/>
                <a:gd name="T26" fmla="*/ 185 w 210"/>
                <a:gd name="T27" fmla="*/ 0 h 251"/>
                <a:gd name="T28" fmla="*/ 204 w 210"/>
                <a:gd name="T29" fmla="*/ 6 h 251"/>
                <a:gd name="T30" fmla="*/ 210 w 210"/>
                <a:gd name="T31" fmla="*/ 21 h 251"/>
                <a:gd name="T32" fmla="*/ 204 w 210"/>
                <a:gd name="T33" fmla="*/ 36 h 251"/>
                <a:gd name="T34" fmla="*/ 185 w 210"/>
                <a:gd name="T35" fmla="*/ 41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10" h="251">
                  <a:moveTo>
                    <a:pt x="185" y="41"/>
                  </a:moveTo>
                  <a:cubicBezTo>
                    <a:pt x="130" y="41"/>
                    <a:pt x="130" y="41"/>
                    <a:pt x="130" y="41"/>
                  </a:cubicBezTo>
                  <a:cubicBezTo>
                    <a:pt x="130" y="221"/>
                    <a:pt x="130" y="221"/>
                    <a:pt x="130" y="221"/>
                  </a:cubicBezTo>
                  <a:cubicBezTo>
                    <a:pt x="130" y="231"/>
                    <a:pt x="128" y="239"/>
                    <a:pt x="123" y="244"/>
                  </a:cubicBezTo>
                  <a:cubicBezTo>
                    <a:pt x="119" y="249"/>
                    <a:pt x="113" y="251"/>
                    <a:pt x="105" y="251"/>
                  </a:cubicBezTo>
                  <a:cubicBezTo>
                    <a:pt x="98" y="251"/>
                    <a:pt x="92" y="249"/>
                    <a:pt x="87" y="244"/>
                  </a:cubicBezTo>
                  <a:cubicBezTo>
                    <a:pt x="82" y="239"/>
                    <a:pt x="80" y="231"/>
                    <a:pt x="80" y="221"/>
                  </a:cubicBezTo>
                  <a:cubicBezTo>
                    <a:pt x="80" y="41"/>
                    <a:pt x="80" y="41"/>
                    <a:pt x="80" y="41"/>
                  </a:cubicBezTo>
                  <a:cubicBezTo>
                    <a:pt x="25" y="41"/>
                    <a:pt x="25" y="41"/>
                    <a:pt x="25" y="41"/>
                  </a:cubicBezTo>
                  <a:cubicBezTo>
                    <a:pt x="17" y="41"/>
                    <a:pt x="11" y="39"/>
                    <a:pt x="6" y="36"/>
                  </a:cubicBezTo>
                  <a:cubicBezTo>
                    <a:pt x="2" y="32"/>
                    <a:pt x="0" y="27"/>
                    <a:pt x="0" y="21"/>
                  </a:cubicBezTo>
                  <a:cubicBezTo>
                    <a:pt x="0" y="14"/>
                    <a:pt x="2" y="9"/>
                    <a:pt x="7" y="5"/>
                  </a:cubicBezTo>
                  <a:cubicBezTo>
                    <a:pt x="11" y="2"/>
                    <a:pt x="17" y="0"/>
                    <a:pt x="25" y="0"/>
                  </a:cubicBezTo>
                  <a:cubicBezTo>
                    <a:pt x="185" y="0"/>
                    <a:pt x="185" y="0"/>
                    <a:pt x="185" y="0"/>
                  </a:cubicBezTo>
                  <a:cubicBezTo>
                    <a:pt x="193" y="0"/>
                    <a:pt x="200" y="2"/>
                    <a:pt x="204" y="6"/>
                  </a:cubicBezTo>
                  <a:cubicBezTo>
                    <a:pt x="208" y="9"/>
                    <a:pt x="210" y="14"/>
                    <a:pt x="210" y="21"/>
                  </a:cubicBezTo>
                  <a:cubicBezTo>
                    <a:pt x="210" y="27"/>
                    <a:pt x="208" y="32"/>
                    <a:pt x="204" y="36"/>
                  </a:cubicBezTo>
                  <a:cubicBezTo>
                    <a:pt x="200" y="39"/>
                    <a:pt x="193" y="41"/>
                    <a:pt x="185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1" name="Oval 17"/>
            <p:cNvSpPr>
              <a:spLocks noChangeArrowheads="1"/>
            </p:cNvSpPr>
            <p:nvPr/>
          </p:nvSpPr>
          <p:spPr bwMode="auto">
            <a:xfrm>
              <a:off x="2956" y="3974"/>
              <a:ext cx="135" cy="13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" name="Freeform 18"/>
            <p:cNvSpPr>
              <a:spLocks noEditPoints="1"/>
            </p:cNvSpPr>
            <p:nvPr/>
          </p:nvSpPr>
          <p:spPr bwMode="auto">
            <a:xfrm>
              <a:off x="2790" y="3822"/>
              <a:ext cx="443" cy="442"/>
            </a:xfrm>
            <a:custGeom>
              <a:avLst/>
              <a:gdLst>
                <a:gd name="T0" fmla="*/ 500 w 1000"/>
                <a:gd name="T1" fmla="*/ 0 h 1000"/>
                <a:gd name="T2" fmla="*/ 0 w 1000"/>
                <a:gd name="T3" fmla="*/ 500 h 1000"/>
                <a:gd name="T4" fmla="*/ 500 w 1000"/>
                <a:gd name="T5" fmla="*/ 1000 h 1000"/>
                <a:gd name="T6" fmla="*/ 1000 w 1000"/>
                <a:gd name="T7" fmla="*/ 500 h 1000"/>
                <a:gd name="T8" fmla="*/ 500 w 1000"/>
                <a:gd name="T9" fmla="*/ 0 h 1000"/>
                <a:gd name="T10" fmla="*/ 735 w 1000"/>
                <a:gd name="T11" fmla="*/ 796 h 1000"/>
                <a:gd name="T12" fmla="*/ 661 w 1000"/>
                <a:gd name="T13" fmla="*/ 722 h 1000"/>
                <a:gd name="T14" fmla="*/ 677 w 1000"/>
                <a:gd name="T15" fmla="*/ 677 h 1000"/>
                <a:gd name="T16" fmla="*/ 639 w 1000"/>
                <a:gd name="T17" fmla="*/ 635 h 1000"/>
                <a:gd name="T18" fmla="*/ 528 w 1000"/>
                <a:gd name="T19" fmla="*/ 674 h 1000"/>
                <a:gd name="T20" fmla="*/ 490 w 1000"/>
                <a:gd name="T21" fmla="*/ 670 h 1000"/>
                <a:gd name="T22" fmla="*/ 472 w 1000"/>
                <a:gd name="T23" fmla="*/ 737 h 1000"/>
                <a:gd name="T24" fmla="*/ 518 w 1000"/>
                <a:gd name="T25" fmla="*/ 812 h 1000"/>
                <a:gd name="T26" fmla="*/ 433 w 1000"/>
                <a:gd name="T27" fmla="*/ 897 h 1000"/>
                <a:gd name="T28" fmla="*/ 348 w 1000"/>
                <a:gd name="T29" fmla="*/ 812 h 1000"/>
                <a:gd name="T30" fmla="*/ 433 w 1000"/>
                <a:gd name="T31" fmla="*/ 727 h 1000"/>
                <a:gd name="T32" fmla="*/ 447 w 1000"/>
                <a:gd name="T33" fmla="*/ 728 h 1000"/>
                <a:gd name="T34" fmla="*/ 465 w 1000"/>
                <a:gd name="T35" fmla="*/ 663 h 1000"/>
                <a:gd name="T36" fmla="*/ 351 w 1000"/>
                <a:gd name="T37" fmla="*/ 509 h 1000"/>
                <a:gd name="T38" fmla="*/ 299 w 1000"/>
                <a:gd name="T39" fmla="*/ 509 h 1000"/>
                <a:gd name="T40" fmla="*/ 242 w 1000"/>
                <a:gd name="T41" fmla="*/ 555 h 1000"/>
                <a:gd name="T42" fmla="*/ 183 w 1000"/>
                <a:gd name="T43" fmla="*/ 496 h 1000"/>
                <a:gd name="T44" fmla="*/ 242 w 1000"/>
                <a:gd name="T45" fmla="*/ 438 h 1000"/>
                <a:gd name="T46" fmla="*/ 299 w 1000"/>
                <a:gd name="T47" fmla="*/ 483 h 1000"/>
                <a:gd name="T48" fmla="*/ 351 w 1000"/>
                <a:gd name="T49" fmla="*/ 483 h 1000"/>
                <a:gd name="T50" fmla="*/ 390 w 1000"/>
                <a:gd name="T51" fmla="*/ 385 h 1000"/>
                <a:gd name="T52" fmla="*/ 332 w 1000"/>
                <a:gd name="T53" fmla="*/ 332 h 1000"/>
                <a:gd name="T54" fmla="*/ 284 w 1000"/>
                <a:gd name="T55" fmla="*/ 349 h 1000"/>
                <a:gd name="T56" fmla="*/ 205 w 1000"/>
                <a:gd name="T57" fmla="*/ 269 h 1000"/>
                <a:gd name="T58" fmla="*/ 284 w 1000"/>
                <a:gd name="T59" fmla="*/ 190 h 1000"/>
                <a:gd name="T60" fmla="*/ 363 w 1000"/>
                <a:gd name="T61" fmla="*/ 269 h 1000"/>
                <a:gd name="T62" fmla="*/ 350 w 1000"/>
                <a:gd name="T63" fmla="*/ 314 h 1000"/>
                <a:gd name="T64" fmla="*/ 408 w 1000"/>
                <a:gd name="T65" fmla="*/ 366 h 1000"/>
                <a:gd name="T66" fmla="*/ 528 w 1000"/>
                <a:gd name="T67" fmla="*/ 319 h 1000"/>
                <a:gd name="T68" fmla="*/ 593 w 1000"/>
                <a:gd name="T69" fmla="*/ 331 h 1000"/>
                <a:gd name="T70" fmla="*/ 625 w 1000"/>
                <a:gd name="T71" fmla="*/ 267 h 1000"/>
                <a:gd name="T72" fmla="*/ 605 w 1000"/>
                <a:gd name="T73" fmla="*/ 223 h 1000"/>
                <a:gd name="T74" fmla="*/ 663 w 1000"/>
                <a:gd name="T75" fmla="*/ 165 h 1000"/>
                <a:gd name="T76" fmla="*/ 722 w 1000"/>
                <a:gd name="T77" fmla="*/ 223 h 1000"/>
                <a:gd name="T78" fmla="*/ 663 w 1000"/>
                <a:gd name="T79" fmla="*/ 282 h 1000"/>
                <a:gd name="T80" fmla="*/ 648 w 1000"/>
                <a:gd name="T81" fmla="*/ 279 h 1000"/>
                <a:gd name="T82" fmla="*/ 617 w 1000"/>
                <a:gd name="T83" fmla="*/ 343 h 1000"/>
                <a:gd name="T84" fmla="*/ 705 w 1000"/>
                <a:gd name="T85" fmla="*/ 496 h 1000"/>
                <a:gd name="T86" fmla="*/ 658 w 1000"/>
                <a:gd name="T87" fmla="*/ 617 h 1000"/>
                <a:gd name="T88" fmla="*/ 696 w 1000"/>
                <a:gd name="T89" fmla="*/ 659 h 1000"/>
                <a:gd name="T90" fmla="*/ 735 w 1000"/>
                <a:gd name="T91" fmla="*/ 648 h 1000"/>
                <a:gd name="T92" fmla="*/ 809 w 1000"/>
                <a:gd name="T93" fmla="*/ 722 h 1000"/>
                <a:gd name="T94" fmla="*/ 735 w 1000"/>
                <a:gd name="T95" fmla="*/ 796 h 10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000" h="1000">
                  <a:moveTo>
                    <a:pt x="500" y="0"/>
                  </a:moveTo>
                  <a:cubicBezTo>
                    <a:pt x="224" y="0"/>
                    <a:pt x="0" y="224"/>
                    <a:pt x="0" y="500"/>
                  </a:cubicBezTo>
                  <a:cubicBezTo>
                    <a:pt x="0" y="776"/>
                    <a:pt x="224" y="1000"/>
                    <a:pt x="500" y="1000"/>
                  </a:cubicBezTo>
                  <a:cubicBezTo>
                    <a:pt x="776" y="1000"/>
                    <a:pt x="1000" y="776"/>
                    <a:pt x="1000" y="500"/>
                  </a:cubicBezTo>
                  <a:cubicBezTo>
                    <a:pt x="1000" y="224"/>
                    <a:pt x="776" y="0"/>
                    <a:pt x="500" y="0"/>
                  </a:cubicBezTo>
                  <a:close/>
                  <a:moveTo>
                    <a:pt x="735" y="796"/>
                  </a:moveTo>
                  <a:cubicBezTo>
                    <a:pt x="694" y="796"/>
                    <a:pt x="661" y="763"/>
                    <a:pt x="661" y="722"/>
                  </a:cubicBezTo>
                  <a:cubicBezTo>
                    <a:pt x="661" y="705"/>
                    <a:pt x="667" y="689"/>
                    <a:pt x="677" y="677"/>
                  </a:cubicBezTo>
                  <a:cubicBezTo>
                    <a:pt x="639" y="635"/>
                    <a:pt x="639" y="635"/>
                    <a:pt x="639" y="635"/>
                  </a:cubicBezTo>
                  <a:cubicBezTo>
                    <a:pt x="608" y="659"/>
                    <a:pt x="570" y="674"/>
                    <a:pt x="528" y="674"/>
                  </a:cubicBezTo>
                  <a:cubicBezTo>
                    <a:pt x="515" y="674"/>
                    <a:pt x="502" y="672"/>
                    <a:pt x="490" y="670"/>
                  </a:cubicBezTo>
                  <a:cubicBezTo>
                    <a:pt x="472" y="737"/>
                    <a:pt x="472" y="737"/>
                    <a:pt x="472" y="737"/>
                  </a:cubicBezTo>
                  <a:cubicBezTo>
                    <a:pt x="499" y="751"/>
                    <a:pt x="518" y="779"/>
                    <a:pt x="518" y="812"/>
                  </a:cubicBezTo>
                  <a:cubicBezTo>
                    <a:pt x="518" y="859"/>
                    <a:pt x="480" y="897"/>
                    <a:pt x="433" y="897"/>
                  </a:cubicBezTo>
                  <a:cubicBezTo>
                    <a:pt x="386" y="897"/>
                    <a:pt x="348" y="859"/>
                    <a:pt x="348" y="812"/>
                  </a:cubicBezTo>
                  <a:cubicBezTo>
                    <a:pt x="348" y="765"/>
                    <a:pt x="386" y="727"/>
                    <a:pt x="433" y="727"/>
                  </a:cubicBezTo>
                  <a:cubicBezTo>
                    <a:pt x="438" y="727"/>
                    <a:pt x="442" y="728"/>
                    <a:pt x="447" y="728"/>
                  </a:cubicBezTo>
                  <a:cubicBezTo>
                    <a:pt x="465" y="663"/>
                    <a:pt x="465" y="663"/>
                    <a:pt x="465" y="663"/>
                  </a:cubicBezTo>
                  <a:cubicBezTo>
                    <a:pt x="402" y="639"/>
                    <a:pt x="356" y="580"/>
                    <a:pt x="351" y="509"/>
                  </a:cubicBezTo>
                  <a:cubicBezTo>
                    <a:pt x="299" y="509"/>
                    <a:pt x="299" y="509"/>
                    <a:pt x="299" y="509"/>
                  </a:cubicBezTo>
                  <a:cubicBezTo>
                    <a:pt x="293" y="535"/>
                    <a:pt x="270" y="555"/>
                    <a:pt x="242" y="555"/>
                  </a:cubicBezTo>
                  <a:cubicBezTo>
                    <a:pt x="210" y="555"/>
                    <a:pt x="183" y="529"/>
                    <a:pt x="183" y="496"/>
                  </a:cubicBezTo>
                  <a:cubicBezTo>
                    <a:pt x="183" y="464"/>
                    <a:pt x="210" y="438"/>
                    <a:pt x="242" y="438"/>
                  </a:cubicBezTo>
                  <a:cubicBezTo>
                    <a:pt x="270" y="438"/>
                    <a:pt x="293" y="457"/>
                    <a:pt x="299" y="483"/>
                  </a:cubicBezTo>
                  <a:cubicBezTo>
                    <a:pt x="351" y="483"/>
                    <a:pt x="351" y="483"/>
                    <a:pt x="351" y="483"/>
                  </a:cubicBezTo>
                  <a:cubicBezTo>
                    <a:pt x="353" y="446"/>
                    <a:pt x="368" y="412"/>
                    <a:pt x="390" y="385"/>
                  </a:cubicBezTo>
                  <a:cubicBezTo>
                    <a:pt x="332" y="332"/>
                    <a:pt x="332" y="332"/>
                    <a:pt x="332" y="332"/>
                  </a:cubicBezTo>
                  <a:cubicBezTo>
                    <a:pt x="319" y="343"/>
                    <a:pt x="302" y="349"/>
                    <a:pt x="284" y="349"/>
                  </a:cubicBezTo>
                  <a:cubicBezTo>
                    <a:pt x="240" y="349"/>
                    <a:pt x="205" y="313"/>
                    <a:pt x="205" y="269"/>
                  </a:cubicBezTo>
                  <a:cubicBezTo>
                    <a:pt x="205" y="226"/>
                    <a:pt x="240" y="190"/>
                    <a:pt x="284" y="190"/>
                  </a:cubicBezTo>
                  <a:cubicBezTo>
                    <a:pt x="328" y="190"/>
                    <a:pt x="363" y="226"/>
                    <a:pt x="363" y="269"/>
                  </a:cubicBezTo>
                  <a:cubicBezTo>
                    <a:pt x="363" y="286"/>
                    <a:pt x="358" y="301"/>
                    <a:pt x="350" y="314"/>
                  </a:cubicBezTo>
                  <a:cubicBezTo>
                    <a:pt x="408" y="366"/>
                    <a:pt x="408" y="366"/>
                    <a:pt x="408" y="366"/>
                  </a:cubicBezTo>
                  <a:cubicBezTo>
                    <a:pt x="439" y="337"/>
                    <a:pt x="482" y="319"/>
                    <a:pt x="528" y="319"/>
                  </a:cubicBezTo>
                  <a:cubicBezTo>
                    <a:pt x="551" y="319"/>
                    <a:pt x="573" y="323"/>
                    <a:pt x="593" y="331"/>
                  </a:cubicBezTo>
                  <a:cubicBezTo>
                    <a:pt x="625" y="267"/>
                    <a:pt x="625" y="267"/>
                    <a:pt x="625" y="267"/>
                  </a:cubicBezTo>
                  <a:cubicBezTo>
                    <a:pt x="613" y="257"/>
                    <a:pt x="605" y="241"/>
                    <a:pt x="605" y="223"/>
                  </a:cubicBezTo>
                  <a:cubicBezTo>
                    <a:pt x="605" y="191"/>
                    <a:pt x="631" y="165"/>
                    <a:pt x="663" y="165"/>
                  </a:cubicBezTo>
                  <a:cubicBezTo>
                    <a:pt x="696" y="165"/>
                    <a:pt x="722" y="191"/>
                    <a:pt x="722" y="223"/>
                  </a:cubicBezTo>
                  <a:cubicBezTo>
                    <a:pt x="722" y="255"/>
                    <a:pt x="696" y="282"/>
                    <a:pt x="663" y="282"/>
                  </a:cubicBezTo>
                  <a:cubicBezTo>
                    <a:pt x="658" y="282"/>
                    <a:pt x="653" y="281"/>
                    <a:pt x="648" y="279"/>
                  </a:cubicBezTo>
                  <a:cubicBezTo>
                    <a:pt x="617" y="343"/>
                    <a:pt x="617" y="343"/>
                    <a:pt x="617" y="343"/>
                  </a:cubicBezTo>
                  <a:cubicBezTo>
                    <a:pt x="670" y="374"/>
                    <a:pt x="705" y="431"/>
                    <a:pt x="705" y="496"/>
                  </a:cubicBezTo>
                  <a:cubicBezTo>
                    <a:pt x="705" y="543"/>
                    <a:pt x="687" y="585"/>
                    <a:pt x="658" y="617"/>
                  </a:cubicBezTo>
                  <a:cubicBezTo>
                    <a:pt x="696" y="659"/>
                    <a:pt x="696" y="659"/>
                    <a:pt x="696" y="659"/>
                  </a:cubicBezTo>
                  <a:cubicBezTo>
                    <a:pt x="707" y="652"/>
                    <a:pt x="721" y="648"/>
                    <a:pt x="735" y="648"/>
                  </a:cubicBezTo>
                  <a:cubicBezTo>
                    <a:pt x="776" y="648"/>
                    <a:pt x="809" y="681"/>
                    <a:pt x="809" y="722"/>
                  </a:cubicBezTo>
                  <a:cubicBezTo>
                    <a:pt x="809" y="763"/>
                    <a:pt x="776" y="796"/>
                    <a:pt x="735" y="79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63" name="Group 55">
            <a:extLst>
              <a:ext uri="{FF2B5EF4-FFF2-40B4-BE49-F238E27FC236}">
                <a16:creationId xmlns:a16="http://schemas.microsoft.com/office/drawing/2014/main" id="{3938541F-B280-48F1-9DAE-E7DADA8883D1}"/>
              </a:ext>
            </a:extLst>
          </p:cNvPr>
          <p:cNvGrpSpPr/>
          <p:nvPr/>
        </p:nvGrpSpPr>
        <p:grpSpPr>
          <a:xfrm rot="10800000">
            <a:off x="8090570" y="833513"/>
            <a:ext cx="664210" cy="664210"/>
            <a:chOff x="3933577" y="2336801"/>
            <a:chExt cx="1295400" cy="1295400"/>
          </a:xfrm>
        </p:grpSpPr>
        <p:sp>
          <p:nvSpPr>
            <p:cNvPr id="64" name="Oval 56">
              <a:extLst>
                <a:ext uri="{FF2B5EF4-FFF2-40B4-BE49-F238E27FC236}">
                  <a16:creationId xmlns:a16="http://schemas.microsoft.com/office/drawing/2014/main" id="{58C996B2-4110-407C-9F92-6A7015DE1540}"/>
                </a:ext>
              </a:extLst>
            </p:cNvPr>
            <p:cNvSpPr/>
            <p:nvPr/>
          </p:nvSpPr>
          <p:spPr>
            <a:xfrm>
              <a:off x="3933577" y="2336801"/>
              <a:ext cx="1295400" cy="1295400"/>
            </a:xfrm>
            <a:prstGeom prst="ellipse">
              <a:avLst/>
            </a:prstGeom>
            <a:gradFill flip="none" rotWithShape="1">
              <a:gsLst>
                <a:gs pos="48000">
                  <a:schemeClr val="tx1">
                    <a:alpha val="0"/>
                  </a:schemeClr>
                </a:gs>
                <a:gs pos="100000">
                  <a:schemeClr val="tx1">
                    <a:alpha val="35000"/>
                  </a:schemeClr>
                </a:gs>
              </a:gsLst>
              <a:lin ang="5400000" scaled="1"/>
              <a:tileRect/>
            </a:gradFill>
            <a:ln w="9525">
              <a:noFill/>
            </a:ln>
            <a:effectLst>
              <a:outerShdw blurRad="50800" dist="38100" dir="16200000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5" name="Oval 57">
              <a:extLst>
                <a:ext uri="{FF2B5EF4-FFF2-40B4-BE49-F238E27FC236}">
                  <a16:creationId xmlns:a16="http://schemas.microsoft.com/office/drawing/2014/main" id="{A93C87FA-B5D8-4BA1-89FC-762964449E89}"/>
                </a:ext>
              </a:extLst>
            </p:cNvPr>
            <p:cNvSpPr/>
            <p:nvPr/>
          </p:nvSpPr>
          <p:spPr>
            <a:xfrm>
              <a:off x="3933577" y="2336801"/>
              <a:ext cx="1295400" cy="1295400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66" name="Oval 59">
            <a:extLst>
              <a:ext uri="{FF2B5EF4-FFF2-40B4-BE49-F238E27FC236}">
                <a16:creationId xmlns:a16="http://schemas.microsoft.com/office/drawing/2014/main" id="{4B41819B-2DD2-4424-8FE4-A73317EEFE04}"/>
              </a:ext>
            </a:extLst>
          </p:cNvPr>
          <p:cNvSpPr/>
          <p:nvPr/>
        </p:nvSpPr>
        <p:spPr>
          <a:xfrm>
            <a:off x="8122961" y="858819"/>
            <a:ext cx="602372" cy="602372"/>
          </a:xfrm>
          <a:prstGeom prst="ellipse">
            <a:avLst/>
          </a:prstGeom>
          <a:solidFill>
            <a:schemeClr val="accent2"/>
          </a:solidFill>
          <a:ln w="9525">
            <a:noFill/>
          </a:ln>
          <a:effectLst>
            <a:innerShdw blurRad="165100" dist="50800" dir="5400000">
              <a:prstClr val="black">
                <a:alpha val="36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67" name="Group 4"/>
          <p:cNvGrpSpPr>
            <a:grpSpLocks noChangeAspect="1"/>
          </p:cNvGrpSpPr>
          <p:nvPr/>
        </p:nvGrpSpPr>
        <p:grpSpPr bwMode="auto">
          <a:xfrm>
            <a:off x="8263740" y="957917"/>
            <a:ext cx="322321" cy="423412"/>
            <a:chOff x="4373" y="3852"/>
            <a:chExt cx="440" cy="578"/>
          </a:xfrm>
          <a:solidFill>
            <a:schemeClr val="bg1"/>
          </a:solidFill>
        </p:grpSpPr>
        <p:sp>
          <p:nvSpPr>
            <p:cNvPr id="68" name="Freeform 5"/>
            <p:cNvSpPr>
              <a:spLocks noEditPoints="1"/>
            </p:cNvSpPr>
            <p:nvPr/>
          </p:nvSpPr>
          <p:spPr bwMode="auto">
            <a:xfrm>
              <a:off x="4425" y="4318"/>
              <a:ext cx="20" cy="112"/>
            </a:xfrm>
            <a:custGeom>
              <a:avLst/>
              <a:gdLst>
                <a:gd name="T0" fmla="*/ 23 w 46"/>
                <a:gd name="T1" fmla="*/ 45 h 253"/>
                <a:gd name="T2" fmla="*/ 7 w 46"/>
                <a:gd name="T3" fmla="*/ 39 h 253"/>
                <a:gd name="T4" fmla="*/ 0 w 46"/>
                <a:gd name="T5" fmla="*/ 22 h 253"/>
                <a:gd name="T6" fmla="*/ 7 w 46"/>
                <a:gd name="T7" fmla="*/ 6 h 253"/>
                <a:gd name="T8" fmla="*/ 23 w 46"/>
                <a:gd name="T9" fmla="*/ 0 h 253"/>
                <a:gd name="T10" fmla="*/ 39 w 46"/>
                <a:gd name="T11" fmla="*/ 6 h 253"/>
                <a:gd name="T12" fmla="*/ 46 w 46"/>
                <a:gd name="T13" fmla="*/ 22 h 253"/>
                <a:gd name="T14" fmla="*/ 39 w 46"/>
                <a:gd name="T15" fmla="*/ 39 h 253"/>
                <a:gd name="T16" fmla="*/ 23 w 46"/>
                <a:gd name="T17" fmla="*/ 45 h 253"/>
                <a:gd name="T18" fmla="*/ 46 w 46"/>
                <a:gd name="T19" fmla="*/ 92 h 253"/>
                <a:gd name="T20" fmla="*/ 46 w 46"/>
                <a:gd name="T21" fmla="*/ 225 h 253"/>
                <a:gd name="T22" fmla="*/ 39 w 46"/>
                <a:gd name="T23" fmla="*/ 246 h 253"/>
                <a:gd name="T24" fmla="*/ 23 w 46"/>
                <a:gd name="T25" fmla="*/ 253 h 253"/>
                <a:gd name="T26" fmla="*/ 6 w 46"/>
                <a:gd name="T27" fmla="*/ 246 h 253"/>
                <a:gd name="T28" fmla="*/ 0 w 46"/>
                <a:gd name="T29" fmla="*/ 225 h 253"/>
                <a:gd name="T30" fmla="*/ 0 w 46"/>
                <a:gd name="T31" fmla="*/ 94 h 253"/>
                <a:gd name="T32" fmla="*/ 6 w 46"/>
                <a:gd name="T33" fmla="*/ 73 h 253"/>
                <a:gd name="T34" fmla="*/ 23 w 46"/>
                <a:gd name="T35" fmla="*/ 66 h 253"/>
                <a:gd name="T36" fmla="*/ 39 w 46"/>
                <a:gd name="T37" fmla="*/ 73 h 253"/>
                <a:gd name="T38" fmla="*/ 46 w 46"/>
                <a:gd name="T39" fmla="*/ 92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6" h="253">
                  <a:moveTo>
                    <a:pt x="23" y="45"/>
                  </a:moveTo>
                  <a:cubicBezTo>
                    <a:pt x="17" y="45"/>
                    <a:pt x="11" y="43"/>
                    <a:pt x="7" y="39"/>
                  </a:cubicBezTo>
                  <a:cubicBezTo>
                    <a:pt x="2" y="35"/>
                    <a:pt x="0" y="30"/>
                    <a:pt x="0" y="22"/>
                  </a:cubicBezTo>
                  <a:cubicBezTo>
                    <a:pt x="0" y="16"/>
                    <a:pt x="2" y="11"/>
                    <a:pt x="7" y="6"/>
                  </a:cubicBezTo>
                  <a:cubicBezTo>
                    <a:pt x="12" y="2"/>
                    <a:pt x="17" y="0"/>
                    <a:pt x="23" y="0"/>
                  </a:cubicBezTo>
                  <a:cubicBezTo>
                    <a:pt x="29" y="0"/>
                    <a:pt x="35" y="2"/>
                    <a:pt x="39" y="6"/>
                  </a:cubicBezTo>
                  <a:cubicBezTo>
                    <a:pt x="44" y="10"/>
                    <a:pt x="46" y="15"/>
                    <a:pt x="46" y="22"/>
                  </a:cubicBezTo>
                  <a:cubicBezTo>
                    <a:pt x="46" y="29"/>
                    <a:pt x="44" y="35"/>
                    <a:pt x="39" y="39"/>
                  </a:cubicBezTo>
                  <a:cubicBezTo>
                    <a:pt x="35" y="43"/>
                    <a:pt x="29" y="45"/>
                    <a:pt x="23" y="45"/>
                  </a:cubicBezTo>
                  <a:close/>
                  <a:moveTo>
                    <a:pt x="46" y="92"/>
                  </a:moveTo>
                  <a:cubicBezTo>
                    <a:pt x="46" y="225"/>
                    <a:pt x="46" y="225"/>
                    <a:pt x="46" y="225"/>
                  </a:cubicBezTo>
                  <a:cubicBezTo>
                    <a:pt x="46" y="235"/>
                    <a:pt x="44" y="242"/>
                    <a:pt x="39" y="246"/>
                  </a:cubicBezTo>
                  <a:cubicBezTo>
                    <a:pt x="35" y="251"/>
                    <a:pt x="30" y="253"/>
                    <a:pt x="23" y="253"/>
                  </a:cubicBezTo>
                  <a:cubicBezTo>
                    <a:pt x="16" y="253"/>
                    <a:pt x="11" y="251"/>
                    <a:pt x="6" y="246"/>
                  </a:cubicBezTo>
                  <a:cubicBezTo>
                    <a:pt x="2" y="241"/>
                    <a:pt x="0" y="234"/>
                    <a:pt x="0" y="225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85"/>
                    <a:pt x="2" y="78"/>
                    <a:pt x="6" y="73"/>
                  </a:cubicBezTo>
                  <a:cubicBezTo>
                    <a:pt x="11" y="69"/>
                    <a:pt x="16" y="66"/>
                    <a:pt x="23" y="66"/>
                  </a:cubicBezTo>
                  <a:cubicBezTo>
                    <a:pt x="30" y="66"/>
                    <a:pt x="35" y="69"/>
                    <a:pt x="39" y="73"/>
                  </a:cubicBezTo>
                  <a:cubicBezTo>
                    <a:pt x="44" y="78"/>
                    <a:pt x="46" y="84"/>
                    <a:pt x="46" y="9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9" name="Freeform 6"/>
            <p:cNvSpPr>
              <a:spLocks/>
            </p:cNvSpPr>
            <p:nvPr/>
          </p:nvSpPr>
          <p:spPr bwMode="auto">
            <a:xfrm>
              <a:off x="4472" y="4318"/>
              <a:ext cx="86" cy="112"/>
            </a:xfrm>
            <a:custGeom>
              <a:avLst/>
              <a:gdLst>
                <a:gd name="T0" fmla="*/ 196 w 196"/>
                <a:gd name="T1" fmla="*/ 177 h 255"/>
                <a:gd name="T2" fmla="*/ 185 w 196"/>
                <a:gd name="T3" fmla="*/ 217 h 255"/>
                <a:gd name="T4" fmla="*/ 151 w 196"/>
                <a:gd name="T5" fmla="*/ 245 h 255"/>
                <a:gd name="T6" fmla="*/ 98 w 196"/>
                <a:gd name="T7" fmla="*/ 255 h 255"/>
                <a:gd name="T8" fmla="*/ 38 w 196"/>
                <a:gd name="T9" fmla="*/ 242 h 255"/>
                <a:gd name="T10" fmla="*/ 11 w 196"/>
                <a:gd name="T11" fmla="*/ 215 h 255"/>
                <a:gd name="T12" fmla="*/ 0 w 196"/>
                <a:gd name="T13" fmla="*/ 183 h 255"/>
                <a:gd name="T14" fmla="*/ 6 w 196"/>
                <a:gd name="T15" fmla="*/ 167 h 255"/>
                <a:gd name="T16" fmla="*/ 22 w 196"/>
                <a:gd name="T17" fmla="*/ 161 h 255"/>
                <a:gd name="T18" fmla="*/ 36 w 196"/>
                <a:gd name="T19" fmla="*/ 166 h 255"/>
                <a:gd name="T20" fmla="*/ 45 w 196"/>
                <a:gd name="T21" fmla="*/ 181 h 255"/>
                <a:gd name="T22" fmla="*/ 55 w 196"/>
                <a:gd name="T23" fmla="*/ 200 h 255"/>
                <a:gd name="T24" fmla="*/ 71 w 196"/>
                <a:gd name="T25" fmla="*/ 213 h 255"/>
                <a:gd name="T26" fmla="*/ 97 w 196"/>
                <a:gd name="T27" fmla="*/ 219 h 255"/>
                <a:gd name="T28" fmla="*/ 133 w 196"/>
                <a:gd name="T29" fmla="*/ 208 h 255"/>
                <a:gd name="T30" fmla="*/ 147 w 196"/>
                <a:gd name="T31" fmla="*/ 182 h 255"/>
                <a:gd name="T32" fmla="*/ 139 w 196"/>
                <a:gd name="T33" fmla="*/ 162 h 255"/>
                <a:gd name="T34" fmla="*/ 120 w 196"/>
                <a:gd name="T35" fmla="*/ 151 h 255"/>
                <a:gd name="T36" fmla="*/ 88 w 196"/>
                <a:gd name="T37" fmla="*/ 142 h 255"/>
                <a:gd name="T38" fmla="*/ 44 w 196"/>
                <a:gd name="T39" fmla="*/ 128 h 255"/>
                <a:gd name="T40" fmla="*/ 15 w 196"/>
                <a:gd name="T41" fmla="*/ 105 h 255"/>
                <a:gd name="T42" fmla="*/ 5 w 196"/>
                <a:gd name="T43" fmla="*/ 69 h 255"/>
                <a:gd name="T44" fmla="*/ 16 w 196"/>
                <a:gd name="T45" fmla="*/ 33 h 255"/>
                <a:gd name="T46" fmla="*/ 48 w 196"/>
                <a:gd name="T47" fmla="*/ 8 h 255"/>
                <a:gd name="T48" fmla="*/ 98 w 196"/>
                <a:gd name="T49" fmla="*/ 0 h 255"/>
                <a:gd name="T50" fmla="*/ 137 w 196"/>
                <a:gd name="T51" fmla="*/ 6 h 255"/>
                <a:gd name="T52" fmla="*/ 164 w 196"/>
                <a:gd name="T53" fmla="*/ 21 h 255"/>
                <a:gd name="T54" fmla="*/ 180 w 196"/>
                <a:gd name="T55" fmla="*/ 40 h 255"/>
                <a:gd name="T56" fmla="*/ 186 w 196"/>
                <a:gd name="T57" fmla="*/ 60 h 255"/>
                <a:gd name="T58" fmla="*/ 179 w 196"/>
                <a:gd name="T59" fmla="*/ 76 h 255"/>
                <a:gd name="T60" fmla="*/ 163 w 196"/>
                <a:gd name="T61" fmla="*/ 84 h 255"/>
                <a:gd name="T62" fmla="*/ 150 w 196"/>
                <a:gd name="T63" fmla="*/ 79 h 255"/>
                <a:gd name="T64" fmla="*/ 141 w 196"/>
                <a:gd name="T65" fmla="*/ 65 h 255"/>
                <a:gd name="T66" fmla="*/ 125 w 196"/>
                <a:gd name="T67" fmla="*/ 43 h 255"/>
                <a:gd name="T68" fmla="*/ 94 w 196"/>
                <a:gd name="T69" fmla="*/ 36 h 255"/>
                <a:gd name="T70" fmla="*/ 63 w 196"/>
                <a:gd name="T71" fmla="*/ 44 h 255"/>
                <a:gd name="T72" fmla="*/ 51 w 196"/>
                <a:gd name="T73" fmla="*/ 65 h 255"/>
                <a:gd name="T74" fmla="*/ 55 w 196"/>
                <a:gd name="T75" fmla="*/ 77 h 255"/>
                <a:gd name="T76" fmla="*/ 66 w 196"/>
                <a:gd name="T77" fmla="*/ 87 h 255"/>
                <a:gd name="T78" fmla="*/ 81 w 196"/>
                <a:gd name="T79" fmla="*/ 93 h 255"/>
                <a:gd name="T80" fmla="*/ 104 w 196"/>
                <a:gd name="T81" fmla="*/ 99 h 255"/>
                <a:gd name="T82" fmla="*/ 142 w 196"/>
                <a:gd name="T83" fmla="*/ 110 h 255"/>
                <a:gd name="T84" fmla="*/ 171 w 196"/>
                <a:gd name="T85" fmla="*/ 124 h 255"/>
                <a:gd name="T86" fmla="*/ 190 w 196"/>
                <a:gd name="T87" fmla="*/ 145 h 255"/>
                <a:gd name="T88" fmla="*/ 196 w 196"/>
                <a:gd name="T89" fmla="*/ 177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96" h="255">
                  <a:moveTo>
                    <a:pt x="196" y="177"/>
                  </a:moveTo>
                  <a:cubicBezTo>
                    <a:pt x="196" y="192"/>
                    <a:pt x="192" y="205"/>
                    <a:pt x="185" y="217"/>
                  </a:cubicBezTo>
                  <a:cubicBezTo>
                    <a:pt x="177" y="229"/>
                    <a:pt x="166" y="239"/>
                    <a:pt x="151" y="245"/>
                  </a:cubicBezTo>
                  <a:cubicBezTo>
                    <a:pt x="136" y="252"/>
                    <a:pt x="119" y="255"/>
                    <a:pt x="98" y="255"/>
                  </a:cubicBezTo>
                  <a:cubicBezTo>
                    <a:pt x="74" y="255"/>
                    <a:pt x="54" y="251"/>
                    <a:pt x="38" y="242"/>
                  </a:cubicBezTo>
                  <a:cubicBezTo>
                    <a:pt x="27" y="235"/>
                    <a:pt x="18" y="226"/>
                    <a:pt x="11" y="215"/>
                  </a:cubicBezTo>
                  <a:cubicBezTo>
                    <a:pt x="4" y="204"/>
                    <a:pt x="0" y="193"/>
                    <a:pt x="0" y="183"/>
                  </a:cubicBezTo>
                  <a:cubicBezTo>
                    <a:pt x="0" y="177"/>
                    <a:pt x="2" y="171"/>
                    <a:pt x="6" y="167"/>
                  </a:cubicBezTo>
                  <a:cubicBezTo>
                    <a:pt x="11" y="163"/>
                    <a:pt x="16" y="161"/>
                    <a:pt x="22" y="161"/>
                  </a:cubicBezTo>
                  <a:cubicBezTo>
                    <a:pt x="28" y="161"/>
                    <a:pt x="32" y="162"/>
                    <a:pt x="36" y="166"/>
                  </a:cubicBezTo>
                  <a:cubicBezTo>
                    <a:pt x="39" y="169"/>
                    <a:pt x="43" y="174"/>
                    <a:pt x="45" y="181"/>
                  </a:cubicBezTo>
                  <a:cubicBezTo>
                    <a:pt x="48" y="189"/>
                    <a:pt x="52" y="195"/>
                    <a:pt x="55" y="200"/>
                  </a:cubicBezTo>
                  <a:cubicBezTo>
                    <a:pt x="59" y="206"/>
                    <a:pt x="64" y="210"/>
                    <a:pt x="71" y="213"/>
                  </a:cubicBezTo>
                  <a:cubicBezTo>
                    <a:pt x="77" y="217"/>
                    <a:pt x="86" y="219"/>
                    <a:pt x="97" y="219"/>
                  </a:cubicBezTo>
                  <a:cubicBezTo>
                    <a:pt x="112" y="219"/>
                    <a:pt x="124" y="215"/>
                    <a:pt x="133" y="208"/>
                  </a:cubicBezTo>
                  <a:cubicBezTo>
                    <a:pt x="142" y="201"/>
                    <a:pt x="147" y="193"/>
                    <a:pt x="147" y="182"/>
                  </a:cubicBezTo>
                  <a:cubicBezTo>
                    <a:pt x="147" y="174"/>
                    <a:pt x="144" y="168"/>
                    <a:pt x="139" y="162"/>
                  </a:cubicBezTo>
                  <a:cubicBezTo>
                    <a:pt x="134" y="157"/>
                    <a:pt x="128" y="153"/>
                    <a:pt x="120" y="151"/>
                  </a:cubicBezTo>
                  <a:cubicBezTo>
                    <a:pt x="112" y="148"/>
                    <a:pt x="102" y="145"/>
                    <a:pt x="88" y="142"/>
                  </a:cubicBezTo>
                  <a:cubicBezTo>
                    <a:pt x="71" y="138"/>
                    <a:pt x="56" y="133"/>
                    <a:pt x="44" y="128"/>
                  </a:cubicBezTo>
                  <a:cubicBezTo>
                    <a:pt x="32" y="122"/>
                    <a:pt x="22" y="114"/>
                    <a:pt x="15" y="105"/>
                  </a:cubicBezTo>
                  <a:cubicBezTo>
                    <a:pt x="8" y="95"/>
                    <a:pt x="5" y="83"/>
                    <a:pt x="5" y="69"/>
                  </a:cubicBezTo>
                  <a:cubicBezTo>
                    <a:pt x="5" y="55"/>
                    <a:pt x="8" y="43"/>
                    <a:pt x="16" y="33"/>
                  </a:cubicBezTo>
                  <a:cubicBezTo>
                    <a:pt x="23" y="22"/>
                    <a:pt x="34" y="14"/>
                    <a:pt x="48" y="8"/>
                  </a:cubicBezTo>
                  <a:cubicBezTo>
                    <a:pt x="62" y="3"/>
                    <a:pt x="79" y="0"/>
                    <a:pt x="98" y="0"/>
                  </a:cubicBezTo>
                  <a:cubicBezTo>
                    <a:pt x="113" y="0"/>
                    <a:pt x="126" y="2"/>
                    <a:pt x="137" y="6"/>
                  </a:cubicBezTo>
                  <a:cubicBezTo>
                    <a:pt x="148" y="9"/>
                    <a:pt x="157" y="14"/>
                    <a:pt x="164" y="21"/>
                  </a:cubicBezTo>
                  <a:cubicBezTo>
                    <a:pt x="172" y="27"/>
                    <a:pt x="177" y="33"/>
                    <a:pt x="180" y="40"/>
                  </a:cubicBezTo>
                  <a:cubicBezTo>
                    <a:pt x="184" y="47"/>
                    <a:pt x="186" y="54"/>
                    <a:pt x="186" y="60"/>
                  </a:cubicBezTo>
                  <a:cubicBezTo>
                    <a:pt x="186" y="66"/>
                    <a:pt x="183" y="72"/>
                    <a:pt x="179" y="76"/>
                  </a:cubicBezTo>
                  <a:cubicBezTo>
                    <a:pt x="175" y="81"/>
                    <a:pt x="170" y="84"/>
                    <a:pt x="163" y="84"/>
                  </a:cubicBezTo>
                  <a:cubicBezTo>
                    <a:pt x="158" y="84"/>
                    <a:pt x="153" y="82"/>
                    <a:pt x="150" y="79"/>
                  </a:cubicBezTo>
                  <a:cubicBezTo>
                    <a:pt x="147" y="76"/>
                    <a:pt x="144" y="72"/>
                    <a:pt x="141" y="65"/>
                  </a:cubicBezTo>
                  <a:cubicBezTo>
                    <a:pt x="136" y="56"/>
                    <a:pt x="131" y="49"/>
                    <a:pt x="125" y="43"/>
                  </a:cubicBezTo>
                  <a:cubicBezTo>
                    <a:pt x="118" y="38"/>
                    <a:pt x="108" y="36"/>
                    <a:pt x="94" y="36"/>
                  </a:cubicBezTo>
                  <a:cubicBezTo>
                    <a:pt x="81" y="36"/>
                    <a:pt x="71" y="38"/>
                    <a:pt x="63" y="44"/>
                  </a:cubicBezTo>
                  <a:cubicBezTo>
                    <a:pt x="55" y="50"/>
                    <a:pt x="51" y="57"/>
                    <a:pt x="51" y="65"/>
                  </a:cubicBezTo>
                  <a:cubicBezTo>
                    <a:pt x="51" y="69"/>
                    <a:pt x="52" y="74"/>
                    <a:pt x="55" y="77"/>
                  </a:cubicBezTo>
                  <a:cubicBezTo>
                    <a:pt x="58" y="81"/>
                    <a:pt x="62" y="84"/>
                    <a:pt x="66" y="87"/>
                  </a:cubicBezTo>
                  <a:cubicBezTo>
                    <a:pt x="71" y="89"/>
                    <a:pt x="76" y="91"/>
                    <a:pt x="81" y="93"/>
                  </a:cubicBezTo>
                  <a:cubicBezTo>
                    <a:pt x="85" y="94"/>
                    <a:pt x="93" y="96"/>
                    <a:pt x="104" y="99"/>
                  </a:cubicBezTo>
                  <a:cubicBezTo>
                    <a:pt x="118" y="102"/>
                    <a:pt x="131" y="106"/>
                    <a:pt x="142" y="110"/>
                  </a:cubicBezTo>
                  <a:cubicBezTo>
                    <a:pt x="154" y="114"/>
                    <a:pt x="163" y="119"/>
                    <a:pt x="171" y="124"/>
                  </a:cubicBezTo>
                  <a:cubicBezTo>
                    <a:pt x="179" y="130"/>
                    <a:pt x="185" y="137"/>
                    <a:pt x="190" y="145"/>
                  </a:cubicBezTo>
                  <a:cubicBezTo>
                    <a:pt x="194" y="154"/>
                    <a:pt x="196" y="165"/>
                    <a:pt x="196" y="1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0" name="Freeform 7"/>
            <p:cNvSpPr>
              <a:spLocks/>
            </p:cNvSpPr>
            <p:nvPr/>
          </p:nvSpPr>
          <p:spPr bwMode="auto">
            <a:xfrm>
              <a:off x="4577" y="4319"/>
              <a:ext cx="84" cy="109"/>
            </a:xfrm>
            <a:custGeom>
              <a:avLst/>
              <a:gdLst>
                <a:gd name="T0" fmla="*/ 162 w 190"/>
                <a:gd name="T1" fmla="*/ 39 h 247"/>
                <a:gd name="T2" fmla="*/ 50 w 190"/>
                <a:gd name="T3" fmla="*/ 39 h 247"/>
                <a:gd name="T4" fmla="*/ 50 w 190"/>
                <a:gd name="T5" fmla="*/ 99 h 247"/>
                <a:gd name="T6" fmla="*/ 154 w 190"/>
                <a:gd name="T7" fmla="*/ 99 h 247"/>
                <a:gd name="T8" fmla="*/ 171 w 190"/>
                <a:gd name="T9" fmla="*/ 105 h 247"/>
                <a:gd name="T10" fmla="*/ 176 w 190"/>
                <a:gd name="T11" fmla="*/ 118 h 247"/>
                <a:gd name="T12" fmla="*/ 171 w 190"/>
                <a:gd name="T13" fmla="*/ 132 h 247"/>
                <a:gd name="T14" fmla="*/ 154 w 190"/>
                <a:gd name="T15" fmla="*/ 137 h 247"/>
                <a:gd name="T16" fmla="*/ 50 w 190"/>
                <a:gd name="T17" fmla="*/ 137 h 247"/>
                <a:gd name="T18" fmla="*/ 50 w 190"/>
                <a:gd name="T19" fmla="*/ 207 h 247"/>
                <a:gd name="T20" fmla="*/ 166 w 190"/>
                <a:gd name="T21" fmla="*/ 207 h 247"/>
                <a:gd name="T22" fmla="*/ 184 w 190"/>
                <a:gd name="T23" fmla="*/ 213 h 247"/>
                <a:gd name="T24" fmla="*/ 190 w 190"/>
                <a:gd name="T25" fmla="*/ 227 h 247"/>
                <a:gd name="T26" fmla="*/ 184 w 190"/>
                <a:gd name="T27" fmla="*/ 242 h 247"/>
                <a:gd name="T28" fmla="*/ 166 w 190"/>
                <a:gd name="T29" fmla="*/ 247 h 247"/>
                <a:gd name="T30" fmla="*/ 30 w 190"/>
                <a:gd name="T31" fmla="*/ 247 h 247"/>
                <a:gd name="T32" fmla="*/ 7 w 190"/>
                <a:gd name="T33" fmla="*/ 240 h 247"/>
                <a:gd name="T34" fmla="*/ 0 w 190"/>
                <a:gd name="T35" fmla="*/ 216 h 247"/>
                <a:gd name="T36" fmla="*/ 0 w 190"/>
                <a:gd name="T37" fmla="*/ 31 h 247"/>
                <a:gd name="T38" fmla="*/ 3 w 190"/>
                <a:gd name="T39" fmla="*/ 13 h 247"/>
                <a:gd name="T40" fmla="*/ 13 w 190"/>
                <a:gd name="T41" fmla="*/ 3 h 247"/>
                <a:gd name="T42" fmla="*/ 30 w 190"/>
                <a:gd name="T43" fmla="*/ 0 h 247"/>
                <a:gd name="T44" fmla="*/ 162 w 190"/>
                <a:gd name="T45" fmla="*/ 0 h 247"/>
                <a:gd name="T46" fmla="*/ 180 w 190"/>
                <a:gd name="T47" fmla="*/ 6 h 247"/>
                <a:gd name="T48" fmla="*/ 186 w 190"/>
                <a:gd name="T49" fmla="*/ 19 h 247"/>
                <a:gd name="T50" fmla="*/ 180 w 190"/>
                <a:gd name="T51" fmla="*/ 33 h 247"/>
                <a:gd name="T52" fmla="*/ 162 w 190"/>
                <a:gd name="T53" fmla="*/ 39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90" h="247">
                  <a:moveTo>
                    <a:pt x="162" y="39"/>
                  </a:moveTo>
                  <a:cubicBezTo>
                    <a:pt x="50" y="39"/>
                    <a:pt x="50" y="39"/>
                    <a:pt x="50" y="39"/>
                  </a:cubicBezTo>
                  <a:cubicBezTo>
                    <a:pt x="50" y="99"/>
                    <a:pt x="50" y="99"/>
                    <a:pt x="50" y="99"/>
                  </a:cubicBezTo>
                  <a:cubicBezTo>
                    <a:pt x="154" y="99"/>
                    <a:pt x="154" y="99"/>
                    <a:pt x="154" y="99"/>
                  </a:cubicBezTo>
                  <a:cubicBezTo>
                    <a:pt x="161" y="99"/>
                    <a:pt x="167" y="101"/>
                    <a:pt x="171" y="105"/>
                  </a:cubicBezTo>
                  <a:cubicBezTo>
                    <a:pt x="174" y="108"/>
                    <a:pt x="176" y="112"/>
                    <a:pt x="176" y="118"/>
                  </a:cubicBezTo>
                  <a:cubicBezTo>
                    <a:pt x="176" y="124"/>
                    <a:pt x="174" y="128"/>
                    <a:pt x="171" y="132"/>
                  </a:cubicBezTo>
                  <a:cubicBezTo>
                    <a:pt x="167" y="135"/>
                    <a:pt x="161" y="137"/>
                    <a:pt x="154" y="137"/>
                  </a:cubicBezTo>
                  <a:cubicBezTo>
                    <a:pt x="50" y="137"/>
                    <a:pt x="50" y="137"/>
                    <a:pt x="50" y="137"/>
                  </a:cubicBezTo>
                  <a:cubicBezTo>
                    <a:pt x="50" y="207"/>
                    <a:pt x="50" y="207"/>
                    <a:pt x="50" y="207"/>
                  </a:cubicBezTo>
                  <a:cubicBezTo>
                    <a:pt x="166" y="207"/>
                    <a:pt x="166" y="207"/>
                    <a:pt x="166" y="207"/>
                  </a:cubicBezTo>
                  <a:cubicBezTo>
                    <a:pt x="174" y="207"/>
                    <a:pt x="180" y="209"/>
                    <a:pt x="184" y="213"/>
                  </a:cubicBezTo>
                  <a:cubicBezTo>
                    <a:pt x="188" y="217"/>
                    <a:pt x="190" y="221"/>
                    <a:pt x="190" y="227"/>
                  </a:cubicBezTo>
                  <a:cubicBezTo>
                    <a:pt x="190" y="233"/>
                    <a:pt x="188" y="238"/>
                    <a:pt x="184" y="242"/>
                  </a:cubicBezTo>
                  <a:cubicBezTo>
                    <a:pt x="180" y="245"/>
                    <a:pt x="174" y="247"/>
                    <a:pt x="166" y="247"/>
                  </a:cubicBezTo>
                  <a:cubicBezTo>
                    <a:pt x="30" y="247"/>
                    <a:pt x="30" y="247"/>
                    <a:pt x="30" y="247"/>
                  </a:cubicBezTo>
                  <a:cubicBezTo>
                    <a:pt x="20" y="247"/>
                    <a:pt x="12" y="245"/>
                    <a:pt x="7" y="240"/>
                  </a:cubicBezTo>
                  <a:cubicBezTo>
                    <a:pt x="2" y="235"/>
                    <a:pt x="0" y="227"/>
                    <a:pt x="0" y="216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24"/>
                    <a:pt x="1" y="18"/>
                    <a:pt x="3" y="13"/>
                  </a:cubicBezTo>
                  <a:cubicBezTo>
                    <a:pt x="5" y="9"/>
                    <a:pt x="8" y="5"/>
                    <a:pt x="13" y="3"/>
                  </a:cubicBezTo>
                  <a:cubicBezTo>
                    <a:pt x="18" y="1"/>
                    <a:pt x="23" y="0"/>
                    <a:pt x="30" y="0"/>
                  </a:cubicBezTo>
                  <a:cubicBezTo>
                    <a:pt x="162" y="0"/>
                    <a:pt x="162" y="0"/>
                    <a:pt x="162" y="0"/>
                  </a:cubicBezTo>
                  <a:cubicBezTo>
                    <a:pt x="170" y="0"/>
                    <a:pt x="176" y="2"/>
                    <a:pt x="180" y="6"/>
                  </a:cubicBezTo>
                  <a:cubicBezTo>
                    <a:pt x="184" y="9"/>
                    <a:pt x="186" y="14"/>
                    <a:pt x="186" y="19"/>
                  </a:cubicBezTo>
                  <a:cubicBezTo>
                    <a:pt x="186" y="25"/>
                    <a:pt x="184" y="30"/>
                    <a:pt x="180" y="33"/>
                  </a:cubicBezTo>
                  <a:cubicBezTo>
                    <a:pt x="176" y="37"/>
                    <a:pt x="170" y="39"/>
                    <a:pt x="162" y="3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1" name="Freeform 8"/>
            <p:cNvSpPr>
              <a:spLocks/>
            </p:cNvSpPr>
            <p:nvPr/>
          </p:nvSpPr>
          <p:spPr bwMode="auto">
            <a:xfrm>
              <a:off x="4668" y="4319"/>
              <a:ext cx="93" cy="111"/>
            </a:xfrm>
            <a:custGeom>
              <a:avLst/>
              <a:gdLst>
                <a:gd name="T0" fmla="*/ 184 w 210"/>
                <a:gd name="T1" fmla="*/ 41 h 251"/>
                <a:gd name="T2" fmla="*/ 130 w 210"/>
                <a:gd name="T3" fmla="*/ 41 h 251"/>
                <a:gd name="T4" fmla="*/ 130 w 210"/>
                <a:gd name="T5" fmla="*/ 221 h 251"/>
                <a:gd name="T6" fmla="*/ 123 w 210"/>
                <a:gd name="T7" fmla="*/ 244 h 251"/>
                <a:gd name="T8" fmla="*/ 105 w 210"/>
                <a:gd name="T9" fmla="*/ 251 h 251"/>
                <a:gd name="T10" fmla="*/ 87 w 210"/>
                <a:gd name="T11" fmla="*/ 244 h 251"/>
                <a:gd name="T12" fmla="*/ 80 w 210"/>
                <a:gd name="T13" fmla="*/ 221 h 251"/>
                <a:gd name="T14" fmla="*/ 80 w 210"/>
                <a:gd name="T15" fmla="*/ 41 h 251"/>
                <a:gd name="T16" fmla="*/ 25 w 210"/>
                <a:gd name="T17" fmla="*/ 41 h 251"/>
                <a:gd name="T18" fmla="*/ 6 w 210"/>
                <a:gd name="T19" fmla="*/ 36 h 251"/>
                <a:gd name="T20" fmla="*/ 0 w 210"/>
                <a:gd name="T21" fmla="*/ 21 h 251"/>
                <a:gd name="T22" fmla="*/ 6 w 210"/>
                <a:gd name="T23" fmla="*/ 6 h 251"/>
                <a:gd name="T24" fmla="*/ 25 w 210"/>
                <a:gd name="T25" fmla="*/ 0 h 251"/>
                <a:gd name="T26" fmla="*/ 184 w 210"/>
                <a:gd name="T27" fmla="*/ 0 h 251"/>
                <a:gd name="T28" fmla="*/ 203 w 210"/>
                <a:gd name="T29" fmla="*/ 6 h 251"/>
                <a:gd name="T30" fmla="*/ 210 w 210"/>
                <a:gd name="T31" fmla="*/ 21 h 251"/>
                <a:gd name="T32" fmla="*/ 203 w 210"/>
                <a:gd name="T33" fmla="*/ 36 h 251"/>
                <a:gd name="T34" fmla="*/ 184 w 210"/>
                <a:gd name="T35" fmla="*/ 41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10" h="251">
                  <a:moveTo>
                    <a:pt x="184" y="41"/>
                  </a:moveTo>
                  <a:cubicBezTo>
                    <a:pt x="130" y="41"/>
                    <a:pt x="130" y="41"/>
                    <a:pt x="130" y="41"/>
                  </a:cubicBezTo>
                  <a:cubicBezTo>
                    <a:pt x="130" y="221"/>
                    <a:pt x="130" y="221"/>
                    <a:pt x="130" y="221"/>
                  </a:cubicBezTo>
                  <a:cubicBezTo>
                    <a:pt x="130" y="231"/>
                    <a:pt x="127" y="239"/>
                    <a:pt x="123" y="244"/>
                  </a:cubicBezTo>
                  <a:cubicBezTo>
                    <a:pt x="118" y="249"/>
                    <a:pt x="112" y="251"/>
                    <a:pt x="105" y="251"/>
                  </a:cubicBezTo>
                  <a:cubicBezTo>
                    <a:pt x="97" y="251"/>
                    <a:pt x="91" y="249"/>
                    <a:pt x="87" y="244"/>
                  </a:cubicBezTo>
                  <a:cubicBezTo>
                    <a:pt x="82" y="239"/>
                    <a:pt x="80" y="231"/>
                    <a:pt x="80" y="221"/>
                  </a:cubicBezTo>
                  <a:cubicBezTo>
                    <a:pt x="80" y="41"/>
                    <a:pt x="80" y="41"/>
                    <a:pt x="80" y="41"/>
                  </a:cubicBezTo>
                  <a:cubicBezTo>
                    <a:pt x="25" y="41"/>
                    <a:pt x="25" y="41"/>
                    <a:pt x="25" y="41"/>
                  </a:cubicBezTo>
                  <a:cubicBezTo>
                    <a:pt x="17" y="41"/>
                    <a:pt x="10" y="40"/>
                    <a:pt x="6" y="36"/>
                  </a:cubicBezTo>
                  <a:cubicBezTo>
                    <a:pt x="2" y="32"/>
                    <a:pt x="0" y="27"/>
                    <a:pt x="0" y="21"/>
                  </a:cubicBezTo>
                  <a:cubicBezTo>
                    <a:pt x="0" y="15"/>
                    <a:pt x="2" y="9"/>
                    <a:pt x="6" y="6"/>
                  </a:cubicBezTo>
                  <a:cubicBezTo>
                    <a:pt x="11" y="2"/>
                    <a:pt x="17" y="0"/>
                    <a:pt x="25" y="0"/>
                  </a:cubicBezTo>
                  <a:cubicBezTo>
                    <a:pt x="184" y="0"/>
                    <a:pt x="184" y="0"/>
                    <a:pt x="184" y="0"/>
                  </a:cubicBezTo>
                  <a:cubicBezTo>
                    <a:pt x="193" y="0"/>
                    <a:pt x="199" y="2"/>
                    <a:pt x="203" y="6"/>
                  </a:cubicBezTo>
                  <a:cubicBezTo>
                    <a:pt x="208" y="10"/>
                    <a:pt x="210" y="15"/>
                    <a:pt x="210" y="21"/>
                  </a:cubicBezTo>
                  <a:cubicBezTo>
                    <a:pt x="210" y="27"/>
                    <a:pt x="208" y="32"/>
                    <a:pt x="203" y="36"/>
                  </a:cubicBezTo>
                  <a:cubicBezTo>
                    <a:pt x="199" y="40"/>
                    <a:pt x="193" y="41"/>
                    <a:pt x="184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" name="Freeform 9"/>
            <p:cNvSpPr>
              <a:spLocks noEditPoints="1"/>
            </p:cNvSpPr>
            <p:nvPr/>
          </p:nvSpPr>
          <p:spPr bwMode="auto">
            <a:xfrm>
              <a:off x="4373" y="3852"/>
              <a:ext cx="440" cy="440"/>
            </a:xfrm>
            <a:custGeom>
              <a:avLst/>
              <a:gdLst>
                <a:gd name="T0" fmla="*/ 500 w 1000"/>
                <a:gd name="T1" fmla="*/ 0 h 1000"/>
                <a:gd name="T2" fmla="*/ 0 w 1000"/>
                <a:gd name="T3" fmla="*/ 500 h 1000"/>
                <a:gd name="T4" fmla="*/ 500 w 1000"/>
                <a:gd name="T5" fmla="*/ 1000 h 1000"/>
                <a:gd name="T6" fmla="*/ 1000 w 1000"/>
                <a:gd name="T7" fmla="*/ 500 h 1000"/>
                <a:gd name="T8" fmla="*/ 500 w 1000"/>
                <a:gd name="T9" fmla="*/ 0 h 1000"/>
                <a:gd name="T10" fmla="*/ 371 w 1000"/>
                <a:gd name="T11" fmla="*/ 849 h 1000"/>
                <a:gd name="T12" fmla="*/ 194 w 1000"/>
                <a:gd name="T13" fmla="*/ 673 h 1000"/>
                <a:gd name="T14" fmla="*/ 371 w 1000"/>
                <a:gd name="T15" fmla="*/ 496 h 1000"/>
                <a:gd name="T16" fmla="*/ 416 w 1000"/>
                <a:gd name="T17" fmla="*/ 502 h 1000"/>
                <a:gd name="T18" fmla="*/ 409 w 1000"/>
                <a:gd name="T19" fmla="*/ 527 h 1000"/>
                <a:gd name="T20" fmla="*/ 371 w 1000"/>
                <a:gd name="T21" fmla="*/ 522 h 1000"/>
                <a:gd name="T22" fmla="*/ 220 w 1000"/>
                <a:gd name="T23" fmla="*/ 673 h 1000"/>
                <a:gd name="T24" fmla="*/ 371 w 1000"/>
                <a:gd name="T25" fmla="*/ 823 h 1000"/>
                <a:gd name="T26" fmla="*/ 522 w 1000"/>
                <a:gd name="T27" fmla="*/ 673 h 1000"/>
                <a:gd name="T28" fmla="*/ 516 w 1000"/>
                <a:gd name="T29" fmla="*/ 631 h 1000"/>
                <a:gd name="T30" fmla="*/ 541 w 1000"/>
                <a:gd name="T31" fmla="*/ 625 h 1000"/>
                <a:gd name="T32" fmla="*/ 548 w 1000"/>
                <a:gd name="T33" fmla="*/ 673 h 1000"/>
                <a:gd name="T34" fmla="*/ 371 w 1000"/>
                <a:gd name="T35" fmla="*/ 849 h 1000"/>
                <a:gd name="T36" fmla="*/ 442 w 1000"/>
                <a:gd name="T37" fmla="*/ 635 h 1000"/>
                <a:gd name="T38" fmla="*/ 472 w 1000"/>
                <a:gd name="T39" fmla="*/ 667 h 1000"/>
                <a:gd name="T40" fmla="*/ 339 w 1000"/>
                <a:gd name="T41" fmla="*/ 698 h 1000"/>
                <a:gd name="T42" fmla="*/ 376 w 1000"/>
                <a:gd name="T43" fmla="*/ 566 h 1000"/>
                <a:gd name="T44" fmla="*/ 407 w 1000"/>
                <a:gd name="T45" fmla="*/ 599 h 1000"/>
                <a:gd name="T46" fmla="*/ 621 w 1000"/>
                <a:gd name="T47" fmla="*/ 399 h 1000"/>
                <a:gd name="T48" fmla="*/ 656 w 1000"/>
                <a:gd name="T49" fmla="*/ 436 h 1000"/>
                <a:gd name="T50" fmla="*/ 442 w 1000"/>
                <a:gd name="T51" fmla="*/ 635 h 1000"/>
                <a:gd name="T52" fmla="*/ 747 w 1000"/>
                <a:gd name="T53" fmla="*/ 429 h 1000"/>
                <a:gd name="T54" fmla="*/ 636 w 1000"/>
                <a:gd name="T55" fmla="*/ 318 h 1000"/>
                <a:gd name="T56" fmla="*/ 747 w 1000"/>
                <a:gd name="T57" fmla="*/ 207 h 1000"/>
                <a:gd name="T58" fmla="*/ 858 w 1000"/>
                <a:gd name="T59" fmla="*/ 318 h 1000"/>
                <a:gd name="T60" fmla="*/ 747 w 1000"/>
                <a:gd name="T61" fmla="*/ 429 h 10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000" h="1000">
                  <a:moveTo>
                    <a:pt x="500" y="0"/>
                  </a:moveTo>
                  <a:cubicBezTo>
                    <a:pt x="224" y="0"/>
                    <a:pt x="0" y="224"/>
                    <a:pt x="0" y="500"/>
                  </a:cubicBezTo>
                  <a:cubicBezTo>
                    <a:pt x="0" y="776"/>
                    <a:pt x="224" y="1000"/>
                    <a:pt x="500" y="1000"/>
                  </a:cubicBezTo>
                  <a:cubicBezTo>
                    <a:pt x="776" y="1000"/>
                    <a:pt x="1000" y="776"/>
                    <a:pt x="1000" y="500"/>
                  </a:cubicBezTo>
                  <a:cubicBezTo>
                    <a:pt x="1000" y="224"/>
                    <a:pt x="776" y="0"/>
                    <a:pt x="500" y="0"/>
                  </a:cubicBezTo>
                  <a:close/>
                  <a:moveTo>
                    <a:pt x="371" y="849"/>
                  </a:moveTo>
                  <a:cubicBezTo>
                    <a:pt x="274" y="849"/>
                    <a:pt x="194" y="770"/>
                    <a:pt x="194" y="673"/>
                  </a:cubicBezTo>
                  <a:cubicBezTo>
                    <a:pt x="194" y="575"/>
                    <a:pt x="274" y="496"/>
                    <a:pt x="371" y="496"/>
                  </a:cubicBezTo>
                  <a:cubicBezTo>
                    <a:pt x="387" y="496"/>
                    <a:pt x="402" y="498"/>
                    <a:pt x="416" y="502"/>
                  </a:cubicBezTo>
                  <a:cubicBezTo>
                    <a:pt x="409" y="527"/>
                    <a:pt x="409" y="527"/>
                    <a:pt x="409" y="527"/>
                  </a:cubicBezTo>
                  <a:cubicBezTo>
                    <a:pt x="397" y="524"/>
                    <a:pt x="384" y="522"/>
                    <a:pt x="371" y="522"/>
                  </a:cubicBezTo>
                  <a:cubicBezTo>
                    <a:pt x="288" y="522"/>
                    <a:pt x="220" y="590"/>
                    <a:pt x="220" y="673"/>
                  </a:cubicBezTo>
                  <a:cubicBezTo>
                    <a:pt x="220" y="756"/>
                    <a:pt x="288" y="823"/>
                    <a:pt x="371" y="823"/>
                  </a:cubicBezTo>
                  <a:cubicBezTo>
                    <a:pt x="454" y="823"/>
                    <a:pt x="522" y="756"/>
                    <a:pt x="522" y="673"/>
                  </a:cubicBezTo>
                  <a:cubicBezTo>
                    <a:pt x="522" y="658"/>
                    <a:pt x="520" y="644"/>
                    <a:pt x="516" y="631"/>
                  </a:cubicBezTo>
                  <a:cubicBezTo>
                    <a:pt x="541" y="625"/>
                    <a:pt x="541" y="625"/>
                    <a:pt x="541" y="625"/>
                  </a:cubicBezTo>
                  <a:cubicBezTo>
                    <a:pt x="545" y="640"/>
                    <a:pt x="548" y="656"/>
                    <a:pt x="548" y="673"/>
                  </a:cubicBezTo>
                  <a:cubicBezTo>
                    <a:pt x="548" y="770"/>
                    <a:pt x="468" y="849"/>
                    <a:pt x="371" y="849"/>
                  </a:cubicBezTo>
                  <a:close/>
                  <a:moveTo>
                    <a:pt x="442" y="635"/>
                  </a:moveTo>
                  <a:cubicBezTo>
                    <a:pt x="472" y="667"/>
                    <a:pt x="472" y="667"/>
                    <a:pt x="472" y="667"/>
                  </a:cubicBezTo>
                  <a:cubicBezTo>
                    <a:pt x="339" y="698"/>
                    <a:pt x="339" y="698"/>
                    <a:pt x="339" y="698"/>
                  </a:cubicBezTo>
                  <a:cubicBezTo>
                    <a:pt x="376" y="566"/>
                    <a:pt x="376" y="566"/>
                    <a:pt x="376" y="566"/>
                  </a:cubicBezTo>
                  <a:cubicBezTo>
                    <a:pt x="407" y="599"/>
                    <a:pt x="407" y="599"/>
                    <a:pt x="407" y="599"/>
                  </a:cubicBezTo>
                  <a:cubicBezTo>
                    <a:pt x="621" y="399"/>
                    <a:pt x="621" y="399"/>
                    <a:pt x="621" y="399"/>
                  </a:cubicBezTo>
                  <a:cubicBezTo>
                    <a:pt x="656" y="436"/>
                    <a:pt x="656" y="436"/>
                    <a:pt x="656" y="436"/>
                  </a:cubicBezTo>
                  <a:lnTo>
                    <a:pt x="442" y="635"/>
                  </a:lnTo>
                  <a:close/>
                  <a:moveTo>
                    <a:pt x="747" y="429"/>
                  </a:moveTo>
                  <a:cubicBezTo>
                    <a:pt x="686" y="429"/>
                    <a:pt x="636" y="379"/>
                    <a:pt x="636" y="318"/>
                  </a:cubicBezTo>
                  <a:cubicBezTo>
                    <a:pt x="636" y="256"/>
                    <a:pt x="686" y="207"/>
                    <a:pt x="747" y="207"/>
                  </a:cubicBezTo>
                  <a:cubicBezTo>
                    <a:pt x="809" y="207"/>
                    <a:pt x="858" y="256"/>
                    <a:pt x="858" y="318"/>
                  </a:cubicBezTo>
                  <a:cubicBezTo>
                    <a:pt x="858" y="379"/>
                    <a:pt x="809" y="429"/>
                    <a:pt x="747" y="4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pic>
        <p:nvPicPr>
          <p:cNvPr id="3" name="Slika 2" descr="Slika, ki vsebuje besede sedeče, torta, bela, miza&#10;&#10;Opis je samodejno ustvarjen">
            <a:extLst>
              <a:ext uri="{FF2B5EF4-FFF2-40B4-BE49-F238E27FC236}">
                <a16:creationId xmlns:a16="http://schemas.microsoft.com/office/drawing/2014/main" id="{4F52D722-9775-47F6-B9C8-0846381EEED4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80409" y="2408153"/>
            <a:ext cx="2093238" cy="2961762"/>
          </a:xfrm>
          <a:prstGeom prst="rect">
            <a:avLst/>
          </a:prstGeom>
        </p:spPr>
      </p:pic>
      <p:pic>
        <p:nvPicPr>
          <p:cNvPr id="2" name="Picture 1" descr="A red sign with white text&#10;&#10;AI-generated content may be incorrect.">
            <a:extLst>
              <a:ext uri="{FF2B5EF4-FFF2-40B4-BE49-F238E27FC236}">
                <a16:creationId xmlns:a16="http://schemas.microsoft.com/office/drawing/2014/main" id="{38FD28B9-CBDF-0867-E880-93D45B09C9A7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4100" y="113595"/>
            <a:ext cx="1203205" cy="527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200683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1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0" dur="500"/>
                                        <p:tgtEl>
                                          <p:spTgt spid="1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64" presetClass="path" presetSubtype="0" decel="5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8.33333E-7 -1.35802E-6 L 8.33333E-7 -0.08271 " pathEditMode="relative" rAng="0" ptsTypes="AA">
                                      <p:cBhvr>
                                        <p:cTn id="15" dur="1000" spd="-100000" fill="hold"/>
                                        <p:tgtEl>
                                          <p:spTgt spid="1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4136"/>
                                    </p:animMotion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75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75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2" presetClass="entr" presetSubtype="8" fill="hold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" dur="75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75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64" presetClass="path" presetSubtype="0" decel="5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1.38889E-6 1.35802E-6 L -1.38889E-6 -0.21358 " pathEditMode="relative" rAng="0" ptsTypes="AA">
                                      <p:cBhvr>
                                        <p:cTn id="32" dur="1000" spd="-1000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0679"/>
                                    </p:animMotion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64" presetClass="path" presetSubtype="0" decel="50000" fill="hold" grpId="1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-5.55556E-7 1.35802E-6 L -5.55556E-7 -0.21358 " pathEditMode="relative" rAng="0" ptsTypes="AA">
                                      <p:cBhvr>
                                        <p:cTn id="37" dur="1000" spd="-1000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0679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64" presetClass="path" presetSubtype="0" decel="50000" fill="hold" grpId="1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2.5E-6 -2.09877E-6 L 2.5E-6 -0.08271 " pathEditMode="relative" rAng="0" ptsTypes="AA">
                                      <p:cBhvr>
                                        <p:cTn id="42" dur="1000" spd="-1000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413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8" grpId="0" animBg="1"/>
      <p:bldP spid="51" grpId="0"/>
      <p:bldP spid="51" grpId="1"/>
      <p:bldP spid="55" grpId="0" animBg="1"/>
      <p:bldP spid="55" grpId="1" animBg="1"/>
      <p:bldP spid="66" grpId="0" animBg="1"/>
      <p:bldP spid="66" grpId="1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ravokotnik 1">
            <a:hlinkClick r:id="" action="ppaction://noaction"/>
          </p:cNvPr>
          <p:cNvSpPr/>
          <p:nvPr/>
        </p:nvSpPr>
        <p:spPr>
          <a:xfrm>
            <a:off x="-9728" y="71081"/>
            <a:ext cx="3588241" cy="64080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l-SI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</a:p>
        </p:txBody>
      </p:sp>
      <p:sp>
        <p:nvSpPr>
          <p:cNvPr id="3" name="Rectangle 99">
            <a:extLst>
              <a:ext uri="{FF2B5EF4-FFF2-40B4-BE49-F238E27FC236}">
                <a16:creationId xmlns:a16="http://schemas.microsoft.com/office/drawing/2014/main" id="{A235EC5E-459B-43AE-AF13-020FC870FCB9}"/>
              </a:ext>
            </a:extLst>
          </p:cNvPr>
          <p:cNvSpPr/>
          <p:nvPr/>
        </p:nvSpPr>
        <p:spPr>
          <a:xfrm>
            <a:off x="-853046" y="66977"/>
            <a:ext cx="9997045" cy="640800"/>
          </a:xfrm>
          <a:custGeom>
            <a:avLst/>
            <a:gdLst>
              <a:gd name="connsiteX0" fmla="*/ 0 w 3590554"/>
              <a:gd name="connsiteY0" fmla="*/ 0 h 640800"/>
              <a:gd name="connsiteX1" fmla="*/ 3590554 w 3590554"/>
              <a:gd name="connsiteY1" fmla="*/ 0 h 640800"/>
              <a:gd name="connsiteX2" fmla="*/ 3590554 w 3590554"/>
              <a:gd name="connsiteY2" fmla="*/ 640800 h 640800"/>
              <a:gd name="connsiteX3" fmla="*/ 0 w 3590554"/>
              <a:gd name="connsiteY3" fmla="*/ 640800 h 640800"/>
              <a:gd name="connsiteX4" fmla="*/ 0 w 3590554"/>
              <a:gd name="connsiteY4" fmla="*/ 0 h 640800"/>
              <a:gd name="connsiteX0" fmla="*/ 0 w 3593306"/>
              <a:gd name="connsiteY0" fmla="*/ 302 h 641102"/>
              <a:gd name="connsiteX1" fmla="*/ 3590554 w 3593306"/>
              <a:gd name="connsiteY1" fmla="*/ 302 h 641102"/>
              <a:gd name="connsiteX2" fmla="*/ 3593306 w 3593306"/>
              <a:gd name="connsiteY2" fmla="*/ 0 h 641102"/>
              <a:gd name="connsiteX3" fmla="*/ 3590554 w 3593306"/>
              <a:gd name="connsiteY3" fmla="*/ 641102 h 641102"/>
              <a:gd name="connsiteX4" fmla="*/ 0 w 3593306"/>
              <a:gd name="connsiteY4" fmla="*/ 641102 h 641102"/>
              <a:gd name="connsiteX5" fmla="*/ 0 w 3593306"/>
              <a:gd name="connsiteY5" fmla="*/ 302 h 641102"/>
              <a:gd name="connsiteX0" fmla="*/ 0 w 3593675"/>
              <a:gd name="connsiteY0" fmla="*/ 302 h 641102"/>
              <a:gd name="connsiteX1" fmla="*/ 3590554 w 3593675"/>
              <a:gd name="connsiteY1" fmla="*/ 302 h 641102"/>
              <a:gd name="connsiteX2" fmla="*/ 3593306 w 3593675"/>
              <a:gd name="connsiteY2" fmla="*/ 0 h 641102"/>
              <a:gd name="connsiteX3" fmla="*/ 3590554 w 3593675"/>
              <a:gd name="connsiteY3" fmla="*/ 641102 h 641102"/>
              <a:gd name="connsiteX4" fmla="*/ 0 w 3593675"/>
              <a:gd name="connsiteY4" fmla="*/ 641102 h 641102"/>
              <a:gd name="connsiteX5" fmla="*/ 0 w 3593675"/>
              <a:gd name="connsiteY5" fmla="*/ 302 h 641102"/>
              <a:gd name="connsiteX0" fmla="*/ 0 w 3860011"/>
              <a:gd name="connsiteY0" fmla="*/ 0 h 640800"/>
              <a:gd name="connsiteX1" fmla="*/ 3590554 w 3860011"/>
              <a:gd name="connsiteY1" fmla="*/ 0 h 640800"/>
              <a:gd name="connsiteX2" fmla="*/ 3860006 w 3860011"/>
              <a:gd name="connsiteY2" fmla="*/ 485473 h 640800"/>
              <a:gd name="connsiteX3" fmla="*/ 3590554 w 3860011"/>
              <a:gd name="connsiteY3" fmla="*/ 640800 h 640800"/>
              <a:gd name="connsiteX4" fmla="*/ 0 w 3860011"/>
              <a:gd name="connsiteY4" fmla="*/ 640800 h 640800"/>
              <a:gd name="connsiteX5" fmla="*/ 0 w 3860011"/>
              <a:gd name="connsiteY5" fmla="*/ 0 h 640800"/>
              <a:gd name="connsiteX0" fmla="*/ 0 w 3733810"/>
              <a:gd name="connsiteY0" fmla="*/ 0 h 640800"/>
              <a:gd name="connsiteX1" fmla="*/ 3590554 w 3733810"/>
              <a:gd name="connsiteY1" fmla="*/ 0 h 640800"/>
              <a:gd name="connsiteX2" fmla="*/ 3733799 w 3733810"/>
              <a:gd name="connsiteY2" fmla="*/ 335454 h 640800"/>
              <a:gd name="connsiteX3" fmla="*/ 3590554 w 3733810"/>
              <a:gd name="connsiteY3" fmla="*/ 640800 h 640800"/>
              <a:gd name="connsiteX4" fmla="*/ 0 w 3733810"/>
              <a:gd name="connsiteY4" fmla="*/ 640800 h 640800"/>
              <a:gd name="connsiteX5" fmla="*/ 0 w 3733810"/>
              <a:gd name="connsiteY5" fmla="*/ 0 h 640800"/>
              <a:gd name="connsiteX0" fmla="*/ 0 w 3762383"/>
              <a:gd name="connsiteY0" fmla="*/ 0 h 640800"/>
              <a:gd name="connsiteX1" fmla="*/ 3590554 w 3762383"/>
              <a:gd name="connsiteY1" fmla="*/ 0 h 640800"/>
              <a:gd name="connsiteX2" fmla="*/ 3762374 w 3762383"/>
              <a:gd name="connsiteY2" fmla="*/ 314023 h 640800"/>
              <a:gd name="connsiteX3" fmla="*/ 3590554 w 3762383"/>
              <a:gd name="connsiteY3" fmla="*/ 640800 h 640800"/>
              <a:gd name="connsiteX4" fmla="*/ 0 w 3762383"/>
              <a:gd name="connsiteY4" fmla="*/ 640800 h 640800"/>
              <a:gd name="connsiteX5" fmla="*/ 0 w 3762383"/>
              <a:gd name="connsiteY5" fmla="*/ 0 h 640800"/>
              <a:gd name="connsiteX0" fmla="*/ 0 w 3762374"/>
              <a:gd name="connsiteY0" fmla="*/ 0 h 640800"/>
              <a:gd name="connsiteX1" fmla="*/ 3590554 w 3762374"/>
              <a:gd name="connsiteY1" fmla="*/ 0 h 640800"/>
              <a:gd name="connsiteX2" fmla="*/ 3762374 w 3762374"/>
              <a:gd name="connsiteY2" fmla="*/ 314023 h 640800"/>
              <a:gd name="connsiteX3" fmla="*/ 3590554 w 3762374"/>
              <a:gd name="connsiteY3" fmla="*/ 640800 h 640800"/>
              <a:gd name="connsiteX4" fmla="*/ 0 w 3762374"/>
              <a:gd name="connsiteY4" fmla="*/ 640800 h 640800"/>
              <a:gd name="connsiteX5" fmla="*/ 0 w 3762374"/>
              <a:gd name="connsiteY5" fmla="*/ 0 h 640800"/>
              <a:gd name="connsiteX0" fmla="*/ 0 w 3762374"/>
              <a:gd name="connsiteY0" fmla="*/ 0 h 640800"/>
              <a:gd name="connsiteX1" fmla="*/ 3590554 w 3762374"/>
              <a:gd name="connsiteY1" fmla="*/ 0 h 640800"/>
              <a:gd name="connsiteX2" fmla="*/ 3762374 w 3762374"/>
              <a:gd name="connsiteY2" fmla="*/ 314023 h 640800"/>
              <a:gd name="connsiteX3" fmla="*/ 3590554 w 3762374"/>
              <a:gd name="connsiteY3" fmla="*/ 640800 h 640800"/>
              <a:gd name="connsiteX4" fmla="*/ 0 w 3762374"/>
              <a:gd name="connsiteY4" fmla="*/ 640800 h 640800"/>
              <a:gd name="connsiteX5" fmla="*/ 0 w 3762374"/>
              <a:gd name="connsiteY5" fmla="*/ 0 h 640800"/>
              <a:gd name="connsiteX0" fmla="*/ 0 w 3762374"/>
              <a:gd name="connsiteY0" fmla="*/ 0 h 640800"/>
              <a:gd name="connsiteX1" fmla="*/ 3590554 w 3762374"/>
              <a:gd name="connsiteY1" fmla="*/ 0 h 640800"/>
              <a:gd name="connsiteX2" fmla="*/ 3762374 w 3762374"/>
              <a:gd name="connsiteY2" fmla="*/ 314023 h 640800"/>
              <a:gd name="connsiteX3" fmla="*/ 3590554 w 3762374"/>
              <a:gd name="connsiteY3" fmla="*/ 640800 h 640800"/>
              <a:gd name="connsiteX4" fmla="*/ 0 w 3762374"/>
              <a:gd name="connsiteY4" fmla="*/ 640800 h 640800"/>
              <a:gd name="connsiteX5" fmla="*/ 0 w 3762374"/>
              <a:gd name="connsiteY5" fmla="*/ 0 h 640800"/>
              <a:gd name="connsiteX0" fmla="*/ 0 w 3762374"/>
              <a:gd name="connsiteY0" fmla="*/ 0 h 640800"/>
              <a:gd name="connsiteX1" fmla="*/ 3590554 w 3762374"/>
              <a:gd name="connsiteY1" fmla="*/ 0 h 640800"/>
              <a:gd name="connsiteX2" fmla="*/ 3762374 w 3762374"/>
              <a:gd name="connsiteY2" fmla="*/ 314023 h 640800"/>
              <a:gd name="connsiteX3" fmla="*/ 3590554 w 3762374"/>
              <a:gd name="connsiteY3" fmla="*/ 640800 h 640800"/>
              <a:gd name="connsiteX4" fmla="*/ 0 w 3762374"/>
              <a:gd name="connsiteY4" fmla="*/ 640800 h 640800"/>
              <a:gd name="connsiteX5" fmla="*/ 0 w 3762374"/>
              <a:gd name="connsiteY5" fmla="*/ 0 h 640800"/>
              <a:gd name="connsiteX0" fmla="*/ 0 w 3767136"/>
              <a:gd name="connsiteY0" fmla="*/ 0 h 640800"/>
              <a:gd name="connsiteX1" fmla="*/ 3590554 w 3767136"/>
              <a:gd name="connsiteY1" fmla="*/ 0 h 640800"/>
              <a:gd name="connsiteX2" fmla="*/ 3767136 w 3767136"/>
              <a:gd name="connsiteY2" fmla="*/ 323548 h 640800"/>
              <a:gd name="connsiteX3" fmla="*/ 3590554 w 3767136"/>
              <a:gd name="connsiteY3" fmla="*/ 640800 h 640800"/>
              <a:gd name="connsiteX4" fmla="*/ 0 w 3767136"/>
              <a:gd name="connsiteY4" fmla="*/ 640800 h 640800"/>
              <a:gd name="connsiteX5" fmla="*/ 0 w 3767136"/>
              <a:gd name="connsiteY5" fmla="*/ 0 h 640800"/>
              <a:gd name="connsiteX0" fmla="*/ 0 w 3767136"/>
              <a:gd name="connsiteY0" fmla="*/ 0 h 640800"/>
              <a:gd name="connsiteX1" fmla="*/ 3590554 w 3767136"/>
              <a:gd name="connsiteY1" fmla="*/ 0 h 640800"/>
              <a:gd name="connsiteX2" fmla="*/ 3767136 w 3767136"/>
              <a:gd name="connsiteY2" fmla="*/ 323548 h 640800"/>
              <a:gd name="connsiteX3" fmla="*/ 3590554 w 3767136"/>
              <a:gd name="connsiteY3" fmla="*/ 640800 h 640800"/>
              <a:gd name="connsiteX4" fmla="*/ 0 w 3767136"/>
              <a:gd name="connsiteY4" fmla="*/ 640800 h 640800"/>
              <a:gd name="connsiteX5" fmla="*/ 0 w 3767136"/>
              <a:gd name="connsiteY5" fmla="*/ 0 h 640800"/>
              <a:gd name="connsiteX0" fmla="*/ 0 w 3767136"/>
              <a:gd name="connsiteY0" fmla="*/ 0 h 640800"/>
              <a:gd name="connsiteX1" fmla="*/ 3590554 w 3767136"/>
              <a:gd name="connsiteY1" fmla="*/ 0 h 640800"/>
              <a:gd name="connsiteX2" fmla="*/ 3767136 w 3767136"/>
              <a:gd name="connsiteY2" fmla="*/ 323548 h 640800"/>
              <a:gd name="connsiteX3" fmla="*/ 3590554 w 3767136"/>
              <a:gd name="connsiteY3" fmla="*/ 640800 h 640800"/>
              <a:gd name="connsiteX4" fmla="*/ 0 w 3767136"/>
              <a:gd name="connsiteY4" fmla="*/ 640800 h 640800"/>
              <a:gd name="connsiteX5" fmla="*/ 0 w 3767136"/>
              <a:gd name="connsiteY5" fmla="*/ 0 h 640800"/>
              <a:gd name="connsiteX0" fmla="*/ 0 w 3590554"/>
              <a:gd name="connsiteY0" fmla="*/ 0 h 640800"/>
              <a:gd name="connsiteX1" fmla="*/ 3590554 w 3590554"/>
              <a:gd name="connsiteY1" fmla="*/ 0 h 640800"/>
              <a:gd name="connsiteX2" fmla="*/ 3590554 w 3590554"/>
              <a:gd name="connsiteY2" fmla="*/ 640800 h 640800"/>
              <a:gd name="connsiteX3" fmla="*/ 0 w 3590554"/>
              <a:gd name="connsiteY3" fmla="*/ 640800 h 640800"/>
              <a:gd name="connsiteX4" fmla="*/ 0 w 3590554"/>
              <a:gd name="connsiteY4" fmla="*/ 0 h 640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90554" h="640800">
                <a:moveTo>
                  <a:pt x="0" y="0"/>
                </a:moveTo>
                <a:lnTo>
                  <a:pt x="3590554" y="0"/>
                </a:lnTo>
                <a:lnTo>
                  <a:pt x="3590554" y="640800"/>
                </a:lnTo>
                <a:lnTo>
                  <a:pt x="0" y="640800"/>
                </a:lnTo>
                <a:lnTo>
                  <a:pt x="0" y="0"/>
                </a:lnTo>
                <a:close/>
              </a:path>
            </a:pathLst>
          </a:custGeom>
          <a:solidFill>
            <a:schemeClr val="bg2">
              <a:lumMod val="60000"/>
              <a:lumOff val="40000"/>
              <a:alpha val="32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" name="Rectangle 98">
            <a:extLst>
              <a:ext uri="{FF2B5EF4-FFF2-40B4-BE49-F238E27FC236}">
                <a16:creationId xmlns:a16="http://schemas.microsoft.com/office/drawing/2014/main" id="{EA530C59-B890-40C2-926B-BA4A08962C6C}"/>
              </a:ext>
            </a:extLst>
          </p:cNvPr>
          <p:cNvSpPr/>
          <p:nvPr/>
        </p:nvSpPr>
        <p:spPr>
          <a:xfrm>
            <a:off x="889403" y="218101"/>
            <a:ext cx="7840259" cy="33855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l-SI" sz="1600" b="1" i="0" u="none" strike="noStrike" kern="0" cap="none" spc="0" normalizeH="0" baseline="0" noProof="0" dirty="0">
                <a:ln>
                  <a:noFill/>
                </a:ln>
                <a:solidFill>
                  <a:srgbClr val="E60A1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iSET</a:t>
            </a:r>
            <a:r>
              <a:rPr kumimoji="0" lang="sl-SI" sz="1600" b="1" i="0" u="none" strike="noStrike" kern="0" cap="none" spc="0" normalizeH="0" baseline="0" noProof="0" dirty="0">
                <a:ln>
                  <a:noFill/>
                </a:ln>
                <a:solidFill>
                  <a:srgbClr val="869199">
                    <a:lumMod val="50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sl-SI" sz="16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– Funkcionisanje i algoritam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" name="Tekstfelt 6"/>
          <p:cNvSpPr txBox="1"/>
          <p:nvPr/>
        </p:nvSpPr>
        <p:spPr>
          <a:xfrm>
            <a:off x="424479" y="977319"/>
            <a:ext cx="4975351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un</a:t>
            </a:r>
            <a:r>
              <a:rPr kumimoji="0" lang="sr-Latn-R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kc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ion</a:t>
            </a:r>
            <a:r>
              <a:rPr kumimoji="0" lang="sr-Latn-R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isanje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sr-Latn-R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i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lgorit</a:t>
            </a:r>
            <a:r>
              <a:rPr kumimoji="0" lang="sr-Latn-R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</a:t>
            </a:r>
            <a:endParaRPr kumimoji="0" lang="sl-SI" sz="1200" b="1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6" name="Group 1">
            <a:extLst>
              <a:ext uri="{FF2B5EF4-FFF2-40B4-BE49-F238E27FC236}">
                <a16:creationId xmlns:a16="http://schemas.microsoft.com/office/drawing/2014/main" id="{DD2120B4-4D9A-47D7-B58B-51BDAD223D46}"/>
              </a:ext>
            </a:extLst>
          </p:cNvPr>
          <p:cNvGrpSpPr/>
          <p:nvPr/>
        </p:nvGrpSpPr>
        <p:grpSpPr>
          <a:xfrm>
            <a:off x="319275" y="1268913"/>
            <a:ext cx="1866121" cy="1667805"/>
            <a:chOff x="985380" y="1434251"/>
            <a:chExt cx="3283492" cy="2934549"/>
          </a:xfrm>
        </p:grpSpPr>
        <p:sp>
          <p:nvSpPr>
            <p:cNvPr id="7" name="Pravokotnik 172">
              <a:hlinkClick r:id="" action="ppaction://noaction"/>
              <a:extLst>
                <a:ext uri="{FF2B5EF4-FFF2-40B4-BE49-F238E27FC236}">
                  <a16:creationId xmlns:a16="http://schemas.microsoft.com/office/drawing/2014/main" id="{E0809A0D-6027-4EC9-93FF-C2AA746E9DEA}"/>
                </a:ext>
              </a:extLst>
            </p:cNvPr>
            <p:cNvSpPr/>
            <p:nvPr/>
          </p:nvSpPr>
          <p:spPr>
            <a:xfrm>
              <a:off x="985380" y="2603876"/>
              <a:ext cx="678135" cy="816844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" name="Pravokotnik 189">
              <a:hlinkClick r:id="" action="ppaction://noaction"/>
              <a:extLst>
                <a:ext uri="{FF2B5EF4-FFF2-40B4-BE49-F238E27FC236}">
                  <a16:creationId xmlns:a16="http://schemas.microsoft.com/office/drawing/2014/main" id="{FFB0A4B8-06D1-4570-81C6-0385D721F0EE}"/>
                </a:ext>
              </a:extLst>
            </p:cNvPr>
            <p:cNvSpPr/>
            <p:nvPr/>
          </p:nvSpPr>
          <p:spPr>
            <a:xfrm>
              <a:off x="985380" y="3896560"/>
              <a:ext cx="678135" cy="47224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pic>
          <p:nvPicPr>
            <p:cNvPr id="9" name="Picture 27">
              <a:extLst>
                <a:ext uri="{FF2B5EF4-FFF2-40B4-BE49-F238E27FC236}">
                  <a16:creationId xmlns:a16="http://schemas.microsoft.com/office/drawing/2014/main" id="{22F7C44D-A65A-465B-A128-D44E2F313BB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4997" y="1434251"/>
              <a:ext cx="3123875" cy="2934549"/>
            </a:xfrm>
            <a:prstGeom prst="rect">
              <a:avLst/>
            </a:prstGeom>
          </p:spPr>
        </p:pic>
      </p:grpSp>
      <p:cxnSp>
        <p:nvCxnSpPr>
          <p:cNvPr id="10" name="Straight Connector 2">
            <a:extLst>
              <a:ext uri="{FF2B5EF4-FFF2-40B4-BE49-F238E27FC236}">
                <a16:creationId xmlns:a16="http://schemas.microsoft.com/office/drawing/2014/main" id="{D7A263A5-C181-4079-A92E-D6C9592850FB}"/>
              </a:ext>
            </a:extLst>
          </p:cNvPr>
          <p:cNvCxnSpPr/>
          <p:nvPr/>
        </p:nvCxnSpPr>
        <p:spPr>
          <a:xfrm>
            <a:off x="6104894" y="4227828"/>
            <a:ext cx="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38">
            <a:extLst>
              <a:ext uri="{FF2B5EF4-FFF2-40B4-BE49-F238E27FC236}">
                <a16:creationId xmlns:a16="http://schemas.microsoft.com/office/drawing/2014/main" id="{FC7B7ABB-14D6-4DEA-88A3-9AD50F4ABDBB}"/>
              </a:ext>
            </a:extLst>
          </p:cNvPr>
          <p:cNvCxnSpPr>
            <a:cxnSpLocks/>
          </p:cNvCxnSpPr>
          <p:nvPr/>
        </p:nvCxnSpPr>
        <p:spPr>
          <a:xfrm flipV="1">
            <a:off x="7630271" y="1609292"/>
            <a:ext cx="0" cy="459133"/>
          </a:xfrm>
          <a:prstGeom prst="straightConnector1">
            <a:avLst/>
          </a:prstGeom>
          <a:ln w="28575"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2">
            <a:extLst>
              <a:ext uri="{FF2B5EF4-FFF2-40B4-BE49-F238E27FC236}">
                <a16:creationId xmlns:a16="http://schemas.microsoft.com/office/drawing/2014/main" id="{D7A263A5-C181-4079-A92E-D6C9592850FB}"/>
              </a:ext>
            </a:extLst>
          </p:cNvPr>
          <p:cNvCxnSpPr/>
          <p:nvPr/>
        </p:nvCxnSpPr>
        <p:spPr>
          <a:xfrm>
            <a:off x="4406732" y="3777165"/>
            <a:ext cx="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oup 255">
            <a:extLst>
              <a:ext uri="{FF2B5EF4-FFF2-40B4-BE49-F238E27FC236}">
                <a16:creationId xmlns:a16="http://schemas.microsoft.com/office/drawing/2014/main" id="{6BFD5CA9-F549-4B9C-A223-6DDC4B3211B4}"/>
              </a:ext>
            </a:extLst>
          </p:cNvPr>
          <p:cNvGrpSpPr/>
          <p:nvPr/>
        </p:nvGrpSpPr>
        <p:grpSpPr>
          <a:xfrm>
            <a:off x="4389141" y="1222888"/>
            <a:ext cx="2933943" cy="1631956"/>
            <a:chOff x="2116033" y="1032917"/>
            <a:chExt cx="1999426" cy="1112147"/>
          </a:xfrm>
        </p:grpSpPr>
        <p:sp>
          <p:nvSpPr>
            <p:cNvPr id="14" name="Freeform: Shape 88">
              <a:extLst>
                <a:ext uri="{FF2B5EF4-FFF2-40B4-BE49-F238E27FC236}">
                  <a16:creationId xmlns:a16="http://schemas.microsoft.com/office/drawing/2014/main" id="{438B8543-402D-489D-84E6-C11D84D68EC4}"/>
                </a:ext>
              </a:extLst>
            </p:cNvPr>
            <p:cNvSpPr/>
            <p:nvPr/>
          </p:nvSpPr>
          <p:spPr>
            <a:xfrm>
              <a:off x="2116033" y="1032917"/>
              <a:ext cx="621506" cy="1107281"/>
            </a:xfrm>
            <a:custGeom>
              <a:avLst/>
              <a:gdLst>
                <a:gd name="connsiteX0" fmla="*/ 0 w 2857500"/>
                <a:gd name="connsiteY0" fmla="*/ 0 h 1476375"/>
                <a:gd name="connsiteX1" fmla="*/ 485775 w 2857500"/>
                <a:gd name="connsiteY1" fmla="*/ 0 h 1476375"/>
                <a:gd name="connsiteX2" fmla="*/ 828675 w 2857500"/>
                <a:gd name="connsiteY2" fmla="*/ 1476375 h 1476375"/>
                <a:gd name="connsiteX3" fmla="*/ 914400 w 2857500"/>
                <a:gd name="connsiteY3" fmla="*/ 971550 h 1476375"/>
                <a:gd name="connsiteX4" fmla="*/ 1038225 w 2857500"/>
                <a:gd name="connsiteY4" fmla="*/ 1152525 h 1476375"/>
                <a:gd name="connsiteX5" fmla="*/ 1123950 w 2857500"/>
                <a:gd name="connsiteY5" fmla="*/ 838200 h 1476375"/>
                <a:gd name="connsiteX6" fmla="*/ 1228725 w 2857500"/>
                <a:gd name="connsiteY6" fmla="*/ 1314450 h 1476375"/>
                <a:gd name="connsiteX7" fmla="*/ 1409700 w 2857500"/>
                <a:gd name="connsiteY7" fmla="*/ 695325 h 1476375"/>
                <a:gd name="connsiteX8" fmla="*/ 1447800 w 2857500"/>
                <a:gd name="connsiteY8" fmla="*/ 1143000 h 1476375"/>
                <a:gd name="connsiteX9" fmla="*/ 1590675 w 2857500"/>
                <a:gd name="connsiteY9" fmla="*/ 838200 h 1476375"/>
                <a:gd name="connsiteX10" fmla="*/ 1743075 w 2857500"/>
                <a:gd name="connsiteY10" fmla="*/ 1057275 h 1476375"/>
                <a:gd name="connsiteX11" fmla="*/ 1990725 w 2857500"/>
                <a:gd name="connsiteY11" fmla="*/ 952500 h 1476375"/>
                <a:gd name="connsiteX12" fmla="*/ 2009775 w 2857500"/>
                <a:gd name="connsiteY12" fmla="*/ 1162050 h 1476375"/>
                <a:gd name="connsiteX13" fmla="*/ 2228850 w 2857500"/>
                <a:gd name="connsiteY13" fmla="*/ 762000 h 1476375"/>
                <a:gd name="connsiteX14" fmla="*/ 2857500 w 2857500"/>
                <a:gd name="connsiteY14" fmla="*/ 333375 h 1476375"/>
                <a:gd name="connsiteX0" fmla="*/ 0 w 2857500"/>
                <a:gd name="connsiteY0" fmla="*/ 0 h 1476375"/>
                <a:gd name="connsiteX1" fmla="*/ 485775 w 2857500"/>
                <a:gd name="connsiteY1" fmla="*/ 0 h 1476375"/>
                <a:gd name="connsiteX2" fmla="*/ 828675 w 2857500"/>
                <a:gd name="connsiteY2" fmla="*/ 1476375 h 1476375"/>
                <a:gd name="connsiteX3" fmla="*/ 1038225 w 2857500"/>
                <a:gd name="connsiteY3" fmla="*/ 1152525 h 1476375"/>
                <a:gd name="connsiteX4" fmla="*/ 1123950 w 2857500"/>
                <a:gd name="connsiteY4" fmla="*/ 838200 h 1476375"/>
                <a:gd name="connsiteX5" fmla="*/ 1228725 w 2857500"/>
                <a:gd name="connsiteY5" fmla="*/ 1314450 h 1476375"/>
                <a:gd name="connsiteX6" fmla="*/ 1409700 w 2857500"/>
                <a:gd name="connsiteY6" fmla="*/ 695325 h 1476375"/>
                <a:gd name="connsiteX7" fmla="*/ 1447800 w 2857500"/>
                <a:gd name="connsiteY7" fmla="*/ 1143000 h 1476375"/>
                <a:gd name="connsiteX8" fmla="*/ 1590675 w 2857500"/>
                <a:gd name="connsiteY8" fmla="*/ 838200 h 1476375"/>
                <a:gd name="connsiteX9" fmla="*/ 1743075 w 2857500"/>
                <a:gd name="connsiteY9" fmla="*/ 1057275 h 1476375"/>
                <a:gd name="connsiteX10" fmla="*/ 1990725 w 2857500"/>
                <a:gd name="connsiteY10" fmla="*/ 952500 h 1476375"/>
                <a:gd name="connsiteX11" fmla="*/ 2009775 w 2857500"/>
                <a:gd name="connsiteY11" fmla="*/ 1162050 h 1476375"/>
                <a:gd name="connsiteX12" fmla="*/ 2228850 w 2857500"/>
                <a:gd name="connsiteY12" fmla="*/ 762000 h 1476375"/>
                <a:gd name="connsiteX13" fmla="*/ 2857500 w 2857500"/>
                <a:gd name="connsiteY13" fmla="*/ 333375 h 1476375"/>
                <a:gd name="connsiteX0" fmla="*/ 0 w 2857500"/>
                <a:gd name="connsiteY0" fmla="*/ 0 h 1476375"/>
                <a:gd name="connsiteX1" fmla="*/ 485775 w 2857500"/>
                <a:gd name="connsiteY1" fmla="*/ 0 h 1476375"/>
                <a:gd name="connsiteX2" fmla="*/ 828675 w 2857500"/>
                <a:gd name="connsiteY2" fmla="*/ 1476375 h 1476375"/>
                <a:gd name="connsiteX3" fmla="*/ 1123950 w 2857500"/>
                <a:gd name="connsiteY3" fmla="*/ 838200 h 1476375"/>
                <a:gd name="connsiteX4" fmla="*/ 1228725 w 2857500"/>
                <a:gd name="connsiteY4" fmla="*/ 1314450 h 1476375"/>
                <a:gd name="connsiteX5" fmla="*/ 1409700 w 2857500"/>
                <a:gd name="connsiteY5" fmla="*/ 695325 h 1476375"/>
                <a:gd name="connsiteX6" fmla="*/ 1447800 w 2857500"/>
                <a:gd name="connsiteY6" fmla="*/ 1143000 h 1476375"/>
                <a:gd name="connsiteX7" fmla="*/ 1590675 w 2857500"/>
                <a:gd name="connsiteY7" fmla="*/ 838200 h 1476375"/>
                <a:gd name="connsiteX8" fmla="*/ 1743075 w 2857500"/>
                <a:gd name="connsiteY8" fmla="*/ 1057275 h 1476375"/>
                <a:gd name="connsiteX9" fmla="*/ 1990725 w 2857500"/>
                <a:gd name="connsiteY9" fmla="*/ 952500 h 1476375"/>
                <a:gd name="connsiteX10" fmla="*/ 2009775 w 2857500"/>
                <a:gd name="connsiteY10" fmla="*/ 1162050 h 1476375"/>
                <a:gd name="connsiteX11" fmla="*/ 2228850 w 2857500"/>
                <a:gd name="connsiteY11" fmla="*/ 762000 h 1476375"/>
                <a:gd name="connsiteX12" fmla="*/ 2857500 w 2857500"/>
                <a:gd name="connsiteY12" fmla="*/ 333375 h 1476375"/>
                <a:gd name="connsiteX0" fmla="*/ 0 w 2857500"/>
                <a:gd name="connsiteY0" fmla="*/ 0 h 1476375"/>
                <a:gd name="connsiteX1" fmla="*/ 485775 w 2857500"/>
                <a:gd name="connsiteY1" fmla="*/ 0 h 1476375"/>
                <a:gd name="connsiteX2" fmla="*/ 828675 w 2857500"/>
                <a:gd name="connsiteY2" fmla="*/ 1476375 h 1476375"/>
                <a:gd name="connsiteX3" fmla="*/ 1228725 w 2857500"/>
                <a:gd name="connsiteY3" fmla="*/ 1314450 h 1476375"/>
                <a:gd name="connsiteX4" fmla="*/ 1409700 w 2857500"/>
                <a:gd name="connsiteY4" fmla="*/ 695325 h 1476375"/>
                <a:gd name="connsiteX5" fmla="*/ 1447800 w 2857500"/>
                <a:gd name="connsiteY5" fmla="*/ 1143000 h 1476375"/>
                <a:gd name="connsiteX6" fmla="*/ 1590675 w 2857500"/>
                <a:gd name="connsiteY6" fmla="*/ 838200 h 1476375"/>
                <a:gd name="connsiteX7" fmla="*/ 1743075 w 2857500"/>
                <a:gd name="connsiteY7" fmla="*/ 1057275 h 1476375"/>
                <a:gd name="connsiteX8" fmla="*/ 1990725 w 2857500"/>
                <a:gd name="connsiteY8" fmla="*/ 952500 h 1476375"/>
                <a:gd name="connsiteX9" fmla="*/ 2009775 w 2857500"/>
                <a:gd name="connsiteY9" fmla="*/ 1162050 h 1476375"/>
                <a:gd name="connsiteX10" fmla="*/ 2228850 w 2857500"/>
                <a:gd name="connsiteY10" fmla="*/ 762000 h 1476375"/>
                <a:gd name="connsiteX11" fmla="*/ 2857500 w 2857500"/>
                <a:gd name="connsiteY11" fmla="*/ 333375 h 1476375"/>
                <a:gd name="connsiteX0" fmla="*/ 0 w 2857500"/>
                <a:gd name="connsiteY0" fmla="*/ 0 h 1476375"/>
                <a:gd name="connsiteX1" fmla="*/ 485775 w 2857500"/>
                <a:gd name="connsiteY1" fmla="*/ 0 h 1476375"/>
                <a:gd name="connsiteX2" fmla="*/ 828675 w 2857500"/>
                <a:gd name="connsiteY2" fmla="*/ 1476375 h 1476375"/>
                <a:gd name="connsiteX3" fmla="*/ 1409700 w 2857500"/>
                <a:gd name="connsiteY3" fmla="*/ 695325 h 1476375"/>
                <a:gd name="connsiteX4" fmla="*/ 1447800 w 2857500"/>
                <a:gd name="connsiteY4" fmla="*/ 1143000 h 1476375"/>
                <a:gd name="connsiteX5" fmla="*/ 1590675 w 2857500"/>
                <a:gd name="connsiteY5" fmla="*/ 838200 h 1476375"/>
                <a:gd name="connsiteX6" fmla="*/ 1743075 w 2857500"/>
                <a:gd name="connsiteY6" fmla="*/ 1057275 h 1476375"/>
                <a:gd name="connsiteX7" fmla="*/ 1990725 w 2857500"/>
                <a:gd name="connsiteY7" fmla="*/ 952500 h 1476375"/>
                <a:gd name="connsiteX8" fmla="*/ 2009775 w 2857500"/>
                <a:gd name="connsiteY8" fmla="*/ 1162050 h 1476375"/>
                <a:gd name="connsiteX9" fmla="*/ 2228850 w 2857500"/>
                <a:gd name="connsiteY9" fmla="*/ 762000 h 1476375"/>
                <a:gd name="connsiteX10" fmla="*/ 2857500 w 2857500"/>
                <a:gd name="connsiteY10" fmla="*/ 333375 h 1476375"/>
                <a:gd name="connsiteX0" fmla="*/ 0 w 2857500"/>
                <a:gd name="connsiteY0" fmla="*/ 0 h 1476375"/>
                <a:gd name="connsiteX1" fmla="*/ 485775 w 2857500"/>
                <a:gd name="connsiteY1" fmla="*/ 0 h 1476375"/>
                <a:gd name="connsiteX2" fmla="*/ 828675 w 2857500"/>
                <a:gd name="connsiteY2" fmla="*/ 1476375 h 1476375"/>
                <a:gd name="connsiteX3" fmla="*/ 1447800 w 2857500"/>
                <a:gd name="connsiteY3" fmla="*/ 1143000 h 1476375"/>
                <a:gd name="connsiteX4" fmla="*/ 1590675 w 2857500"/>
                <a:gd name="connsiteY4" fmla="*/ 838200 h 1476375"/>
                <a:gd name="connsiteX5" fmla="*/ 1743075 w 2857500"/>
                <a:gd name="connsiteY5" fmla="*/ 1057275 h 1476375"/>
                <a:gd name="connsiteX6" fmla="*/ 1990725 w 2857500"/>
                <a:gd name="connsiteY6" fmla="*/ 952500 h 1476375"/>
                <a:gd name="connsiteX7" fmla="*/ 2009775 w 2857500"/>
                <a:gd name="connsiteY7" fmla="*/ 1162050 h 1476375"/>
                <a:gd name="connsiteX8" fmla="*/ 2228850 w 2857500"/>
                <a:gd name="connsiteY8" fmla="*/ 762000 h 1476375"/>
                <a:gd name="connsiteX9" fmla="*/ 2857500 w 2857500"/>
                <a:gd name="connsiteY9" fmla="*/ 333375 h 1476375"/>
                <a:gd name="connsiteX0" fmla="*/ 0 w 2857500"/>
                <a:gd name="connsiteY0" fmla="*/ 0 h 1476375"/>
                <a:gd name="connsiteX1" fmla="*/ 485775 w 2857500"/>
                <a:gd name="connsiteY1" fmla="*/ 0 h 1476375"/>
                <a:gd name="connsiteX2" fmla="*/ 828675 w 2857500"/>
                <a:gd name="connsiteY2" fmla="*/ 1476375 h 1476375"/>
                <a:gd name="connsiteX3" fmla="*/ 1590675 w 2857500"/>
                <a:gd name="connsiteY3" fmla="*/ 838200 h 1476375"/>
                <a:gd name="connsiteX4" fmla="*/ 1743075 w 2857500"/>
                <a:gd name="connsiteY4" fmla="*/ 1057275 h 1476375"/>
                <a:gd name="connsiteX5" fmla="*/ 1990725 w 2857500"/>
                <a:gd name="connsiteY5" fmla="*/ 952500 h 1476375"/>
                <a:gd name="connsiteX6" fmla="*/ 2009775 w 2857500"/>
                <a:gd name="connsiteY6" fmla="*/ 1162050 h 1476375"/>
                <a:gd name="connsiteX7" fmla="*/ 2228850 w 2857500"/>
                <a:gd name="connsiteY7" fmla="*/ 762000 h 1476375"/>
                <a:gd name="connsiteX8" fmla="*/ 2857500 w 2857500"/>
                <a:gd name="connsiteY8" fmla="*/ 333375 h 1476375"/>
                <a:gd name="connsiteX0" fmla="*/ 0 w 2857500"/>
                <a:gd name="connsiteY0" fmla="*/ 0 h 1476375"/>
                <a:gd name="connsiteX1" fmla="*/ 485775 w 2857500"/>
                <a:gd name="connsiteY1" fmla="*/ 0 h 1476375"/>
                <a:gd name="connsiteX2" fmla="*/ 828675 w 2857500"/>
                <a:gd name="connsiteY2" fmla="*/ 1476375 h 1476375"/>
                <a:gd name="connsiteX3" fmla="*/ 1743075 w 2857500"/>
                <a:gd name="connsiteY3" fmla="*/ 1057275 h 1476375"/>
                <a:gd name="connsiteX4" fmla="*/ 1990725 w 2857500"/>
                <a:gd name="connsiteY4" fmla="*/ 952500 h 1476375"/>
                <a:gd name="connsiteX5" fmla="*/ 2009775 w 2857500"/>
                <a:gd name="connsiteY5" fmla="*/ 1162050 h 1476375"/>
                <a:gd name="connsiteX6" fmla="*/ 2228850 w 2857500"/>
                <a:gd name="connsiteY6" fmla="*/ 762000 h 1476375"/>
                <a:gd name="connsiteX7" fmla="*/ 2857500 w 2857500"/>
                <a:gd name="connsiteY7" fmla="*/ 333375 h 1476375"/>
                <a:gd name="connsiteX0" fmla="*/ 0 w 2857500"/>
                <a:gd name="connsiteY0" fmla="*/ 0 h 1476375"/>
                <a:gd name="connsiteX1" fmla="*/ 485775 w 2857500"/>
                <a:gd name="connsiteY1" fmla="*/ 0 h 1476375"/>
                <a:gd name="connsiteX2" fmla="*/ 828675 w 2857500"/>
                <a:gd name="connsiteY2" fmla="*/ 1476375 h 1476375"/>
                <a:gd name="connsiteX3" fmla="*/ 1990725 w 2857500"/>
                <a:gd name="connsiteY3" fmla="*/ 952500 h 1476375"/>
                <a:gd name="connsiteX4" fmla="*/ 2009775 w 2857500"/>
                <a:gd name="connsiteY4" fmla="*/ 1162050 h 1476375"/>
                <a:gd name="connsiteX5" fmla="*/ 2228850 w 2857500"/>
                <a:gd name="connsiteY5" fmla="*/ 762000 h 1476375"/>
                <a:gd name="connsiteX6" fmla="*/ 2857500 w 2857500"/>
                <a:gd name="connsiteY6" fmla="*/ 333375 h 1476375"/>
                <a:gd name="connsiteX0" fmla="*/ 0 w 2857500"/>
                <a:gd name="connsiteY0" fmla="*/ 0 h 1476375"/>
                <a:gd name="connsiteX1" fmla="*/ 485775 w 2857500"/>
                <a:gd name="connsiteY1" fmla="*/ 0 h 1476375"/>
                <a:gd name="connsiteX2" fmla="*/ 828675 w 2857500"/>
                <a:gd name="connsiteY2" fmla="*/ 1476375 h 1476375"/>
                <a:gd name="connsiteX3" fmla="*/ 2009775 w 2857500"/>
                <a:gd name="connsiteY3" fmla="*/ 1162050 h 1476375"/>
                <a:gd name="connsiteX4" fmla="*/ 2228850 w 2857500"/>
                <a:gd name="connsiteY4" fmla="*/ 762000 h 1476375"/>
                <a:gd name="connsiteX5" fmla="*/ 2857500 w 2857500"/>
                <a:gd name="connsiteY5" fmla="*/ 333375 h 1476375"/>
                <a:gd name="connsiteX0" fmla="*/ 0 w 2857500"/>
                <a:gd name="connsiteY0" fmla="*/ 0 h 1476375"/>
                <a:gd name="connsiteX1" fmla="*/ 485775 w 2857500"/>
                <a:gd name="connsiteY1" fmla="*/ 0 h 1476375"/>
                <a:gd name="connsiteX2" fmla="*/ 828675 w 2857500"/>
                <a:gd name="connsiteY2" fmla="*/ 1476375 h 1476375"/>
                <a:gd name="connsiteX3" fmla="*/ 2228850 w 2857500"/>
                <a:gd name="connsiteY3" fmla="*/ 762000 h 1476375"/>
                <a:gd name="connsiteX4" fmla="*/ 2857500 w 2857500"/>
                <a:gd name="connsiteY4" fmla="*/ 333375 h 1476375"/>
                <a:gd name="connsiteX0" fmla="*/ 0 w 2228851"/>
                <a:gd name="connsiteY0" fmla="*/ 0 h 1476375"/>
                <a:gd name="connsiteX1" fmla="*/ 485775 w 2228851"/>
                <a:gd name="connsiteY1" fmla="*/ 0 h 1476375"/>
                <a:gd name="connsiteX2" fmla="*/ 828675 w 2228851"/>
                <a:gd name="connsiteY2" fmla="*/ 1476375 h 1476375"/>
                <a:gd name="connsiteX3" fmla="*/ 2228850 w 2228851"/>
                <a:gd name="connsiteY3" fmla="*/ 762000 h 1476375"/>
                <a:gd name="connsiteX0" fmla="*/ 0 w 828675"/>
                <a:gd name="connsiteY0" fmla="*/ 0 h 1476375"/>
                <a:gd name="connsiteX1" fmla="*/ 485775 w 828675"/>
                <a:gd name="connsiteY1" fmla="*/ 0 h 1476375"/>
                <a:gd name="connsiteX2" fmla="*/ 828675 w 828675"/>
                <a:gd name="connsiteY2" fmla="*/ 1476375 h 1476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28675" h="1476375">
                  <a:moveTo>
                    <a:pt x="0" y="0"/>
                  </a:moveTo>
                  <a:lnTo>
                    <a:pt x="485775" y="0"/>
                  </a:lnTo>
                  <a:lnTo>
                    <a:pt x="828675" y="1476375"/>
                  </a:lnTo>
                </a:path>
              </a:pathLst>
            </a:custGeom>
            <a:noFill/>
            <a:ln w="285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Freeform: Shape 260">
              <a:extLst>
                <a:ext uri="{FF2B5EF4-FFF2-40B4-BE49-F238E27FC236}">
                  <a16:creationId xmlns:a16="http://schemas.microsoft.com/office/drawing/2014/main" id="{E7BD1C36-04E0-443E-8ABC-733EB242BD32}"/>
                </a:ext>
              </a:extLst>
            </p:cNvPr>
            <p:cNvSpPr/>
            <p:nvPr/>
          </p:nvSpPr>
          <p:spPr>
            <a:xfrm flipH="1">
              <a:off x="2737128" y="1623578"/>
              <a:ext cx="65700" cy="521486"/>
            </a:xfrm>
            <a:custGeom>
              <a:avLst/>
              <a:gdLst>
                <a:gd name="connsiteX0" fmla="*/ 0 w 1479176"/>
                <a:gd name="connsiteY0" fmla="*/ 0 h 4144580"/>
                <a:gd name="connsiteX1" fmla="*/ 80682 w 1479176"/>
                <a:gd name="connsiteY1" fmla="*/ 2348753 h 4144580"/>
                <a:gd name="connsiteX2" fmla="*/ 125506 w 1479176"/>
                <a:gd name="connsiteY2" fmla="*/ 4061012 h 4144580"/>
                <a:gd name="connsiteX3" fmla="*/ 1479176 w 1479176"/>
                <a:gd name="connsiteY3" fmla="*/ 3836895 h 4144580"/>
                <a:gd name="connsiteX0" fmla="*/ 0 w 1506070"/>
                <a:gd name="connsiteY0" fmla="*/ 0 h 4144580"/>
                <a:gd name="connsiteX1" fmla="*/ 107576 w 1506070"/>
                <a:gd name="connsiteY1" fmla="*/ 2348753 h 4144580"/>
                <a:gd name="connsiteX2" fmla="*/ 152400 w 1506070"/>
                <a:gd name="connsiteY2" fmla="*/ 4061012 h 4144580"/>
                <a:gd name="connsiteX3" fmla="*/ 1506070 w 1506070"/>
                <a:gd name="connsiteY3" fmla="*/ 3836895 h 4144580"/>
                <a:gd name="connsiteX0" fmla="*/ 0 w 1506070"/>
                <a:gd name="connsiteY0" fmla="*/ 0 h 4144580"/>
                <a:gd name="connsiteX1" fmla="*/ 107576 w 1506070"/>
                <a:gd name="connsiteY1" fmla="*/ 2348753 h 4144580"/>
                <a:gd name="connsiteX2" fmla="*/ 152400 w 1506070"/>
                <a:gd name="connsiteY2" fmla="*/ 4061012 h 4144580"/>
                <a:gd name="connsiteX3" fmla="*/ 1506070 w 1506070"/>
                <a:gd name="connsiteY3" fmla="*/ 3836895 h 4144580"/>
                <a:gd name="connsiteX0" fmla="*/ 0 w 1506070"/>
                <a:gd name="connsiteY0" fmla="*/ 0 h 4215211"/>
                <a:gd name="connsiteX1" fmla="*/ 878540 w 1506070"/>
                <a:gd name="connsiteY1" fmla="*/ 1353670 h 4215211"/>
                <a:gd name="connsiteX2" fmla="*/ 152400 w 1506070"/>
                <a:gd name="connsiteY2" fmla="*/ 4061012 h 4215211"/>
                <a:gd name="connsiteX3" fmla="*/ 1506070 w 1506070"/>
                <a:gd name="connsiteY3" fmla="*/ 3836895 h 4215211"/>
                <a:gd name="connsiteX0" fmla="*/ 0 w 879094"/>
                <a:gd name="connsiteY0" fmla="*/ 0 h 4061012"/>
                <a:gd name="connsiteX1" fmla="*/ 878540 w 879094"/>
                <a:gd name="connsiteY1" fmla="*/ 1353670 h 4061012"/>
                <a:gd name="connsiteX2" fmla="*/ 152400 w 879094"/>
                <a:gd name="connsiteY2" fmla="*/ 4061012 h 4061012"/>
                <a:gd name="connsiteX0" fmla="*/ 0 w 1246095"/>
                <a:gd name="connsiteY0" fmla="*/ 0 h 3137648"/>
                <a:gd name="connsiteX1" fmla="*/ 878540 w 1246095"/>
                <a:gd name="connsiteY1" fmla="*/ 1353670 h 3137648"/>
                <a:gd name="connsiteX2" fmla="*/ 1246095 w 1246095"/>
                <a:gd name="connsiteY2" fmla="*/ 3137648 h 3137648"/>
                <a:gd name="connsiteX0" fmla="*/ 0 w 1246095"/>
                <a:gd name="connsiteY0" fmla="*/ 0 h 3141011"/>
                <a:gd name="connsiteX1" fmla="*/ 878540 w 1246095"/>
                <a:gd name="connsiteY1" fmla="*/ 1353670 h 3141011"/>
                <a:gd name="connsiteX2" fmla="*/ 1246095 w 1246095"/>
                <a:gd name="connsiteY2" fmla="*/ 3137648 h 3141011"/>
                <a:gd name="connsiteX0" fmla="*/ 0 w 1246095"/>
                <a:gd name="connsiteY0" fmla="*/ 0 h 3141732"/>
                <a:gd name="connsiteX1" fmla="*/ 878540 w 1246095"/>
                <a:gd name="connsiteY1" fmla="*/ 1353670 h 3141732"/>
                <a:gd name="connsiteX2" fmla="*/ 1246095 w 1246095"/>
                <a:gd name="connsiteY2" fmla="*/ 3137648 h 3141732"/>
                <a:gd name="connsiteX0" fmla="*/ 0 w 1246095"/>
                <a:gd name="connsiteY0" fmla="*/ 0 h 3141931"/>
                <a:gd name="connsiteX1" fmla="*/ 761998 w 1246095"/>
                <a:gd name="connsiteY1" fmla="*/ 1407458 h 3141931"/>
                <a:gd name="connsiteX2" fmla="*/ 1246095 w 1246095"/>
                <a:gd name="connsiteY2" fmla="*/ 3137648 h 3141931"/>
                <a:gd name="connsiteX0" fmla="*/ 0 w 1246095"/>
                <a:gd name="connsiteY0" fmla="*/ 0 h 3142036"/>
                <a:gd name="connsiteX1" fmla="*/ 761998 w 1246095"/>
                <a:gd name="connsiteY1" fmla="*/ 1407458 h 3142036"/>
                <a:gd name="connsiteX2" fmla="*/ 1246095 w 1246095"/>
                <a:gd name="connsiteY2" fmla="*/ 3137648 h 3142036"/>
                <a:gd name="connsiteX0" fmla="*/ 0 w 1246095"/>
                <a:gd name="connsiteY0" fmla="*/ 0 h 3137648"/>
                <a:gd name="connsiteX1" fmla="*/ 761998 w 1246095"/>
                <a:gd name="connsiteY1" fmla="*/ 1407458 h 3137648"/>
                <a:gd name="connsiteX2" fmla="*/ 1246095 w 1246095"/>
                <a:gd name="connsiteY2" fmla="*/ 3137648 h 3137648"/>
                <a:gd name="connsiteX0" fmla="*/ 0 w 1246095"/>
                <a:gd name="connsiteY0" fmla="*/ 0 h 3137648"/>
                <a:gd name="connsiteX1" fmla="*/ 761998 w 1246095"/>
                <a:gd name="connsiteY1" fmla="*/ 1407458 h 3137648"/>
                <a:gd name="connsiteX2" fmla="*/ 1246095 w 1246095"/>
                <a:gd name="connsiteY2" fmla="*/ 3137648 h 3137648"/>
                <a:gd name="connsiteX0" fmla="*/ 0 w 1246095"/>
                <a:gd name="connsiteY0" fmla="*/ 0 h 3137648"/>
                <a:gd name="connsiteX1" fmla="*/ 761998 w 1246095"/>
                <a:gd name="connsiteY1" fmla="*/ 1407458 h 3137648"/>
                <a:gd name="connsiteX2" fmla="*/ 1246095 w 1246095"/>
                <a:gd name="connsiteY2" fmla="*/ 3137648 h 3137648"/>
                <a:gd name="connsiteX0" fmla="*/ 0 w 1246095"/>
                <a:gd name="connsiteY0" fmla="*/ 0 h 3137648"/>
                <a:gd name="connsiteX1" fmla="*/ 699245 w 1246095"/>
                <a:gd name="connsiteY1" fmla="*/ 1407458 h 3137648"/>
                <a:gd name="connsiteX2" fmla="*/ 1246095 w 1246095"/>
                <a:gd name="connsiteY2" fmla="*/ 3137648 h 3137648"/>
                <a:gd name="connsiteX0" fmla="*/ 0 w 1521888"/>
                <a:gd name="connsiteY0" fmla="*/ 0 h 3241449"/>
                <a:gd name="connsiteX1" fmla="*/ 699245 w 1521888"/>
                <a:gd name="connsiteY1" fmla="*/ 1407458 h 3241449"/>
                <a:gd name="connsiteX2" fmla="*/ 1521888 w 1521888"/>
                <a:gd name="connsiteY2" fmla="*/ 3241449 h 3241449"/>
                <a:gd name="connsiteX0" fmla="*/ 0 w 1521888"/>
                <a:gd name="connsiteY0" fmla="*/ 0 h 3290899"/>
                <a:gd name="connsiteX1" fmla="*/ 699245 w 1521888"/>
                <a:gd name="connsiteY1" fmla="*/ 1407458 h 3290899"/>
                <a:gd name="connsiteX2" fmla="*/ 1521888 w 1521888"/>
                <a:gd name="connsiteY2" fmla="*/ 3241449 h 3290899"/>
                <a:gd name="connsiteX0" fmla="*/ 0 w 1521888"/>
                <a:gd name="connsiteY0" fmla="*/ 0 h 3160496"/>
                <a:gd name="connsiteX1" fmla="*/ 699245 w 1521888"/>
                <a:gd name="connsiteY1" fmla="*/ 1407458 h 3160496"/>
                <a:gd name="connsiteX2" fmla="*/ 1521888 w 1521888"/>
                <a:gd name="connsiteY2" fmla="*/ 3107994 h 3160496"/>
                <a:gd name="connsiteX0" fmla="*/ 0 w 1521888"/>
                <a:gd name="connsiteY0" fmla="*/ 0 h 3247390"/>
                <a:gd name="connsiteX1" fmla="*/ 699245 w 1521888"/>
                <a:gd name="connsiteY1" fmla="*/ 1407458 h 3247390"/>
                <a:gd name="connsiteX2" fmla="*/ 1521888 w 1521888"/>
                <a:gd name="connsiteY2" fmla="*/ 3196962 h 32473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21888" h="3247390">
                  <a:moveTo>
                    <a:pt x="0" y="0"/>
                  </a:moveTo>
                  <a:cubicBezTo>
                    <a:pt x="594658" y="2242"/>
                    <a:pt x="445597" y="874631"/>
                    <a:pt x="699245" y="1407458"/>
                  </a:cubicBezTo>
                  <a:cubicBezTo>
                    <a:pt x="952893" y="1940285"/>
                    <a:pt x="809820" y="3551351"/>
                    <a:pt x="1521888" y="3196962"/>
                  </a:cubicBezTo>
                </a:path>
              </a:pathLst>
            </a:custGeom>
            <a:noFill/>
            <a:ln w="25400">
              <a:solidFill>
                <a:srgbClr val="81050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6" name="Freeform: Shape 261">
              <a:extLst>
                <a:ext uri="{FF2B5EF4-FFF2-40B4-BE49-F238E27FC236}">
                  <a16:creationId xmlns:a16="http://schemas.microsoft.com/office/drawing/2014/main" id="{A6772FE5-C75B-496D-8B84-B52F5CE7AE64}"/>
                </a:ext>
              </a:extLst>
            </p:cNvPr>
            <p:cNvSpPr/>
            <p:nvPr/>
          </p:nvSpPr>
          <p:spPr>
            <a:xfrm>
              <a:off x="2802829" y="1623577"/>
              <a:ext cx="53794" cy="503863"/>
            </a:xfrm>
            <a:custGeom>
              <a:avLst/>
              <a:gdLst>
                <a:gd name="connsiteX0" fmla="*/ 0 w 1479176"/>
                <a:gd name="connsiteY0" fmla="*/ 0 h 4144580"/>
                <a:gd name="connsiteX1" fmla="*/ 80682 w 1479176"/>
                <a:gd name="connsiteY1" fmla="*/ 2348753 h 4144580"/>
                <a:gd name="connsiteX2" fmla="*/ 125506 w 1479176"/>
                <a:gd name="connsiteY2" fmla="*/ 4061012 h 4144580"/>
                <a:gd name="connsiteX3" fmla="*/ 1479176 w 1479176"/>
                <a:gd name="connsiteY3" fmla="*/ 3836895 h 4144580"/>
                <a:gd name="connsiteX0" fmla="*/ 0 w 1506070"/>
                <a:gd name="connsiteY0" fmla="*/ 0 h 4144580"/>
                <a:gd name="connsiteX1" fmla="*/ 107576 w 1506070"/>
                <a:gd name="connsiteY1" fmla="*/ 2348753 h 4144580"/>
                <a:gd name="connsiteX2" fmla="*/ 152400 w 1506070"/>
                <a:gd name="connsiteY2" fmla="*/ 4061012 h 4144580"/>
                <a:gd name="connsiteX3" fmla="*/ 1506070 w 1506070"/>
                <a:gd name="connsiteY3" fmla="*/ 3836895 h 4144580"/>
                <a:gd name="connsiteX0" fmla="*/ 0 w 1506070"/>
                <a:gd name="connsiteY0" fmla="*/ 0 h 4144580"/>
                <a:gd name="connsiteX1" fmla="*/ 107576 w 1506070"/>
                <a:gd name="connsiteY1" fmla="*/ 2348753 h 4144580"/>
                <a:gd name="connsiteX2" fmla="*/ 152400 w 1506070"/>
                <a:gd name="connsiteY2" fmla="*/ 4061012 h 4144580"/>
                <a:gd name="connsiteX3" fmla="*/ 1506070 w 1506070"/>
                <a:gd name="connsiteY3" fmla="*/ 3836895 h 4144580"/>
                <a:gd name="connsiteX0" fmla="*/ 0 w 1506070"/>
                <a:gd name="connsiteY0" fmla="*/ 0 h 4215211"/>
                <a:gd name="connsiteX1" fmla="*/ 878540 w 1506070"/>
                <a:gd name="connsiteY1" fmla="*/ 1353670 h 4215211"/>
                <a:gd name="connsiteX2" fmla="*/ 152400 w 1506070"/>
                <a:gd name="connsiteY2" fmla="*/ 4061012 h 4215211"/>
                <a:gd name="connsiteX3" fmla="*/ 1506070 w 1506070"/>
                <a:gd name="connsiteY3" fmla="*/ 3836895 h 4215211"/>
                <a:gd name="connsiteX0" fmla="*/ 0 w 879094"/>
                <a:gd name="connsiteY0" fmla="*/ 0 h 4061012"/>
                <a:gd name="connsiteX1" fmla="*/ 878540 w 879094"/>
                <a:gd name="connsiteY1" fmla="*/ 1353670 h 4061012"/>
                <a:gd name="connsiteX2" fmla="*/ 152400 w 879094"/>
                <a:gd name="connsiteY2" fmla="*/ 4061012 h 4061012"/>
                <a:gd name="connsiteX0" fmla="*/ 0 w 1246095"/>
                <a:gd name="connsiteY0" fmla="*/ 0 h 3137648"/>
                <a:gd name="connsiteX1" fmla="*/ 878540 w 1246095"/>
                <a:gd name="connsiteY1" fmla="*/ 1353670 h 3137648"/>
                <a:gd name="connsiteX2" fmla="*/ 1246095 w 1246095"/>
                <a:gd name="connsiteY2" fmla="*/ 3137648 h 3137648"/>
                <a:gd name="connsiteX0" fmla="*/ 0 w 1246095"/>
                <a:gd name="connsiteY0" fmla="*/ 0 h 3141011"/>
                <a:gd name="connsiteX1" fmla="*/ 878540 w 1246095"/>
                <a:gd name="connsiteY1" fmla="*/ 1353670 h 3141011"/>
                <a:gd name="connsiteX2" fmla="*/ 1246095 w 1246095"/>
                <a:gd name="connsiteY2" fmla="*/ 3137648 h 3141011"/>
                <a:gd name="connsiteX0" fmla="*/ 0 w 1246095"/>
                <a:gd name="connsiteY0" fmla="*/ 0 h 3141732"/>
                <a:gd name="connsiteX1" fmla="*/ 878540 w 1246095"/>
                <a:gd name="connsiteY1" fmla="*/ 1353670 h 3141732"/>
                <a:gd name="connsiteX2" fmla="*/ 1246095 w 1246095"/>
                <a:gd name="connsiteY2" fmla="*/ 3137648 h 3141732"/>
                <a:gd name="connsiteX0" fmla="*/ 0 w 1246095"/>
                <a:gd name="connsiteY0" fmla="*/ 0 h 3141931"/>
                <a:gd name="connsiteX1" fmla="*/ 761998 w 1246095"/>
                <a:gd name="connsiteY1" fmla="*/ 1407458 h 3141931"/>
                <a:gd name="connsiteX2" fmla="*/ 1246095 w 1246095"/>
                <a:gd name="connsiteY2" fmla="*/ 3137648 h 3141931"/>
                <a:gd name="connsiteX0" fmla="*/ 0 w 1246095"/>
                <a:gd name="connsiteY0" fmla="*/ 0 h 3142036"/>
                <a:gd name="connsiteX1" fmla="*/ 761998 w 1246095"/>
                <a:gd name="connsiteY1" fmla="*/ 1407458 h 3142036"/>
                <a:gd name="connsiteX2" fmla="*/ 1246095 w 1246095"/>
                <a:gd name="connsiteY2" fmla="*/ 3137648 h 3142036"/>
                <a:gd name="connsiteX0" fmla="*/ 0 w 1246095"/>
                <a:gd name="connsiteY0" fmla="*/ 0 h 3137648"/>
                <a:gd name="connsiteX1" fmla="*/ 761998 w 1246095"/>
                <a:gd name="connsiteY1" fmla="*/ 1407458 h 3137648"/>
                <a:gd name="connsiteX2" fmla="*/ 1246095 w 1246095"/>
                <a:gd name="connsiteY2" fmla="*/ 3137648 h 3137648"/>
                <a:gd name="connsiteX0" fmla="*/ 0 w 1246095"/>
                <a:gd name="connsiteY0" fmla="*/ 0 h 3137648"/>
                <a:gd name="connsiteX1" fmla="*/ 761998 w 1246095"/>
                <a:gd name="connsiteY1" fmla="*/ 1407458 h 3137648"/>
                <a:gd name="connsiteX2" fmla="*/ 1246095 w 1246095"/>
                <a:gd name="connsiteY2" fmla="*/ 3137648 h 3137648"/>
                <a:gd name="connsiteX0" fmla="*/ 0 w 1246095"/>
                <a:gd name="connsiteY0" fmla="*/ 0 h 3137648"/>
                <a:gd name="connsiteX1" fmla="*/ 761998 w 1246095"/>
                <a:gd name="connsiteY1" fmla="*/ 1407458 h 3137648"/>
                <a:gd name="connsiteX2" fmla="*/ 1246095 w 1246095"/>
                <a:gd name="connsiteY2" fmla="*/ 3137648 h 3137648"/>
                <a:gd name="connsiteX0" fmla="*/ 0 w 1246095"/>
                <a:gd name="connsiteY0" fmla="*/ 0 h 3137648"/>
                <a:gd name="connsiteX1" fmla="*/ 699245 w 1246095"/>
                <a:gd name="connsiteY1" fmla="*/ 1407458 h 3137648"/>
                <a:gd name="connsiteX2" fmla="*/ 1246095 w 1246095"/>
                <a:gd name="connsiteY2" fmla="*/ 3137648 h 3137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46095" h="3137648">
                  <a:moveTo>
                    <a:pt x="0" y="0"/>
                  </a:moveTo>
                  <a:cubicBezTo>
                    <a:pt x="594658" y="2242"/>
                    <a:pt x="679822" y="1252069"/>
                    <a:pt x="699245" y="1407458"/>
                  </a:cubicBezTo>
                  <a:cubicBezTo>
                    <a:pt x="718668" y="1562847"/>
                    <a:pt x="809812" y="3136154"/>
                    <a:pt x="1246095" y="3137648"/>
                  </a:cubicBezTo>
                </a:path>
              </a:pathLst>
            </a:custGeom>
            <a:noFill/>
            <a:ln w="25400">
              <a:solidFill>
                <a:srgbClr val="81050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7" name="Freeform: Shape 262">
              <a:extLst>
                <a:ext uri="{FF2B5EF4-FFF2-40B4-BE49-F238E27FC236}">
                  <a16:creationId xmlns:a16="http://schemas.microsoft.com/office/drawing/2014/main" id="{B37A1F54-1642-424E-A652-713746FE3A97}"/>
                </a:ext>
              </a:extLst>
            </p:cNvPr>
            <p:cNvSpPr/>
            <p:nvPr/>
          </p:nvSpPr>
          <p:spPr>
            <a:xfrm flipH="1">
              <a:off x="2856623" y="1623577"/>
              <a:ext cx="53794" cy="503863"/>
            </a:xfrm>
            <a:custGeom>
              <a:avLst/>
              <a:gdLst>
                <a:gd name="connsiteX0" fmla="*/ 0 w 1479176"/>
                <a:gd name="connsiteY0" fmla="*/ 0 h 4144580"/>
                <a:gd name="connsiteX1" fmla="*/ 80682 w 1479176"/>
                <a:gd name="connsiteY1" fmla="*/ 2348753 h 4144580"/>
                <a:gd name="connsiteX2" fmla="*/ 125506 w 1479176"/>
                <a:gd name="connsiteY2" fmla="*/ 4061012 h 4144580"/>
                <a:gd name="connsiteX3" fmla="*/ 1479176 w 1479176"/>
                <a:gd name="connsiteY3" fmla="*/ 3836895 h 4144580"/>
                <a:gd name="connsiteX0" fmla="*/ 0 w 1506070"/>
                <a:gd name="connsiteY0" fmla="*/ 0 h 4144580"/>
                <a:gd name="connsiteX1" fmla="*/ 107576 w 1506070"/>
                <a:gd name="connsiteY1" fmla="*/ 2348753 h 4144580"/>
                <a:gd name="connsiteX2" fmla="*/ 152400 w 1506070"/>
                <a:gd name="connsiteY2" fmla="*/ 4061012 h 4144580"/>
                <a:gd name="connsiteX3" fmla="*/ 1506070 w 1506070"/>
                <a:gd name="connsiteY3" fmla="*/ 3836895 h 4144580"/>
                <a:gd name="connsiteX0" fmla="*/ 0 w 1506070"/>
                <a:gd name="connsiteY0" fmla="*/ 0 h 4144580"/>
                <a:gd name="connsiteX1" fmla="*/ 107576 w 1506070"/>
                <a:gd name="connsiteY1" fmla="*/ 2348753 h 4144580"/>
                <a:gd name="connsiteX2" fmla="*/ 152400 w 1506070"/>
                <a:gd name="connsiteY2" fmla="*/ 4061012 h 4144580"/>
                <a:gd name="connsiteX3" fmla="*/ 1506070 w 1506070"/>
                <a:gd name="connsiteY3" fmla="*/ 3836895 h 4144580"/>
                <a:gd name="connsiteX0" fmla="*/ 0 w 1506070"/>
                <a:gd name="connsiteY0" fmla="*/ 0 h 4215211"/>
                <a:gd name="connsiteX1" fmla="*/ 878540 w 1506070"/>
                <a:gd name="connsiteY1" fmla="*/ 1353670 h 4215211"/>
                <a:gd name="connsiteX2" fmla="*/ 152400 w 1506070"/>
                <a:gd name="connsiteY2" fmla="*/ 4061012 h 4215211"/>
                <a:gd name="connsiteX3" fmla="*/ 1506070 w 1506070"/>
                <a:gd name="connsiteY3" fmla="*/ 3836895 h 4215211"/>
                <a:gd name="connsiteX0" fmla="*/ 0 w 879094"/>
                <a:gd name="connsiteY0" fmla="*/ 0 h 4061012"/>
                <a:gd name="connsiteX1" fmla="*/ 878540 w 879094"/>
                <a:gd name="connsiteY1" fmla="*/ 1353670 h 4061012"/>
                <a:gd name="connsiteX2" fmla="*/ 152400 w 879094"/>
                <a:gd name="connsiteY2" fmla="*/ 4061012 h 4061012"/>
                <a:gd name="connsiteX0" fmla="*/ 0 w 1246095"/>
                <a:gd name="connsiteY0" fmla="*/ 0 h 3137648"/>
                <a:gd name="connsiteX1" fmla="*/ 878540 w 1246095"/>
                <a:gd name="connsiteY1" fmla="*/ 1353670 h 3137648"/>
                <a:gd name="connsiteX2" fmla="*/ 1246095 w 1246095"/>
                <a:gd name="connsiteY2" fmla="*/ 3137648 h 3137648"/>
                <a:gd name="connsiteX0" fmla="*/ 0 w 1246095"/>
                <a:gd name="connsiteY0" fmla="*/ 0 h 3141011"/>
                <a:gd name="connsiteX1" fmla="*/ 878540 w 1246095"/>
                <a:gd name="connsiteY1" fmla="*/ 1353670 h 3141011"/>
                <a:gd name="connsiteX2" fmla="*/ 1246095 w 1246095"/>
                <a:gd name="connsiteY2" fmla="*/ 3137648 h 3141011"/>
                <a:gd name="connsiteX0" fmla="*/ 0 w 1246095"/>
                <a:gd name="connsiteY0" fmla="*/ 0 h 3141732"/>
                <a:gd name="connsiteX1" fmla="*/ 878540 w 1246095"/>
                <a:gd name="connsiteY1" fmla="*/ 1353670 h 3141732"/>
                <a:gd name="connsiteX2" fmla="*/ 1246095 w 1246095"/>
                <a:gd name="connsiteY2" fmla="*/ 3137648 h 3141732"/>
                <a:gd name="connsiteX0" fmla="*/ 0 w 1246095"/>
                <a:gd name="connsiteY0" fmla="*/ 0 h 3141931"/>
                <a:gd name="connsiteX1" fmla="*/ 761998 w 1246095"/>
                <a:gd name="connsiteY1" fmla="*/ 1407458 h 3141931"/>
                <a:gd name="connsiteX2" fmla="*/ 1246095 w 1246095"/>
                <a:gd name="connsiteY2" fmla="*/ 3137648 h 3141931"/>
                <a:gd name="connsiteX0" fmla="*/ 0 w 1246095"/>
                <a:gd name="connsiteY0" fmla="*/ 0 h 3142036"/>
                <a:gd name="connsiteX1" fmla="*/ 761998 w 1246095"/>
                <a:gd name="connsiteY1" fmla="*/ 1407458 h 3142036"/>
                <a:gd name="connsiteX2" fmla="*/ 1246095 w 1246095"/>
                <a:gd name="connsiteY2" fmla="*/ 3137648 h 3142036"/>
                <a:gd name="connsiteX0" fmla="*/ 0 w 1246095"/>
                <a:gd name="connsiteY0" fmla="*/ 0 h 3137648"/>
                <a:gd name="connsiteX1" fmla="*/ 761998 w 1246095"/>
                <a:gd name="connsiteY1" fmla="*/ 1407458 h 3137648"/>
                <a:gd name="connsiteX2" fmla="*/ 1246095 w 1246095"/>
                <a:gd name="connsiteY2" fmla="*/ 3137648 h 3137648"/>
                <a:gd name="connsiteX0" fmla="*/ 0 w 1246095"/>
                <a:gd name="connsiteY0" fmla="*/ 0 h 3137648"/>
                <a:gd name="connsiteX1" fmla="*/ 761998 w 1246095"/>
                <a:gd name="connsiteY1" fmla="*/ 1407458 h 3137648"/>
                <a:gd name="connsiteX2" fmla="*/ 1246095 w 1246095"/>
                <a:gd name="connsiteY2" fmla="*/ 3137648 h 3137648"/>
                <a:gd name="connsiteX0" fmla="*/ 0 w 1246095"/>
                <a:gd name="connsiteY0" fmla="*/ 0 h 3137648"/>
                <a:gd name="connsiteX1" fmla="*/ 761998 w 1246095"/>
                <a:gd name="connsiteY1" fmla="*/ 1407458 h 3137648"/>
                <a:gd name="connsiteX2" fmla="*/ 1246095 w 1246095"/>
                <a:gd name="connsiteY2" fmla="*/ 3137648 h 3137648"/>
                <a:gd name="connsiteX0" fmla="*/ 0 w 1246095"/>
                <a:gd name="connsiteY0" fmla="*/ 0 h 3137648"/>
                <a:gd name="connsiteX1" fmla="*/ 699245 w 1246095"/>
                <a:gd name="connsiteY1" fmla="*/ 1407458 h 3137648"/>
                <a:gd name="connsiteX2" fmla="*/ 1246095 w 1246095"/>
                <a:gd name="connsiteY2" fmla="*/ 3137648 h 3137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46095" h="3137648">
                  <a:moveTo>
                    <a:pt x="0" y="0"/>
                  </a:moveTo>
                  <a:cubicBezTo>
                    <a:pt x="594658" y="2242"/>
                    <a:pt x="679822" y="1252069"/>
                    <a:pt x="699245" y="1407458"/>
                  </a:cubicBezTo>
                  <a:cubicBezTo>
                    <a:pt x="718668" y="1562847"/>
                    <a:pt x="809812" y="3136154"/>
                    <a:pt x="1246095" y="3137648"/>
                  </a:cubicBezTo>
                </a:path>
              </a:pathLst>
            </a:custGeom>
            <a:noFill/>
            <a:ln w="25400">
              <a:solidFill>
                <a:srgbClr val="81050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8" name="Freeform: Shape 263">
              <a:extLst>
                <a:ext uri="{FF2B5EF4-FFF2-40B4-BE49-F238E27FC236}">
                  <a16:creationId xmlns:a16="http://schemas.microsoft.com/office/drawing/2014/main" id="{23FB6634-21BA-4999-901D-66868A612B7A}"/>
                </a:ext>
              </a:extLst>
            </p:cNvPr>
            <p:cNvSpPr/>
            <p:nvPr/>
          </p:nvSpPr>
          <p:spPr>
            <a:xfrm>
              <a:off x="2907872" y="1623577"/>
              <a:ext cx="53794" cy="503863"/>
            </a:xfrm>
            <a:custGeom>
              <a:avLst/>
              <a:gdLst>
                <a:gd name="connsiteX0" fmla="*/ 0 w 1479176"/>
                <a:gd name="connsiteY0" fmla="*/ 0 h 4144580"/>
                <a:gd name="connsiteX1" fmla="*/ 80682 w 1479176"/>
                <a:gd name="connsiteY1" fmla="*/ 2348753 h 4144580"/>
                <a:gd name="connsiteX2" fmla="*/ 125506 w 1479176"/>
                <a:gd name="connsiteY2" fmla="*/ 4061012 h 4144580"/>
                <a:gd name="connsiteX3" fmla="*/ 1479176 w 1479176"/>
                <a:gd name="connsiteY3" fmla="*/ 3836895 h 4144580"/>
                <a:gd name="connsiteX0" fmla="*/ 0 w 1506070"/>
                <a:gd name="connsiteY0" fmla="*/ 0 h 4144580"/>
                <a:gd name="connsiteX1" fmla="*/ 107576 w 1506070"/>
                <a:gd name="connsiteY1" fmla="*/ 2348753 h 4144580"/>
                <a:gd name="connsiteX2" fmla="*/ 152400 w 1506070"/>
                <a:gd name="connsiteY2" fmla="*/ 4061012 h 4144580"/>
                <a:gd name="connsiteX3" fmla="*/ 1506070 w 1506070"/>
                <a:gd name="connsiteY3" fmla="*/ 3836895 h 4144580"/>
                <a:gd name="connsiteX0" fmla="*/ 0 w 1506070"/>
                <a:gd name="connsiteY0" fmla="*/ 0 h 4144580"/>
                <a:gd name="connsiteX1" fmla="*/ 107576 w 1506070"/>
                <a:gd name="connsiteY1" fmla="*/ 2348753 h 4144580"/>
                <a:gd name="connsiteX2" fmla="*/ 152400 w 1506070"/>
                <a:gd name="connsiteY2" fmla="*/ 4061012 h 4144580"/>
                <a:gd name="connsiteX3" fmla="*/ 1506070 w 1506070"/>
                <a:gd name="connsiteY3" fmla="*/ 3836895 h 4144580"/>
                <a:gd name="connsiteX0" fmla="*/ 0 w 1506070"/>
                <a:gd name="connsiteY0" fmla="*/ 0 h 4215211"/>
                <a:gd name="connsiteX1" fmla="*/ 878540 w 1506070"/>
                <a:gd name="connsiteY1" fmla="*/ 1353670 h 4215211"/>
                <a:gd name="connsiteX2" fmla="*/ 152400 w 1506070"/>
                <a:gd name="connsiteY2" fmla="*/ 4061012 h 4215211"/>
                <a:gd name="connsiteX3" fmla="*/ 1506070 w 1506070"/>
                <a:gd name="connsiteY3" fmla="*/ 3836895 h 4215211"/>
                <a:gd name="connsiteX0" fmla="*/ 0 w 879094"/>
                <a:gd name="connsiteY0" fmla="*/ 0 h 4061012"/>
                <a:gd name="connsiteX1" fmla="*/ 878540 w 879094"/>
                <a:gd name="connsiteY1" fmla="*/ 1353670 h 4061012"/>
                <a:gd name="connsiteX2" fmla="*/ 152400 w 879094"/>
                <a:gd name="connsiteY2" fmla="*/ 4061012 h 4061012"/>
                <a:gd name="connsiteX0" fmla="*/ 0 w 1246095"/>
                <a:gd name="connsiteY0" fmla="*/ 0 h 3137648"/>
                <a:gd name="connsiteX1" fmla="*/ 878540 w 1246095"/>
                <a:gd name="connsiteY1" fmla="*/ 1353670 h 3137648"/>
                <a:gd name="connsiteX2" fmla="*/ 1246095 w 1246095"/>
                <a:gd name="connsiteY2" fmla="*/ 3137648 h 3137648"/>
                <a:gd name="connsiteX0" fmla="*/ 0 w 1246095"/>
                <a:gd name="connsiteY0" fmla="*/ 0 h 3141011"/>
                <a:gd name="connsiteX1" fmla="*/ 878540 w 1246095"/>
                <a:gd name="connsiteY1" fmla="*/ 1353670 h 3141011"/>
                <a:gd name="connsiteX2" fmla="*/ 1246095 w 1246095"/>
                <a:gd name="connsiteY2" fmla="*/ 3137648 h 3141011"/>
                <a:gd name="connsiteX0" fmla="*/ 0 w 1246095"/>
                <a:gd name="connsiteY0" fmla="*/ 0 h 3141732"/>
                <a:gd name="connsiteX1" fmla="*/ 878540 w 1246095"/>
                <a:gd name="connsiteY1" fmla="*/ 1353670 h 3141732"/>
                <a:gd name="connsiteX2" fmla="*/ 1246095 w 1246095"/>
                <a:gd name="connsiteY2" fmla="*/ 3137648 h 3141732"/>
                <a:gd name="connsiteX0" fmla="*/ 0 w 1246095"/>
                <a:gd name="connsiteY0" fmla="*/ 0 h 3141931"/>
                <a:gd name="connsiteX1" fmla="*/ 761998 w 1246095"/>
                <a:gd name="connsiteY1" fmla="*/ 1407458 h 3141931"/>
                <a:gd name="connsiteX2" fmla="*/ 1246095 w 1246095"/>
                <a:gd name="connsiteY2" fmla="*/ 3137648 h 3141931"/>
                <a:gd name="connsiteX0" fmla="*/ 0 w 1246095"/>
                <a:gd name="connsiteY0" fmla="*/ 0 h 3142036"/>
                <a:gd name="connsiteX1" fmla="*/ 761998 w 1246095"/>
                <a:gd name="connsiteY1" fmla="*/ 1407458 h 3142036"/>
                <a:gd name="connsiteX2" fmla="*/ 1246095 w 1246095"/>
                <a:gd name="connsiteY2" fmla="*/ 3137648 h 3142036"/>
                <a:gd name="connsiteX0" fmla="*/ 0 w 1246095"/>
                <a:gd name="connsiteY0" fmla="*/ 0 h 3137648"/>
                <a:gd name="connsiteX1" fmla="*/ 761998 w 1246095"/>
                <a:gd name="connsiteY1" fmla="*/ 1407458 h 3137648"/>
                <a:gd name="connsiteX2" fmla="*/ 1246095 w 1246095"/>
                <a:gd name="connsiteY2" fmla="*/ 3137648 h 3137648"/>
                <a:gd name="connsiteX0" fmla="*/ 0 w 1246095"/>
                <a:gd name="connsiteY0" fmla="*/ 0 h 3137648"/>
                <a:gd name="connsiteX1" fmla="*/ 761998 w 1246095"/>
                <a:gd name="connsiteY1" fmla="*/ 1407458 h 3137648"/>
                <a:gd name="connsiteX2" fmla="*/ 1246095 w 1246095"/>
                <a:gd name="connsiteY2" fmla="*/ 3137648 h 3137648"/>
                <a:gd name="connsiteX0" fmla="*/ 0 w 1246095"/>
                <a:gd name="connsiteY0" fmla="*/ 0 h 3137648"/>
                <a:gd name="connsiteX1" fmla="*/ 761998 w 1246095"/>
                <a:gd name="connsiteY1" fmla="*/ 1407458 h 3137648"/>
                <a:gd name="connsiteX2" fmla="*/ 1246095 w 1246095"/>
                <a:gd name="connsiteY2" fmla="*/ 3137648 h 3137648"/>
                <a:gd name="connsiteX0" fmla="*/ 0 w 1246095"/>
                <a:gd name="connsiteY0" fmla="*/ 0 h 3137648"/>
                <a:gd name="connsiteX1" fmla="*/ 699245 w 1246095"/>
                <a:gd name="connsiteY1" fmla="*/ 1407458 h 3137648"/>
                <a:gd name="connsiteX2" fmla="*/ 1246095 w 1246095"/>
                <a:gd name="connsiteY2" fmla="*/ 3137648 h 3137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46095" h="3137648">
                  <a:moveTo>
                    <a:pt x="0" y="0"/>
                  </a:moveTo>
                  <a:cubicBezTo>
                    <a:pt x="594658" y="2242"/>
                    <a:pt x="679822" y="1252069"/>
                    <a:pt x="699245" y="1407458"/>
                  </a:cubicBezTo>
                  <a:cubicBezTo>
                    <a:pt x="718668" y="1562847"/>
                    <a:pt x="809812" y="3136154"/>
                    <a:pt x="1246095" y="3137648"/>
                  </a:cubicBezTo>
                </a:path>
              </a:pathLst>
            </a:custGeom>
            <a:noFill/>
            <a:ln w="25400">
              <a:solidFill>
                <a:srgbClr val="81050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9" name="Freeform: Shape 264">
              <a:extLst>
                <a:ext uri="{FF2B5EF4-FFF2-40B4-BE49-F238E27FC236}">
                  <a16:creationId xmlns:a16="http://schemas.microsoft.com/office/drawing/2014/main" id="{9DE19E09-63BF-460C-A9EF-A4EEA69E8B36}"/>
                </a:ext>
              </a:extLst>
            </p:cNvPr>
            <p:cNvSpPr/>
            <p:nvPr/>
          </p:nvSpPr>
          <p:spPr>
            <a:xfrm flipH="1">
              <a:off x="2961666" y="1623577"/>
              <a:ext cx="53794" cy="503863"/>
            </a:xfrm>
            <a:custGeom>
              <a:avLst/>
              <a:gdLst>
                <a:gd name="connsiteX0" fmla="*/ 0 w 1479176"/>
                <a:gd name="connsiteY0" fmla="*/ 0 h 4144580"/>
                <a:gd name="connsiteX1" fmla="*/ 80682 w 1479176"/>
                <a:gd name="connsiteY1" fmla="*/ 2348753 h 4144580"/>
                <a:gd name="connsiteX2" fmla="*/ 125506 w 1479176"/>
                <a:gd name="connsiteY2" fmla="*/ 4061012 h 4144580"/>
                <a:gd name="connsiteX3" fmla="*/ 1479176 w 1479176"/>
                <a:gd name="connsiteY3" fmla="*/ 3836895 h 4144580"/>
                <a:gd name="connsiteX0" fmla="*/ 0 w 1506070"/>
                <a:gd name="connsiteY0" fmla="*/ 0 h 4144580"/>
                <a:gd name="connsiteX1" fmla="*/ 107576 w 1506070"/>
                <a:gd name="connsiteY1" fmla="*/ 2348753 h 4144580"/>
                <a:gd name="connsiteX2" fmla="*/ 152400 w 1506070"/>
                <a:gd name="connsiteY2" fmla="*/ 4061012 h 4144580"/>
                <a:gd name="connsiteX3" fmla="*/ 1506070 w 1506070"/>
                <a:gd name="connsiteY3" fmla="*/ 3836895 h 4144580"/>
                <a:gd name="connsiteX0" fmla="*/ 0 w 1506070"/>
                <a:gd name="connsiteY0" fmla="*/ 0 h 4144580"/>
                <a:gd name="connsiteX1" fmla="*/ 107576 w 1506070"/>
                <a:gd name="connsiteY1" fmla="*/ 2348753 h 4144580"/>
                <a:gd name="connsiteX2" fmla="*/ 152400 w 1506070"/>
                <a:gd name="connsiteY2" fmla="*/ 4061012 h 4144580"/>
                <a:gd name="connsiteX3" fmla="*/ 1506070 w 1506070"/>
                <a:gd name="connsiteY3" fmla="*/ 3836895 h 4144580"/>
                <a:gd name="connsiteX0" fmla="*/ 0 w 1506070"/>
                <a:gd name="connsiteY0" fmla="*/ 0 h 4215211"/>
                <a:gd name="connsiteX1" fmla="*/ 878540 w 1506070"/>
                <a:gd name="connsiteY1" fmla="*/ 1353670 h 4215211"/>
                <a:gd name="connsiteX2" fmla="*/ 152400 w 1506070"/>
                <a:gd name="connsiteY2" fmla="*/ 4061012 h 4215211"/>
                <a:gd name="connsiteX3" fmla="*/ 1506070 w 1506070"/>
                <a:gd name="connsiteY3" fmla="*/ 3836895 h 4215211"/>
                <a:gd name="connsiteX0" fmla="*/ 0 w 879094"/>
                <a:gd name="connsiteY0" fmla="*/ 0 h 4061012"/>
                <a:gd name="connsiteX1" fmla="*/ 878540 w 879094"/>
                <a:gd name="connsiteY1" fmla="*/ 1353670 h 4061012"/>
                <a:gd name="connsiteX2" fmla="*/ 152400 w 879094"/>
                <a:gd name="connsiteY2" fmla="*/ 4061012 h 4061012"/>
                <a:gd name="connsiteX0" fmla="*/ 0 w 1246095"/>
                <a:gd name="connsiteY0" fmla="*/ 0 h 3137648"/>
                <a:gd name="connsiteX1" fmla="*/ 878540 w 1246095"/>
                <a:gd name="connsiteY1" fmla="*/ 1353670 h 3137648"/>
                <a:gd name="connsiteX2" fmla="*/ 1246095 w 1246095"/>
                <a:gd name="connsiteY2" fmla="*/ 3137648 h 3137648"/>
                <a:gd name="connsiteX0" fmla="*/ 0 w 1246095"/>
                <a:gd name="connsiteY0" fmla="*/ 0 h 3141011"/>
                <a:gd name="connsiteX1" fmla="*/ 878540 w 1246095"/>
                <a:gd name="connsiteY1" fmla="*/ 1353670 h 3141011"/>
                <a:gd name="connsiteX2" fmla="*/ 1246095 w 1246095"/>
                <a:gd name="connsiteY2" fmla="*/ 3137648 h 3141011"/>
                <a:gd name="connsiteX0" fmla="*/ 0 w 1246095"/>
                <a:gd name="connsiteY0" fmla="*/ 0 h 3141732"/>
                <a:gd name="connsiteX1" fmla="*/ 878540 w 1246095"/>
                <a:gd name="connsiteY1" fmla="*/ 1353670 h 3141732"/>
                <a:gd name="connsiteX2" fmla="*/ 1246095 w 1246095"/>
                <a:gd name="connsiteY2" fmla="*/ 3137648 h 3141732"/>
                <a:gd name="connsiteX0" fmla="*/ 0 w 1246095"/>
                <a:gd name="connsiteY0" fmla="*/ 0 h 3141931"/>
                <a:gd name="connsiteX1" fmla="*/ 761998 w 1246095"/>
                <a:gd name="connsiteY1" fmla="*/ 1407458 h 3141931"/>
                <a:gd name="connsiteX2" fmla="*/ 1246095 w 1246095"/>
                <a:gd name="connsiteY2" fmla="*/ 3137648 h 3141931"/>
                <a:gd name="connsiteX0" fmla="*/ 0 w 1246095"/>
                <a:gd name="connsiteY0" fmla="*/ 0 h 3142036"/>
                <a:gd name="connsiteX1" fmla="*/ 761998 w 1246095"/>
                <a:gd name="connsiteY1" fmla="*/ 1407458 h 3142036"/>
                <a:gd name="connsiteX2" fmla="*/ 1246095 w 1246095"/>
                <a:gd name="connsiteY2" fmla="*/ 3137648 h 3142036"/>
                <a:gd name="connsiteX0" fmla="*/ 0 w 1246095"/>
                <a:gd name="connsiteY0" fmla="*/ 0 h 3137648"/>
                <a:gd name="connsiteX1" fmla="*/ 761998 w 1246095"/>
                <a:gd name="connsiteY1" fmla="*/ 1407458 h 3137648"/>
                <a:gd name="connsiteX2" fmla="*/ 1246095 w 1246095"/>
                <a:gd name="connsiteY2" fmla="*/ 3137648 h 3137648"/>
                <a:gd name="connsiteX0" fmla="*/ 0 w 1246095"/>
                <a:gd name="connsiteY0" fmla="*/ 0 h 3137648"/>
                <a:gd name="connsiteX1" fmla="*/ 761998 w 1246095"/>
                <a:gd name="connsiteY1" fmla="*/ 1407458 h 3137648"/>
                <a:gd name="connsiteX2" fmla="*/ 1246095 w 1246095"/>
                <a:gd name="connsiteY2" fmla="*/ 3137648 h 3137648"/>
                <a:gd name="connsiteX0" fmla="*/ 0 w 1246095"/>
                <a:gd name="connsiteY0" fmla="*/ 0 h 3137648"/>
                <a:gd name="connsiteX1" fmla="*/ 761998 w 1246095"/>
                <a:gd name="connsiteY1" fmla="*/ 1407458 h 3137648"/>
                <a:gd name="connsiteX2" fmla="*/ 1246095 w 1246095"/>
                <a:gd name="connsiteY2" fmla="*/ 3137648 h 3137648"/>
                <a:gd name="connsiteX0" fmla="*/ 0 w 1246095"/>
                <a:gd name="connsiteY0" fmla="*/ 0 h 3137648"/>
                <a:gd name="connsiteX1" fmla="*/ 699245 w 1246095"/>
                <a:gd name="connsiteY1" fmla="*/ 1407458 h 3137648"/>
                <a:gd name="connsiteX2" fmla="*/ 1246095 w 1246095"/>
                <a:gd name="connsiteY2" fmla="*/ 3137648 h 3137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46095" h="3137648">
                  <a:moveTo>
                    <a:pt x="0" y="0"/>
                  </a:moveTo>
                  <a:cubicBezTo>
                    <a:pt x="594658" y="2242"/>
                    <a:pt x="679822" y="1252069"/>
                    <a:pt x="699245" y="1407458"/>
                  </a:cubicBezTo>
                  <a:cubicBezTo>
                    <a:pt x="718668" y="1562847"/>
                    <a:pt x="809812" y="3136154"/>
                    <a:pt x="1246095" y="3137648"/>
                  </a:cubicBezTo>
                </a:path>
              </a:pathLst>
            </a:custGeom>
            <a:noFill/>
            <a:ln w="25400">
              <a:solidFill>
                <a:srgbClr val="81050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0" name="Freeform: Shape 265">
              <a:extLst>
                <a:ext uri="{FF2B5EF4-FFF2-40B4-BE49-F238E27FC236}">
                  <a16:creationId xmlns:a16="http://schemas.microsoft.com/office/drawing/2014/main" id="{D5AA6D11-EFEC-4C42-81C2-C2F4602DEFB2}"/>
                </a:ext>
              </a:extLst>
            </p:cNvPr>
            <p:cNvSpPr/>
            <p:nvPr/>
          </p:nvSpPr>
          <p:spPr>
            <a:xfrm>
              <a:off x="3015461" y="1623577"/>
              <a:ext cx="53794" cy="503863"/>
            </a:xfrm>
            <a:custGeom>
              <a:avLst/>
              <a:gdLst>
                <a:gd name="connsiteX0" fmla="*/ 0 w 1479176"/>
                <a:gd name="connsiteY0" fmla="*/ 0 h 4144580"/>
                <a:gd name="connsiteX1" fmla="*/ 80682 w 1479176"/>
                <a:gd name="connsiteY1" fmla="*/ 2348753 h 4144580"/>
                <a:gd name="connsiteX2" fmla="*/ 125506 w 1479176"/>
                <a:gd name="connsiteY2" fmla="*/ 4061012 h 4144580"/>
                <a:gd name="connsiteX3" fmla="*/ 1479176 w 1479176"/>
                <a:gd name="connsiteY3" fmla="*/ 3836895 h 4144580"/>
                <a:gd name="connsiteX0" fmla="*/ 0 w 1506070"/>
                <a:gd name="connsiteY0" fmla="*/ 0 h 4144580"/>
                <a:gd name="connsiteX1" fmla="*/ 107576 w 1506070"/>
                <a:gd name="connsiteY1" fmla="*/ 2348753 h 4144580"/>
                <a:gd name="connsiteX2" fmla="*/ 152400 w 1506070"/>
                <a:gd name="connsiteY2" fmla="*/ 4061012 h 4144580"/>
                <a:gd name="connsiteX3" fmla="*/ 1506070 w 1506070"/>
                <a:gd name="connsiteY3" fmla="*/ 3836895 h 4144580"/>
                <a:gd name="connsiteX0" fmla="*/ 0 w 1506070"/>
                <a:gd name="connsiteY0" fmla="*/ 0 h 4144580"/>
                <a:gd name="connsiteX1" fmla="*/ 107576 w 1506070"/>
                <a:gd name="connsiteY1" fmla="*/ 2348753 h 4144580"/>
                <a:gd name="connsiteX2" fmla="*/ 152400 w 1506070"/>
                <a:gd name="connsiteY2" fmla="*/ 4061012 h 4144580"/>
                <a:gd name="connsiteX3" fmla="*/ 1506070 w 1506070"/>
                <a:gd name="connsiteY3" fmla="*/ 3836895 h 4144580"/>
                <a:gd name="connsiteX0" fmla="*/ 0 w 1506070"/>
                <a:gd name="connsiteY0" fmla="*/ 0 h 4215211"/>
                <a:gd name="connsiteX1" fmla="*/ 878540 w 1506070"/>
                <a:gd name="connsiteY1" fmla="*/ 1353670 h 4215211"/>
                <a:gd name="connsiteX2" fmla="*/ 152400 w 1506070"/>
                <a:gd name="connsiteY2" fmla="*/ 4061012 h 4215211"/>
                <a:gd name="connsiteX3" fmla="*/ 1506070 w 1506070"/>
                <a:gd name="connsiteY3" fmla="*/ 3836895 h 4215211"/>
                <a:gd name="connsiteX0" fmla="*/ 0 w 879094"/>
                <a:gd name="connsiteY0" fmla="*/ 0 h 4061012"/>
                <a:gd name="connsiteX1" fmla="*/ 878540 w 879094"/>
                <a:gd name="connsiteY1" fmla="*/ 1353670 h 4061012"/>
                <a:gd name="connsiteX2" fmla="*/ 152400 w 879094"/>
                <a:gd name="connsiteY2" fmla="*/ 4061012 h 4061012"/>
                <a:gd name="connsiteX0" fmla="*/ 0 w 1246095"/>
                <a:gd name="connsiteY0" fmla="*/ 0 h 3137648"/>
                <a:gd name="connsiteX1" fmla="*/ 878540 w 1246095"/>
                <a:gd name="connsiteY1" fmla="*/ 1353670 h 3137648"/>
                <a:gd name="connsiteX2" fmla="*/ 1246095 w 1246095"/>
                <a:gd name="connsiteY2" fmla="*/ 3137648 h 3137648"/>
                <a:gd name="connsiteX0" fmla="*/ 0 w 1246095"/>
                <a:gd name="connsiteY0" fmla="*/ 0 h 3141011"/>
                <a:gd name="connsiteX1" fmla="*/ 878540 w 1246095"/>
                <a:gd name="connsiteY1" fmla="*/ 1353670 h 3141011"/>
                <a:gd name="connsiteX2" fmla="*/ 1246095 w 1246095"/>
                <a:gd name="connsiteY2" fmla="*/ 3137648 h 3141011"/>
                <a:gd name="connsiteX0" fmla="*/ 0 w 1246095"/>
                <a:gd name="connsiteY0" fmla="*/ 0 h 3141732"/>
                <a:gd name="connsiteX1" fmla="*/ 878540 w 1246095"/>
                <a:gd name="connsiteY1" fmla="*/ 1353670 h 3141732"/>
                <a:gd name="connsiteX2" fmla="*/ 1246095 w 1246095"/>
                <a:gd name="connsiteY2" fmla="*/ 3137648 h 3141732"/>
                <a:gd name="connsiteX0" fmla="*/ 0 w 1246095"/>
                <a:gd name="connsiteY0" fmla="*/ 0 h 3141931"/>
                <a:gd name="connsiteX1" fmla="*/ 761998 w 1246095"/>
                <a:gd name="connsiteY1" fmla="*/ 1407458 h 3141931"/>
                <a:gd name="connsiteX2" fmla="*/ 1246095 w 1246095"/>
                <a:gd name="connsiteY2" fmla="*/ 3137648 h 3141931"/>
                <a:gd name="connsiteX0" fmla="*/ 0 w 1246095"/>
                <a:gd name="connsiteY0" fmla="*/ 0 h 3142036"/>
                <a:gd name="connsiteX1" fmla="*/ 761998 w 1246095"/>
                <a:gd name="connsiteY1" fmla="*/ 1407458 h 3142036"/>
                <a:gd name="connsiteX2" fmla="*/ 1246095 w 1246095"/>
                <a:gd name="connsiteY2" fmla="*/ 3137648 h 3142036"/>
                <a:gd name="connsiteX0" fmla="*/ 0 w 1246095"/>
                <a:gd name="connsiteY0" fmla="*/ 0 h 3137648"/>
                <a:gd name="connsiteX1" fmla="*/ 761998 w 1246095"/>
                <a:gd name="connsiteY1" fmla="*/ 1407458 h 3137648"/>
                <a:gd name="connsiteX2" fmla="*/ 1246095 w 1246095"/>
                <a:gd name="connsiteY2" fmla="*/ 3137648 h 3137648"/>
                <a:gd name="connsiteX0" fmla="*/ 0 w 1246095"/>
                <a:gd name="connsiteY0" fmla="*/ 0 h 3137648"/>
                <a:gd name="connsiteX1" fmla="*/ 761998 w 1246095"/>
                <a:gd name="connsiteY1" fmla="*/ 1407458 h 3137648"/>
                <a:gd name="connsiteX2" fmla="*/ 1246095 w 1246095"/>
                <a:gd name="connsiteY2" fmla="*/ 3137648 h 3137648"/>
                <a:gd name="connsiteX0" fmla="*/ 0 w 1246095"/>
                <a:gd name="connsiteY0" fmla="*/ 0 h 3137648"/>
                <a:gd name="connsiteX1" fmla="*/ 761998 w 1246095"/>
                <a:gd name="connsiteY1" fmla="*/ 1407458 h 3137648"/>
                <a:gd name="connsiteX2" fmla="*/ 1246095 w 1246095"/>
                <a:gd name="connsiteY2" fmla="*/ 3137648 h 3137648"/>
                <a:gd name="connsiteX0" fmla="*/ 0 w 1246095"/>
                <a:gd name="connsiteY0" fmla="*/ 0 h 3137648"/>
                <a:gd name="connsiteX1" fmla="*/ 699245 w 1246095"/>
                <a:gd name="connsiteY1" fmla="*/ 1407458 h 3137648"/>
                <a:gd name="connsiteX2" fmla="*/ 1246095 w 1246095"/>
                <a:gd name="connsiteY2" fmla="*/ 3137648 h 3137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46095" h="3137648">
                  <a:moveTo>
                    <a:pt x="0" y="0"/>
                  </a:moveTo>
                  <a:cubicBezTo>
                    <a:pt x="594658" y="2242"/>
                    <a:pt x="679822" y="1252069"/>
                    <a:pt x="699245" y="1407458"/>
                  </a:cubicBezTo>
                  <a:cubicBezTo>
                    <a:pt x="718668" y="1562847"/>
                    <a:pt x="809812" y="3136154"/>
                    <a:pt x="1246095" y="3137648"/>
                  </a:cubicBezTo>
                </a:path>
              </a:pathLst>
            </a:custGeom>
            <a:noFill/>
            <a:ln w="25400">
              <a:solidFill>
                <a:srgbClr val="81050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1" name="Freeform: Shape 266">
              <a:extLst>
                <a:ext uri="{FF2B5EF4-FFF2-40B4-BE49-F238E27FC236}">
                  <a16:creationId xmlns:a16="http://schemas.microsoft.com/office/drawing/2014/main" id="{8B44D495-2852-40E5-B532-0E7FA653AE64}"/>
                </a:ext>
              </a:extLst>
            </p:cNvPr>
            <p:cNvSpPr/>
            <p:nvPr/>
          </p:nvSpPr>
          <p:spPr>
            <a:xfrm flipH="1">
              <a:off x="3069255" y="1849595"/>
              <a:ext cx="49746" cy="277845"/>
            </a:xfrm>
            <a:custGeom>
              <a:avLst/>
              <a:gdLst>
                <a:gd name="connsiteX0" fmla="*/ 0 w 1479176"/>
                <a:gd name="connsiteY0" fmla="*/ 0 h 4144580"/>
                <a:gd name="connsiteX1" fmla="*/ 80682 w 1479176"/>
                <a:gd name="connsiteY1" fmla="*/ 2348753 h 4144580"/>
                <a:gd name="connsiteX2" fmla="*/ 125506 w 1479176"/>
                <a:gd name="connsiteY2" fmla="*/ 4061012 h 4144580"/>
                <a:gd name="connsiteX3" fmla="*/ 1479176 w 1479176"/>
                <a:gd name="connsiteY3" fmla="*/ 3836895 h 4144580"/>
                <a:gd name="connsiteX0" fmla="*/ 0 w 1506070"/>
                <a:gd name="connsiteY0" fmla="*/ 0 h 4144580"/>
                <a:gd name="connsiteX1" fmla="*/ 107576 w 1506070"/>
                <a:gd name="connsiteY1" fmla="*/ 2348753 h 4144580"/>
                <a:gd name="connsiteX2" fmla="*/ 152400 w 1506070"/>
                <a:gd name="connsiteY2" fmla="*/ 4061012 h 4144580"/>
                <a:gd name="connsiteX3" fmla="*/ 1506070 w 1506070"/>
                <a:gd name="connsiteY3" fmla="*/ 3836895 h 4144580"/>
                <a:gd name="connsiteX0" fmla="*/ 0 w 1506070"/>
                <a:gd name="connsiteY0" fmla="*/ 0 h 4144580"/>
                <a:gd name="connsiteX1" fmla="*/ 107576 w 1506070"/>
                <a:gd name="connsiteY1" fmla="*/ 2348753 h 4144580"/>
                <a:gd name="connsiteX2" fmla="*/ 152400 w 1506070"/>
                <a:gd name="connsiteY2" fmla="*/ 4061012 h 4144580"/>
                <a:gd name="connsiteX3" fmla="*/ 1506070 w 1506070"/>
                <a:gd name="connsiteY3" fmla="*/ 3836895 h 4144580"/>
                <a:gd name="connsiteX0" fmla="*/ 0 w 1506070"/>
                <a:gd name="connsiteY0" fmla="*/ 0 h 4215211"/>
                <a:gd name="connsiteX1" fmla="*/ 878540 w 1506070"/>
                <a:gd name="connsiteY1" fmla="*/ 1353670 h 4215211"/>
                <a:gd name="connsiteX2" fmla="*/ 152400 w 1506070"/>
                <a:gd name="connsiteY2" fmla="*/ 4061012 h 4215211"/>
                <a:gd name="connsiteX3" fmla="*/ 1506070 w 1506070"/>
                <a:gd name="connsiteY3" fmla="*/ 3836895 h 4215211"/>
                <a:gd name="connsiteX0" fmla="*/ 0 w 879094"/>
                <a:gd name="connsiteY0" fmla="*/ 0 h 4061012"/>
                <a:gd name="connsiteX1" fmla="*/ 878540 w 879094"/>
                <a:gd name="connsiteY1" fmla="*/ 1353670 h 4061012"/>
                <a:gd name="connsiteX2" fmla="*/ 152400 w 879094"/>
                <a:gd name="connsiteY2" fmla="*/ 4061012 h 4061012"/>
                <a:gd name="connsiteX0" fmla="*/ 0 w 1246095"/>
                <a:gd name="connsiteY0" fmla="*/ 0 h 3137648"/>
                <a:gd name="connsiteX1" fmla="*/ 878540 w 1246095"/>
                <a:gd name="connsiteY1" fmla="*/ 1353670 h 3137648"/>
                <a:gd name="connsiteX2" fmla="*/ 1246095 w 1246095"/>
                <a:gd name="connsiteY2" fmla="*/ 3137648 h 3137648"/>
                <a:gd name="connsiteX0" fmla="*/ 0 w 1246095"/>
                <a:gd name="connsiteY0" fmla="*/ 0 h 3141011"/>
                <a:gd name="connsiteX1" fmla="*/ 878540 w 1246095"/>
                <a:gd name="connsiteY1" fmla="*/ 1353670 h 3141011"/>
                <a:gd name="connsiteX2" fmla="*/ 1246095 w 1246095"/>
                <a:gd name="connsiteY2" fmla="*/ 3137648 h 3141011"/>
                <a:gd name="connsiteX0" fmla="*/ 0 w 1246095"/>
                <a:gd name="connsiteY0" fmla="*/ 0 h 3141732"/>
                <a:gd name="connsiteX1" fmla="*/ 878540 w 1246095"/>
                <a:gd name="connsiteY1" fmla="*/ 1353670 h 3141732"/>
                <a:gd name="connsiteX2" fmla="*/ 1246095 w 1246095"/>
                <a:gd name="connsiteY2" fmla="*/ 3137648 h 3141732"/>
                <a:gd name="connsiteX0" fmla="*/ 0 w 1246095"/>
                <a:gd name="connsiteY0" fmla="*/ 0 h 3141931"/>
                <a:gd name="connsiteX1" fmla="*/ 761998 w 1246095"/>
                <a:gd name="connsiteY1" fmla="*/ 1407458 h 3141931"/>
                <a:gd name="connsiteX2" fmla="*/ 1246095 w 1246095"/>
                <a:gd name="connsiteY2" fmla="*/ 3137648 h 3141931"/>
                <a:gd name="connsiteX0" fmla="*/ 0 w 1246095"/>
                <a:gd name="connsiteY0" fmla="*/ 0 h 3142036"/>
                <a:gd name="connsiteX1" fmla="*/ 761998 w 1246095"/>
                <a:gd name="connsiteY1" fmla="*/ 1407458 h 3142036"/>
                <a:gd name="connsiteX2" fmla="*/ 1246095 w 1246095"/>
                <a:gd name="connsiteY2" fmla="*/ 3137648 h 3142036"/>
                <a:gd name="connsiteX0" fmla="*/ 0 w 1246095"/>
                <a:gd name="connsiteY0" fmla="*/ 0 h 3137648"/>
                <a:gd name="connsiteX1" fmla="*/ 761998 w 1246095"/>
                <a:gd name="connsiteY1" fmla="*/ 1407458 h 3137648"/>
                <a:gd name="connsiteX2" fmla="*/ 1246095 w 1246095"/>
                <a:gd name="connsiteY2" fmla="*/ 3137648 h 3137648"/>
                <a:gd name="connsiteX0" fmla="*/ 0 w 1246095"/>
                <a:gd name="connsiteY0" fmla="*/ 0 h 3137648"/>
                <a:gd name="connsiteX1" fmla="*/ 761998 w 1246095"/>
                <a:gd name="connsiteY1" fmla="*/ 1407458 h 3137648"/>
                <a:gd name="connsiteX2" fmla="*/ 1246095 w 1246095"/>
                <a:gd name="connsiteY2" fmla="*/ 3137648 h 3137648"/>
                <a:gd name="connsiteX0" fmla="*/ 0 w 1246095"/>
                <a:gd name="connsiteY0" fmla="*/ 0 h 3137648"/>
                <a:gd name="connsiteX1" fmla="*/ 761998 w 1246095"/>
                <a:gd name="connsiteY1" fmla="*/ 1407458 h 3137648"/>
                <a:gd name="connsiteX2" fmla="*/ 1246095 w 1246095"/>
                <a:gd name="connsiteY2" fmla="*/ 3137648 h 3137648"/>
                <a:gd name="connsiteX0" fmla="*/ 0 w 1246095"/>
                <a:gd name="connsiteY0" fmla="*/ 0 h 3137648"/>
                <a:gd name="connsiteX1" fmla="*/ 699245 w 1246095"/>
                <a:gd name="connsiteY1" fmla="*/ 1407458 h 3137648"/>
                <a:gd name="connsiteX2" fmla="*/ 1246095 w 1246095"/>
                <a:gd name="connsiteY2" fmla="*/ 3137648 h 3137648"/>
                <a:gd name="connsiteX0" fmla="*/ 1 w 546851"/>
                <a:gd name="connsiteY0" fmla="*/ 0 h 1730190"/>
                <a:gd name="connsiteX1" fmla="*/ 546851 w 546851"/>
                <a:gd name="connsiteY1" fmla="*/ 1730190 h 1730190"/>
                <a:gd name="connsiteX0" fmla="*/ 1 w 546851"/>
                <a:gd name="connsiteY0" fmla="*/ 448 h 1730638"/>
                <a:gd name="connsiteX1" fmla="*/ 546851 w 546851"/>
                <a:gd name="connsiteY1" fmla="*/ 1730638 h 1730638"/>
                <a:gd name="connsiteX0" fmla="*/ 0 w 1050169"/>
                <a:gd name="connsiteY0" fmla="*/ 450 h 1730640"/>
                <a:gd name="connsiteX1" fmla="*/ 1050169 w 1050169"/>
                <a:gd name="connsiteY1" fmla="*/ 1730640 h 1730640"/>
                <a:gd name="connsiteX0" fmla="*/ 0 w 1050169"/>
                <a:gd name="connsiteY0" fmla="*/ 0 h 1730190"/>
                <a:gd name="connsiteX1" fmla="*/ 1050169 w 1050169"/>
                <a:gd name="connsiteY1" fmla="*/ 1730190 h 1730190"/>
                <a:gd name="connsiteX0" fmla="*/ 0 w 1207457"/>
                <a:gd name="connsiteY0" fmla="*/ 0 h 1730190"/>
                <a:gd name="connsiteX1" fmla="*/ 1207457 w 1207457"/>
                <a:gd name="connsiteY1" fmla="*/ 1730190 h 1730190"/>
                <a:gd name="connsiteX0" fmla="*/ 0 w 1207457"/>
                <a:gd name="connsiteY0" fmla="*/ 0 h 1730190"/>
                <a:gd name="connsiteX1" fmla="*/ 1207457 w 1207457"/>
                <a:gd name="connsiteY1" fmla="*/ 1730190 h 1730190"/>
                <a:gd name="connsiteX0" fmla="*/ 0 w 1152304"/>
                <a:gd name="connsiteY0" fmla="*/ 0 h 1730190"/>
                <a:gd name="connsiteX1" fmla="*/ 1152304 w 1152304"/>
                <a:gd name="connsiteY1" fmla="*/ 1730190 h 17301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2304" h="1730190">
                  <a:moveTo>
                    <a:pt x="0" y="0"/>
                  </a:moveTo>
                  <a:cubicBezTo>
                    <a:pt x="309421" y="436058"/>
                    <a:pt x="716021" y="1728696"/>
                    <a:pt x="1152304" y="1730190"/>
                  </a:cubicBezTo>
                </a:path>
              </a:pathLst>
            </a:custGeom>
            <a:noFill/>
            <a:ln w="25400">
              <a:solidFill>
                <a:srgbClr val="81050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2" name="Freeform: Shape 267">
              <a:extLst>
                <a:ext uri="{FF2B5EF4-FFF2-40B4-BE49-F238E27FC236}">
                  <a16:creationId xmlns:a16="http://schemas.microsoft.com/office/drawing/2014/main" id="{6023F014-82E6-45B1-BC05-FBE084936BAB}"/>
                </a:ext>
              </a:extLst>
            </p:cNvPr>
            <p:cNvSpPr/>
            <p:nvPr/>
          </p:nvSpPr>
          <p:spPr>
            <a:xfrm flipH="1">
              <a:off x="3113912" y="1744291"/>
              <a:ext cx="41880" cy="118170"/>
            </a:xfrm>
            <a:custGeom>
              <a:avLst/>
              <a:gdLst>
                <a:gd name="connsiteX0" fmla="*/ 0 w 1479176"/>
                <a:gd name="connsiteY0" fmla="*/ 0 h 4144580"/>
                <a:gd name="connsiteX1" fmla="*/ 80682 w 1479176"/>
                <a:gd name="connsiteY1" fmla="*/ 2348753 h 4144580"/>
                <a:gd name="connsiteX2" fmla="*/ 125506 w 1479176"/>
                <a:gd name="connsiteY2" fmla="*/ 4061012 h 4144580"/>
                <a:gd name="connsiteX3" fmla="*/ 1479176 w 1479176"/>
                <a:gd name="connsiteY3" fmla="*/ 3836895 h 4144580"/>
                <a:gd name="connsiteX0" fmla="*/ 0 w 1506070"/>
                <a:gd name="connsiteY0" fmla="*/ 0 h 4144580"/>
                <a:gd name="connsiteX1" fmla="*/ 107576 w 1506070"/>
                <a:gd name="connsiteY1" fmla="*/ 2348753 h 4144580"/>
                <a:gd name="connsiteX2" fmla="*/ 152400 w 1506070"/>
                <a:gd name="connsiteY2" fmla="*/ 4061012 h 4144580"/>
                <a:gd name="connsiteX3" fmla="*/ 1506070 w 1506070"/>
                <a:gd name="connsiteY3" fmla="*/ 3836895 h 4144580"/>
                <a:gd name="connsiteX0" fmla="*/ 0 w 1506070"/>
                <a:gd name="connsiteY0" fmla="*/ 0 h 4144580"/>
                <a:gd name="connsiteX1" fmla="*/ 107576 w 1506070"/>
                <a:gd name="connsiteY1" fmla="*/ 2348753 h 4144580"/>
                <a:gd name="connsiteX2" fmla="*/ 152400 w 1506070"/>
                <a:gd name="connsiteY2" fmla="*/ 4061012 h 4144580"/>
                <a:gd name="connsiteX3" fmla="*/ 1506070 w 1506070"/>
                <a:gd name="connsiteY3" fmla="*/ 3836895 h 4144580"/>
                <a:gd name="connsiteX0" fmla="*/ 0 w 1506070"/>
                <a:gd name="connsiteY0" fmla="*/ 0 h 4215211"/>
                <a:gd name="connsiteX1" fmla="*/ 878540 w 1506070"/>
                <a:gd name="connsiteY1" fmla="*/ 1353670 h 4215211"/>
                <a:gd name="connsiteX2" fmla="*/ 152400 w 1506070"/>
                <a:gd name="connsiteY2" fmla="*/ 4061012 h 4215211"/>
                <a:gd name="connsiteX3" fmla="*/ 1506070 w 1506070"/>
                <a:gd name="connsiteY3" fmla="*/ 3836895 h 4215211"/>
                <a:gd name="connsiteX0" fmla="*/ 0 w 879094"/>
                <a:gd name="connsiteY0" fmla="*/ 0 h 4061012"/>
                <a:gd name="connsiteX1" fmla="*/ 878540 w 879094"/>
                <a:gd name="connsiteY1" fmla="*/ 1353670 h 4061012"/>
                <a:gd name="connsiteX2" fmla="*/ 152400 w 879094"/>
                <a:gd name="connsiteY2" fmla="*/ 4061012 h 4061012"/>
                <a:gd name="connsiteX0" fmla="*/ 0 w 1246095"/>
                <a:gd name="connsiteY0" fmla="*/ 0 h 3137648"/>
                <a:gd name="connsiteX1" fmla="*/ 878540 w 1246095"/>
                <a:gd name="connsiteY1" fmla="*/ 1353670 h 3137648"/>
                <a:gd name="connsiteX2" fmla="*/ 1246095 w 1246095"/>
                <a:gd name="connsiteY2" fmla="*/ 3137648 h 3137648"/>
                <a:gd name="connsiteX0" fmla="*/ 0 w 1246095"/>
                <a:gd name="connsiteY0" fmla="*/ 0 h 3141011"/>
                <a:gd name="connsiteX1" fmla="*/ 878540 w 1246095"/>
                <a:gd name="connsiteY1" fmla="*/ 1353670 h 3141011"/>
                <a:gd name="connsiteX2" fmla="*/ 1246095 w 1246095"/>
                <a:gd name="connsiteY2" fmla="*/ 3137648 h 3141011"/>
                <a:gd name="connsiteX0" fmla="*/ 0 w 1246095"/>
                <a:gd name="connsiteY0" fmla="*/ 0 h 3141732"/>
                <a:gd name="connsiteX1" fmla="*/ 878540 w 1246095"/>
                <a:gd name="connsiteY1" fmla="*/ 1353670 h 3141732"/>
                <a:gd name="connsiteX2" fmla="*/ 1246095 w 1246095"/>
                <a:gd name="connsiteY2" fmla="*/ 3137648 h 3141732"/>
                <a:gd name="connsiteX0" fmla="*/ 0 w 1246095"/>
                <a:gd name="connsiteY0" fmla="*/ 0 h 3141931"/>
                <a:gd name="connsiteX1" fmla="*/ 761998 w 1246095"/>
                <a:gd name="connsiteY1" fmla="*/ 1407458 h 3141931"/>
                <a:gd name="connsiteX2" fmla="*/ 1246095 w 1246095"/>
                <a:gd name="connsiteY2" fmla="*/ 3137648 h 3141931"/>
                <a:gd name="connsiteX0" fmla="*/ 0 w 1246095"/>
                <a:gd name="connsiteY0" fmla="*/ 0 h 3142036"/>
                <a:gd name="connsiteX1" fmla="*/ 761998 w 1246095"/>
                <a:gd name="connsiteY1" fmla="*/ 1407458 h 3142036"/>
                <a:gd name="connsiteX2" fmla="*/ 1246095 w 1246095"/>
                <a:gd name="connsiteY2" fmla="*/ 3137648 h 3142036"/>
                <a:gd name="connsiteX0" fmla="*/ 0 w 1246095"/>
                <a:gd name="connsiteY0" fmla="*/ 0 h 3137648"/>
                <a:gd name="connsiteX1" fmla="*/ 761998 w 1246095"/>
                <a:gd name="connsiteY1" fmla="*/ 1407458 h 3137648"/>
                <a:gd name="connsiteX2" fmla="*/ 1246095 w 1246095"/>
                <a:gd name="connsiteY2" fmla="*/ 3137648 h 3137648"/>
                <a:gd name="connsiteX0" fmla="*/ 0 w 1246095"/>
                <a:gd name="connsiteY0" fmla="*/ 0 h 3137648"/>
                <a:gd name="connsiteX1" fmla="*/ 761998 w 1246095"/>
                <a:gd name="connsiteY1" fmla="*/ 1407458 h 3137648"/>
                <a:gd name="connsiteX2" fmla="*/ 1246095 w 1246095"/>
                <a:gd name="connsiteY2" fmla="*/ 3137648 h 3137648"/>
                <a:gd name="connsiteX0" fmla="*/ 0 w 1246095"/>
                <a:gd name="connsiteY0" fmla="*/ 0 h 3137648"/>
                <a:gd name="connsiteX1" fmla="*/ 761998 w 1246095"/>
                <a:gd name="connsiteY1" fmla="*/ 1407458 h 3137648"/>
                <a:gd name="connsiteX2" fmla="*/ 1246095 w 1246095"/>
                <a:gd name="connsiteY2" fmla="*/ 3137648 h 3137648"/>
                <a:gd name="connsiteX0" fmla="*/ 0 w 1246095"/>
                <a:gd name="connsiteY0" fmla="*/ 0 h 3137648"/>
                <a:gd name="connsiteX1" fmla="*/ 699245 w 1246095"/>
                <a:gd name="connsiteY1" fmla="*/ 1407458 h 3137648"/>
                <a:gd name="connsiteX2" fmla="*/ 1246095 w 1246095"/>
                <a:gd name="connsiteY2" fmla="*/ 3137648 h 3137648"/>
                <a:gd name="connsiteX0" fmla="*/ 0 w 1246095"/>
                <a:gd name="connsiteY0" fmla="*/ 0 h 3202168"/>
                <a:gd name="connsiteX1" fmla="*/ 699245 w 1246095"/>
                <a:gd name="connsiteY1" fmla="*/ 1407458 h 3202168"/>
                <a:gd name="connsiteX2" fmla="*/ 1246095 w 1246095"/>
                <a:gd name="connsiteY2" fmla="*/ 3202168 h 3202168"/>
                <a:gd name="connsiteX0" fmla="*/ 0 w 1246095"/>
                <a:gd name="connsiteY0" fmla="*/ 0 h 3202168"/>
                <a:gd name="connsiteX1" fmla="*/ 699245 w 1246095"/>
                <a:gd name="connsiteY1" fmla="*/ 1407458 h 3202168"/>
                <a:gd name="connsiteX2" fmla="*/ 1246095 w 1246095"/>
                <a:gd name="connsiteY2" fmla="*/ 3202168 h 3202168"/>
                <a:gd name="connsiteX0" fmla="*/ 0 w 1246095"/>
                <a:gd name="connsiteY0" fmla="*/ 0 h 3202168"/>
                <a:gd name="connsiteX1" fmla="*/ 699245 w 1246095"/>
                <a:gd name="connsiteY1" fmla="*/ 1407458 h 3202168"/>
                <a:gd name="connsiteX2" fmla="*/ 1246095 w 1246095"/>
                <a:gd name="connsiteY2" fmla="*/ 3202168 h 3202168"/>
                <a:gd name="connsiteX0" fmla="*/ 0 w 1246095"/>
                <a:gd name="connsiteY0" fmla="*/ 0 h 3202168"/>
                <a:gd name="connsiteX1" fmla="*/ 1246095 w 1246095"/>
                <a:gd name="connsiteY1" fmla="*/ 3202168 h 3202168"/>
                <a:gd name="connsiteX0" fmla="*/ 0 w 1246095"/>
                <a:gd name="connsiteY0" fmla="*/ 0 h 3202168"/>
                <a:gd name="connsiteX1" fmla="*/ 1246095 w 1246095"/>
                <a:gd name="connsiteY1" fmla="*/ 3202168 h 3202168"/>
                <a:gd name="connsiteX0" fmla="*/ 0 w 1246095"/>
                <a:gd name="connsiteY0" fmla="*/ 0 h 3202168"/>
                <a:gd name="connsiteX1" fmla="*/ 1246095 w 1246095"/>
                <a:gd name="connsiteY1" fmla="*/ 3202168 h 3202168"/>
                <a:gd name="connsiteX0" fmla="*/ 0 w 1246095"/>
                <a:gd name="connsiteY0" fmla="*/ 0 h 3202168"/>
                <a:gd name="connsiteX1" fmla="*/ 1246095 w 1246095"/>
                <a:gd name="connsiteY1" fmla="*/ 3202168 h 3202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46095" h="3202168">
                  <a:moveTo>
                    <a:pt x="0" y="0"/>
                  </a:moveTo>
                  <a:cubicBezTo>
                    <a:pt x="911333" y="34956"/>
                    <a:pt x="901574" y="973278"/>
                    <a:pt x="1246095" y="3202168"/>
                  </a:cubicBezTo>
                </a:path>
              </a:pathLst>
            </a:custGeom>
            <a:noFill/>
            <a:ln w="25400">
              <a:solidFill>
                <a:srgbClr val="81050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3" name="Freeform: Shape 268">
              <a:extLst>
                <a:ext uri="{FF2B5EF4-FFF2-40B4-BE49-F238E27FC236}">
                  <a16:creationId xmlns:a16="http://schemas.microsoft.com/office/drawing/2014/main" id="{EFACC0C2-FD03-43F2-A232-AACCE854C8E1}"/>
                </a:ext>
              </a:extLst>
            </p:cNvPr>
            <p:cNvSpPr/>
            <p:nvPr/>
          </p:nvSpPr>
          <p:spPr>
            <a:xfrm>
              <a:off x="3155792" y="1744290"/>
              <a:ext cx="41880" cy="209267"/>
            </a:xfrm>
            <a:custGeom>
              <a:avLst/>
              <a:gdLst>
                <a:gd name="connsiteX0" fmla="*/ 0 w 1479176"/>
                <a:gd name="connsiteY0" fmla="*/ 0 h 4144580"/>
                <a:gd name="connsiteX1" fmla="*/ 80682 w 1479176"/>
                <a:gd name="connsiteY1" fmla="*/ 2348753 h 4144580"/>
                <a:gd name="connsiteX2" fmla="*/ 125506 w 1479176"/>
                <a:gd name="connsiteY2" fmla="*/ 4061012 h 4144580"/>
                <a:gd name="connsiteX3" fmla="*/ 1479176 w 1479176"/>
                <a:gd name="connsiteY3" fmla="*/ 3836895 h 4144580"/>
                <a:gd name="connsiteX0" fmla="*/ 0 w 1506070"/>
                <a:gd name="connsiteY0" fmla="*/ 0 h 4144580"/>
                <a:gd name="connsiteX1" fmla="*/ 107576 w 1506070"/>
                <a:gd name="connsiteY1" fmla="*/ 2348753 h 4144580"/>
                <a:gd name="connsiteX2" fmla="*/ 152400 w 1506070"/>
                <a:gd name="connsiteY2" fmla="*/ 4061012 h 4144580"/>
                <a:gd name="connsiteX3" fmla="*/ 1506070 w 1506070"/>
                <a:gd name="connsiteY3" fmla="*/ 3836895 h 4144580"/>
                <a:gd name="connsiteX0" fmla="*/ 0 w 1506070"/>
                <a:gd name="connsiteY0" fmla="*/ 0 h 4144580"/>
                <a:gd name="connsiteX1" fmla="*/ 107576 w 1506070"/>
                <a:gd name="connsiteY1" fmla="*/ 2348753 h 4144580"/>
                <a:gd name="connsiteX2" fmla="*/ 152400 w 1506070"/>
                <a:gd name="connsiteY2" fmla="*/ 4061012 h 4144580"/>
                <a:gd name="connsiteX3" fmla="*/ 1506070 w 1506070"/>
                <a:gd name="connsiteY3" fmla="*/ 3836895 h 4144580"/>
                <a:gd name="connsiteX0" fmla="*/ 0 w 1506070"/>
                <a:gd name="connsiteY0" fmla="*/ 0 h 4215211"/>
                <a:gd name="connsiteX1" fmla="*/ 878540 w 1506070"/>
                <a:gd name="connsiteY1" fmla="*/ 1353670 h 4215211"/>
                <a:gd name="connsiteX2" fmla="*/ 152400 w 1506070"/>
                <a:gd name="connsiteY2" fmla="*/ 4061012 h 4215211"/>
                <a:gd name="connsiteX3" fmla="*/ 1506070 w 1506070"/>
                <a:gd name="connsiteY3" fmla="*/ 3836895 h 4215211"/>
                <a:gd name="connsiteX0" fmla="*/ 0 w 879094"/>
                <a:gd name="connsiteY0" fmla="*/ 0 h 4061012"/>
                <a:gd name="connsiteX1" fmla="*/ 878540 w 879094"/>
                <a:gd name="connsiteY1" fmla="*/ 1353670 h 4061012"/>
                <a:gd name="connsiteX2" fmla="*/ 152400 w 879094"/>
                <a:gd name="connsiteY2" fmla="*/ 4061012 h 4061012"/>
                <a:gd name="connsiteX0" fmla="*/ 0 w 1246095"/>
                <a:gd name="connsiteY0" fmla="*/ 0 h 3137648"/>
                <a:gd name="connsiteX1" fmla="*/ 878540 w 1246095"/>
                <a:gd name="connsiteY1" fmla="*/ 1353670 h 3137648"/>
                <a:gd name="connsiteX2" fmla="*/ 1246095 w 1246095"/>
                <a:gd name="connsiteY2" fmla="*/ 3137648 h 3137648"/>
                <a:gd name="connsiteX0" fmla="*/ 0 w 1246095"/>
                <a:gd name="connsiteY0" fmla="*/ 0 h 3141011"/>
                <a:gd name="connsiteX1" fmla="*/ 878540 w 1246095"/>
                <a:gd name="connsiteY1" fmla="*/ 1353670 h 3141011"/>
                <a:gd name="connsiteX2" fmla="*/ 1246095 w 1246095"/>
                <a:gd name="connsiteY2" fmla="*/ 3137648 h 3141011"/>
                <a:gd name="connsiteX0" fmla="*/ 0 w 1246095"/>
                <a:gd name="connsiteY0" fmla="*/ 0 h 3141732"/>
                <a:gd name="connsiteX1" fmla="*/ 878540 w 1246095"/>
                <a:gd name="connsiteY1" fmla="*/ 1353670 h 3141732"/>
                <a:gd name="connsiteX2" fmla="*/ 1246095 w 1246095"/>
                <a:gd name="connsiteY2" fmla="*/ 3137648 h 3141732"/>
                <a:gd name="connsiteX0" fmla="*/ 0 w 1246095"/>
                <a:gd name="connsiteY0" fmla="*/ 0 h 3141931"/>
                <a:gd name="connsiteX1" fmla="*/ 761998 w 1246095"/>
                <a:gd name="connsiteY1" fmla="*/ 1407458 h 3141931"/>
                <a:gd name="connsiteX2" fmla="*/ 1246095 w 1246095"/>
                <a:gd name="connsiteY2" fmla="*/ 3137648 h 3141931"/>
                <a:gd name="connsiteX0" fmla="*/ 0 w 1246095"/>
                <a:gd name="connsiteY0" fmla="*/ 0 h 3142036"/>
                <a:gd name="connsiteX1" fmla="*/ 761998 w 1246095"/>
                <a:gd name="connsiteY1" fmla="*/ 1407458 h 3142036"/>
                <a:gd name="connsiteX2" fmla="*/ 1246095 w 1246095"/>
                <a:gd name="connsiteY2" fmla="*/ 3137648 h 3142036"/>
                <a:gd name="connsiteX0" fmla="*/ 0 w 1246095"/>
                <a:gd name="connsiteY0" fmla="*/ 0 h 3137648"/>
                <a:gd name="connsiteX1" fmla="*/ 761998 w 1246095"/>
                <a:gd name="connsiteY1" fmla="*/ 1407458 h 3137648"/>
                <a:gd name="connsiteX2" fmla="*/ 1246095 w 1246095"/>
                <a:gd name="connsiteY2" fmla="*/ 3137648 h 3137648"/>
                <a:gd name="connsiteX0" fmla="*/ 0 w 1246095"/>
                <a:gd name="connsiteY0" fmla="*/ 0 h 3137648"/>
                <a:gd name="connsiteX1" fmla="*/ 761998 w 1246095"/>
                <a:gd name="connsiteY1" fmla="*/ 1407458 h 3137648"/>
                <a:gd name="connsiteX2" fmla="*/ 1246095 w 1246095"/>
                <a:gd name="connsiteY2" fmla="*/ 3137648 h 3137648"/>
                <a:gd name="connsiteX0" fmla="*/ 0 w 1246095"/>
                <a:gd name="connsiteY0" fmla="*/ 0 h 3137648"/>
                <a:gd name="connsiteX1" fmla="*/ 761998 w 1246095"/>
                <a:gd name="connsiteY1" fmla="*/ 1407458 h 3137648"/>
                <a:gd name="connsiteX2" fmla="*/ 1246095 w 1246095"/>
                <a:gd name="connsiteY2" fmla="*/ 3137648 h 3137648"/>
                <a:gd name="connsiteX0" fmla="*/ 0 w 1246095"/>
                <a:gd name="connsiteY0" fmla="*/ 0 h 3137648"/>
                <a:gd name="connsiteX1" fmla="*/ 699245 w 1246095"/>
                <a:gd name="connsiteY1" fmla="*/ 1407458 h 3137648"/>
                <a:gd name="connsiteX2" fmla="*/ 1246095 w 1246095"/>
                <a:gd name="connsiteY2" fmla="*/ 3137648 h 3137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46095" h="3137648">
                  <a:moveTo>
                    <a:pt x="0" y="0"/>
                  </a:moveTo>
                  <a:cubicBezTo>
                    <a:pt x="594658" y="2242"/>
                    <a:pt x="679822" y="1252069"/>
                    <a:pt x="699245" y="1407458"/>
                  </a:cubicBezTo>
                  <a:cubicBezTo>
                    <a:pt x="718668" y="1562847"/>
                    <a:pt x="809812" y="3136154"/>
                    <a:pt x="1246095" y="3137648"/>
                  </a:cubicBezTo>
                </a:path>
              </a:pathLst>
            </a:custGeom>
            <a:noFill/>
            <a:ln w="25400">
              <a:solidFill>
                <a:srgbClr val="81050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4" name="Freeform: Shape 269">
              <a:extLst>
                <a:ext uri="{FF2B5EF4-FFF2-40B4-BE49-F238E27FC236}">
                  <a16:creationId xmlns:a16="http://schemas.microsoft.com/office/drawing/2014/main" id="{B5B04598-47EF-4045-9CE8-50D537A81EDC}"/>
                </a:ext>
              </a:extLst>
            </p:cNvPr>
            <p:cNvSpPr/>
            <p:nvPr/>
          </p:nvSpPr>
          <p:spPr>
            <a:xfrm flipH="1">
              <a:off x="3197672" y="1773281"/>
              <a:ext cx="41880" cy="180276"/>
            </a:xfrm>
            <a:custGeom>
              <a:avLst/>
              <a:gdLst>
                <a:gd name="connsiteX0" fmla="*/ 0 w 1479176"/>
                <a:gd name="connsiteY0" fmla="*/ 0 h 4144580"/>
                <a:gd name="connsiteX1" fmla="*/ 80682 w 1479176"/>
                <a:gd name="connsiteY1" fmla="*/ 2348753 h 4144580"/>
                <a:gd name="connsiteX2" fmla="*/ 125506 w 1479176"/>
                <a:gd name="connsiteY2" fmla="*/ 4061012 h 4144580"/>
                <a:gd name="connsiteX3" fmla="*/ 1479176 w 1479176"/>
                <a:gd name="connsiteY3" fmla="*/ 3836895 h 4144580"/>
                <a:gd name="connsiteX0" fmla="*/ 0 w 1506070"/>
                <a:gd name="connsiteY0" fmla="*/ 0 h 4144580"/>
                <a:gd name="connsiteX1" fmla="*/ 107576 w 1506070"/>
                <a:gd name="connsiteY1" fmla="*/ 2348753 h 4144580"/>
                <a:gd name="connsiteX2" fmla="*/ 152400 w 1506070"/>
                <a:gd name="connsiteY2" fmla="*/ 4061012 h 4144580"/>
                <a:gd name="connsiteX3" fmla="*/ 1506070 w 1506070"/>
                <a:gd name="connsiteY3" fmla="*/ 3836895 h 4144580"/>
                <a:gd name="connsiteX0" fmla="*/ 0 w 1506070"/>
                <a:gd name="connsiteY0" fmla="*/ 0 h 4144580"/>
                <a:gd name="connsiteX1" fmla="*/ 107576 w 1506070"/>
                <a:gd name="connsiteY1" fmla="*/ 2348753 h 4144580"/>
                <a:gd name="connsiteX2" fmla="*/ 152400 w 1506070"/>
                <a:gd name="connsiteY2" fmla="*/ 4061012 h 4144580"/>
                <a:gd name="connsiteX3" fmla="*/ 1506070 w 1506070"/>
                <a:gd name="connsiteY3" fmla="*/ 3836895 h 4144580"/>
                <a:gd name="connsiteX0" fmla="*/ 0 w 1506070"/>
                <a:gd name="connsiteY0" fmla="*/ 0 h 4215211"/>
                <a:gd name="connsiteX1" fmla="*/ 878540 w 1506070"/>
                <a:gd name="connsiteY1" fmla="*/ 1353670 h 4215211"/>
                <a:gd name="connsiteX2" fmla="*/ 152400 w 1506070"/>
                <a:gd name="connsiteY2" fmla="*/ 4061012 h 4215211"/>
                <a:gd name="connsiteX3" fmla="*/ 1506070 w 1506070"/>
                <a:gd name="connsiteY3" fmla="*/ 3836895 h 4215211"/>
                <a:gd name="connsiteX0" fmla="*/ 0 w 879094"/>
                <a:gd name="connsiteY0" fmla="*/ 0 h 4061012"/>
                <a:gd name="connsiteX1" fmla="*/ 878540 w 879094"/>
                <a:gd name="connsiteY1" fmla="*/ 1353670 h 4061012"/>
                <a:gd name="connsiteX2" fmla="*/ 152400 w 879094"/>
                <a:gd name="connsiteY2" fmla="*/ 4061012 h 4061012"/>
                <a:gd name="connsiteX0" fmla="*/ 0 w 1246095"/>
                <a:gd name="connsiteY0" fmla="*/ 0 h 3137648"/>
                <a:gd name="connsiteX1" fmla="*/ 878540 w 1246095"/>
                <a:gd name="connsiteY1" fmla="*/ 1353670 h 3137648"/>
                <a:gd name="connsiteX2" fmla="*/ 1246095 w 1246095"/>
                <a:gd name="connsiteY2" fmla="*/ 3137648 h 3137648"/>
                <a:gd name="connsiteX0" fmla="*/ 0 w 1246095"/>
                <a:gd name="connsiteY0" fmla="*/ 0 h 3141011"/>
                <a:gd name="connsiteX1" fmla="*/ 878540 w 1246095"/>
                <a:gd name="connsiteY1" fmla="*/ 1353670 h 3141011"/>
                <a:gd name="connsiteX2" fmla="*/ 1246095 w 1246095"/>
                <a:gd name="connsiteY2" fmla="*/ 3137648 h 3141011"/>
                <a:gd name="connsiteX0" fmla="*/ 0 w 1246095"/>
                <a:gd name="connsiteY0" fmla="*/ 0 h 3141732"/>
                <a:gd name="connsiteX1" fmla="*/ 878540 w 1246095"/>
                <a:gd name="connsiteY1" fmla="*/ 1353670 h 3141732"/>
                <a:gd name="connsiteX2" fmla="*/ 1246095 w 1246095"/>
                <a:gd name="connsiteY2" fmla="*/ 3137648 h 3141732"/>
                <a:gd name="connsiteX0" fmla="*/ 0 w 1246095"/>
                <a:gd name="connsiteY0" fmla="*/ 0 h 3141931"/>
                <a:gd name="connsiteX1" fmla="*/ 761998 w 1246095"/>
                <a:gd name="connsiteY1" fmla="*/ 1407458 h 3141931"/>
                <a:gd name="connsiteX2" fmla="*/ 1246095 w 1246095"/>
                <a:gd name="connsiteY2" fmla="*/ 3137648 h 3141931"/>
                <a:gd name="connsiteX0" fmla="*/ 0 w 1246095"/>
                <a:gd name="connsiteY0" fmla="*/ 0 h 3142036"/>
                <a:gd name="connsiteX1" fmla="*/ 761998 w 1246095"/>
                <a:gd name="connsiteY1" fmla="*/ 1407458 h 3142036"/>
                <a:gd name="connsiteX2" fmla="*/ 1246095 w 1246095"/>
                <a:gd name="connsiteY2" fmla="*/ 3137648 h 3142036"/>
                <a:gd name="connsiteX0" fmla="*/ 0 w 1246095"/>
                <a:gd name="connsiteY0" fmla="*/ 0 h 3137648"/>
                <a:gd name="connsiteX1" fmla="*/ 761998 w 1246095"/>
                <a:gd name="connsiteY1" fmla="*/ 1407458 h 3137648"/>
                <a:gd name="connsiteX2" fmla="*/ 1246095 w 1246095"/>
                <a:gd name="connsiteY2" fmla="*/ 3137648 h 3137648"/>
                <a:gd name="connsiteX0" fmla="*/ 0 w 1246095"/>
                <a:gd name="connsiteY0" fmla="*/ 0 h 3137648"/>
                <a:gd name="connsiteX1" fmla="*/ 761998 w 1246095"/>
                <a:gd name="connsiteY1" fmla="*/ 1407458 h 3137648"/>
                <a:gd name="connsiteX2" fmla="*/ 1246095 w 1246095"/>
                <a:gd name="connsiteY2" fmla="*/ 3137648 h 3137648"/>
                <a:gd name="connsiteX0" fmla="*/ 0 w 1246095"/>
                <a:gd name="connsiteY0" fmla="*/ 0 h 3137648"/>
                <a:gd name="connsiteX1" fmla="*/ 761998 w 1246095"/>
                <a:gd name="connsiteY1" fmla="*/ 1407458 h 3137648"/>
                <a:gd name="connsiteX2" fmla="*/ 1246095 w 1246095"/>
                <a:gd name="connsiteY2" fmla="*/ 3137648 h 3137648"/>
                <a:gd name="connsiteX0" fmla="*/ 0 w 1246095"/>
                <a:gd name="connsiteY0" fmla="*/ 0 h 3137648"/>
                <a:gd name="connsiteX1" fmla="*/ 699245 w 1246095"/>
                <a:gd name="connsiteY1" fmla="*/ 1407458 h 3137648"/>
                <a:gd name="connsiteX2" fmla="*/ 1246095 w 1246095"/>
                <a:gd name="connsiteY2" fmla="*/ 3137648 h 3137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46095" h="3137648">
                  <a:moveTo>
                    <a:pt x="0" y="0"/>
                  </a:moveTo>
                  <a:cubicBezTo>
                    <a:pt x="594658" y="2242"/>
                    <a:pt x="679822" y="1252069"/>
                    <a:pt x="699245" y="1407458"/>
                  </a:cubicBezTo>
                  <a:cubicBezTo>
                    <a:pt x="718668" y="1562847"/>
                    <a:pt x="809812" y="3136154"/>
                    <a:pt x="1246095" y="3137648"/>
                  </a:cubicBezTo>
                </a:path>
              </a:pathLst>
            </a:custGeom>
            <a:noFill/>
            <a:ln w="25400">
              <a:solidFill>
                <a:srgbClr val="81050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5" name="Freeform: Shape 270">
              <a:extLst>
                <a:ext uri="{FF2B5EF4-FFF2-40B4-BE49-F238E27FC236}">
                  <a16:creationId xmlns:a16="http://schemas.microsoft.com/office/drawing/2014/main" id="{F798F4CE-9023-4381-B117-0F9273244F4C}"/>
                </a:ext>
              </a:extLst>
            </p:cNvPr>
            <p:cNvSpPr/>
            <p:nvPr/>
          </p:nvSpPr>
          <p:spPr>
            <a:xfrm>
              <a:off x="3237570" y="1773281"/>
              <a:ext cx="41880" cy="180276"/>
            </a:xfrm>
            <a:custGeom>
              <a:avLst/>
              <a:gdLst>
                <a:gd name="connsiteX0" fmla="*/ 0 w 1479176"/>
                <a:gd name="connsiteY0" fmla="*/ 0 h 4144580"/>
                <a:gd name="connsiteX1" fmla="*/ 80682 w 1479176"/>
                <a:gd name="connsiteY1" fmla="*/ 2348753 h 4144580"/>
                <a:gd name="connsiteX2" fmla="*/ 125506 w 1479176"/>
                <a:gd name="connsiteY2" fmla="*/ 4061012 h 4144580"/>
                <a:gd name="connsiteX3" fmla="*/ 1479176 w 1479176"/>
                <a:gd name="connsiteY3" fmla="*/ 3836895 h 4144580"/>
                <a:gd name="connsiteX0" fmla="*/ 0 w 1506070"/>
                <a:gd name="connsiteY0" fmla="*/ 0 h 4144580"/>
                <a:gd name="connsiteX1" fmla="*/ 107576 w 1506070"/>
                <a:gd name="connsiteY1" fmla="*/ 2348753 h 4144580"/>
                <a:gd name="connsiteX2" fmla="*/ 152400 w 1506070"/>
                <a:gd name="connsiteY2" fmla="*/ 4061012 h 4144580"/>
                <a:gd name="connsiteX3" fmla="*/ 1506070 w 1506070"/>
                <a:gd name="connsiteY3" fmla="*/ 3836895 h 4144580"/>
                <a:gd name="connsiteX0" fmla="*/ 0 w 1506070"/>
                <a:gd name="connsiteY0" fmla="*/ 0 h 4144580"/>
                <a:gd name="connsiteX1" fmla="*/ 107576 w 1506070"/>
                <a:gd name="connsiteY1" fmla="*/ 2348753 h 4144580"/>
                <a:gd name="connsiteX2" fmla="*/ 152400 w 1506070"/>
                <a:gd name="connsiteY2" fmla="*/ 4061012 h 4144580"/>
                <a:gd name="connsiteX3" fmla="*/ 1506070 w 1506070"/>
                <a:gd name="connsiteY3" fmla="*/ 3836895 h 4144580"/>
                <a:gd name="connsiteX0" fmla="*/ 0 w 1506070"/>
                <a:gd name="connsiteY0" fmla="*/ 0 h 4215211"/>
                <a:gd name="connsiteX1" fmla="*/ 878540 w 1506070"/>
                <a:gd name="connsiteY1" fmla="*/ 1353670 h 4215211"/>
                <a:gd name="connsiteX2" fmla="*/ 152400 w 1506070"/>
                <a:gd name="connsiteY2" fmla="*/ 4061012 h 4215211"/>
                <a:gd name="connsiteX3" fmla="*/ 1506070 w 1506070"/>
                <a:gd name="connsiteY3" fmla="*/ 3836895 h 4215211"/>
                <a:gd name="connsiteX0" fmla="*/ 0 w 879094"/>
                <a:gd name="connsiteY0" fmla="*/ 0 h 4061012"/>
                <a:gd name="connsiteX1" fmla="*/ 878540 w 879094"/>
                <a:gd name="connsiteY1" fmla="*/ 1353670 h 4061012"/>
                <a:gd name="connsiteX2" fmla="*/ 152400 w 879094"/>
                <a:gd name="connsiteY2" fmla="*/ 4061012 h 4061012"/>
                <a:gd name="connsiteX0" fmla="*/ 0 w 1246095"/>
                <a:gd name="connsiteY0" fmla="*/ 0 h 3137648"/>
                <a:gd name="connsiteX1" fmla="*/ 878540 w 1246095"/>
                <a:gd name="connsiteY1" fmla="*/ 1353670 h 3137648"/>
                <a:gd name="connsiteX2" fmla="*/ 1246095 w 1246095"/>
                <a:gd name="connsiteY2" fmla="*/ 3137648 h 3137648"/>
                <a:gd name="connsiteX0" fmla="*/ 0 w 1246095"/>
                <a:gd name="connsiteY0" fmla="*/ 0 h 3141011"/>
                <a:gd name="connsiteX1" fmla="*/ 878540 w 1246095"/>
                <a:gd name="connsiteY1" fmla="*/ 1353670 h 3141011"/>
                <a:gd name="connsiteX2" fmla="*/ 1246095 w 1246095"/>
                <a:gd name="connsiteY2" fmla="*/ 3137648 h 3141011"/>
                <a:gd name="connsiteX0" fmla="*/ 0 w 1246095"/>
                <a:gd name="connsiteY0" fmla="*/ 0 h 3141732"/>
                <a:gd name="connsiteX1" fmla="*/ 878540 w 1246095"/>
                <a:gd name="connsiteY1" fmla="*/ 1353670 h 3141732"/>
                <a:gd name="connsiteX2" fmla="*/ 1246095 w 1246095"/>
                <a:gd name="connsiteY2" fmla="*/ 3137648 h 3141732"/>
                <a:gd name="connsiteX0" fmla="*/ 0 w 1246095"/>
                <a:gd name="connsiteY0" fmla="*/ 0 h 3141931"/>
                <a:gd name="connsiteX1" fmla="*/ 761998 w 1246095"/>
                <a:gd name="connsiteY1" fmla="*/ 1407458 h 3141931"/>
                <a:gd name="connsiteX2" fmla="*/ 1246095 w 1246095"/>
                <a:gd name="connsiteY2" fmla="*/ 3137648 h 3141931"/>
                <a:gd name="connsiteX0" fmla="*/ 0 w 1246095"/>
                <a:gd name="connsiteY0" fmla="*/ 0 h 3142036"/>
                <a:gd name="connsiteX1" fmla="*/ 761998 w 1246095"/>
                <a:gd name="connsiteY1" fmla="*/ 1407458 h 3142036"/>
                <a:gd name="connsiteX2" fmla="*/ 1246095 w 1246095"/>
                <a:gd name="connsiteY2" fmla="*/ 3137648 h 3142036"/>
                <a:gd name="connsiteX0" fmla="*/ 0 w 1246095"/>
                <a:gd name="connsiteY0" fmla="*/ 0 h 3137648"/>
                <a:gd name="connsiteX1" fmla="*/ 761998 w 1246095"/>
                <a:gd name="connsiteY1" fmla="*/ 1407458 h 3137648"/>
                <a:gd name="connsiteX2" fmla="*/ 1246095 w 1246095"/>
                <a:gd name="connsiteY2" fmla="*/ 3137648 h 3137648"/>
                <a:gd name="connsiteX0" fmla="*/ 0 w 1246095"/>
                <a:gd name="connsiteY0" fmla="*/ 0 h 3137648"/>
                <a:gd name="connsiteX1" fmla="*/ 761998 w 1246095"/>
                <a:gd name="connsiteY1" fmla="*/ 1407458 h 3137648"/>
                <a:gd name="connsiteX2" fmla="*/ 1246095 w 1246095"/>
                <a:gd name="connsiteY2" fmla="*/ 3137648 h 3137648"/>
                <a:gd name="connsiteX0" fmla="*/ 0 w 1246095"/>
                <a:gd name="connsiteY0" fmla="*/ 0 h 3137648"/>
                <a:gd name="connsiteX1" fmla="*/ 761998 w 1246095"/>
                <a:gd name="connsiteY1" fmla="*/ 1407458 h 3137648"/>
                <a:gd name="connsiteX2" fmla="*/ 1246095 w 1246095"/>
                <a:gd name="connsiteY2" fmla="*/ 3137648 h 3137648"/>
                <a:gd name="connsiteX0" fmla="*/ 0 w 1246095"/>
                <a:gd name="connsiteY0" fmla="*/ 0 h 3137648"/>
                <a:gd name="connsiteX1" fmla="*/ 699245 w 1246095"/>
                <a:gd name="connsiteY1" fmla="*/ 1407458 h 3137648"/>
                <a:gd name="connsiteX2" fmla="*/ 1246095 w 1246095"/>
                <a:gd name="connsiteY2" fmla="*/ 3137648 h 3137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46095" h="3137648">
                  <a:moveTo>
                    <a:pt x="0" y="0"/>
                  </a:moveTo>
                  <a:cubicBezTo>
                    <a:pt x="594658" y="2242"/>
                    <a:pt x="679822" y="1252069"/>
                    <a:pt x="699245" y="1407458"/>
                  </a:cubicBezTo>
                  <a:cubicBezTo>
                    <a:pt x="718668" y="1562847"/>
                    <a:pt x="809812" y="3136154"/>
                    <a:pt x="1246095" y="3137648"/>
                  </a:cubicBezTo>
                </a:path>
              </a:pathLst>
            </a:custGeom>
            <a:noFill/>
            <a:ln w="25400">
              <a:solidFill>
                <a:srgbClr val="81050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6" name="Freeform: Shape 271">
              <a:extLst>
                <a:ext uri="{FF2B5EF4-FFF2-40B4-BE49-F238E27FC236}">
                  <a16:creationId xmlns:a16="http://schemas.microsoft.com/office/drawing/2014/main" id="{E1FF6282-5A5E-4116-A610-5B1DB94388E4}"/>
                </a:ext>
              </a:extLst>
            </p:cNvPr>
            <p:cNvSpPr/>
            <p:nvPr/>
          </p:nvSpPr>
          <p:spPr>
            <a:xfrm flipH="1">
              <a:off x="3279450" y="1800444"/>
              <a:ext cx="41880" cy="153113"/>
            </a:xfrm>
            <a:custGeom>
              <a:avLst/>
              <a:gdLst>
                <a:gd name="connsiteX0" fmla="*/ 0 w 1479176"/>
                <a:gd name="connsiteY0" fmla="*/ 0 h 4144580"/>
                <a:gd name="connsiteX1" fmla="*/ 80682 w 1479176"/>
                <a:gd name="connsiteY1" fmla="*/ 2348753 h 4144580"/>
                <a:gd name="connsiteX2" fmla="*/ 125506 w 1479176"/>
                <a:gd name="connsiteY2" fmla="*/ 4061012 h 4144580"/>
                <a:gd name="connsiteX3" fmla="*/ 1479176 w 1479176"/>
                <a:gd name="connsiteY3" fmla="*/ 3836895 h 4144580"/>
                <a:gd name="connsiteX0" fmla="*/ 0 w 1506070"/>
                <a:gd name="connsiteY0" fmla="*/ 0 h 4144580"/>
                <a:gd name="connsiteX1" fmla="*/ 107576 w 1506070"/>
                <a:gd name="connsiteY1" fmla="*/ 2348753 h 4144580"/>
                <a:gd name="connsiteX2" fmla="*/ 152400 w 1506070"/>
                <a:gd name="connsiteY2" fmla="*/ 4061012 h 4144580"/>
                <a:gd name="connsiteX3" fmla="*/ 1506070 w 1506070"/>
                <a:gd name="connsiteY3" fmla="*/ 3836895 h 4144580"/>
                <a:gd name="connsiteX0" fmla="*/ 0 w 1506070"/>
                <a:gd name="connsiteY0" fmla="*/ 0 h 4144580"/>
                <a:gd name="connsiteX1" fmla="*/ 107576 w 1506070"/>
                <a:gd name="connsiteY1" fmla="*/ 2348753 h 4144580"/>
                <a:gd name="connsiteX2" fmla="*/ 152400 w 1506070"/>
                <a:gd name="connsiteY2" fmla="*/ 4061012 h 4144580"/>
                <a:gd name="connsiteX3" fmla="*/ 1506070 w 1506070"/>
                <a:gd name="connsiteY3" fmla="*/ 3836895 h 4144580"/>
                <a:gd name="connsiteX0" fmla="*/ 0 w 1506070"/>
                <a:gd name="connsiteY0" fmla="*/ 0 h 4215211"/>
                <a:gd name="connsiteX1" fmla="*/ 878540 w 1506070"/>
                <a:gd name="connsiteY1" fmla="*/ 1353670 h 4215211"/>
                <a:gd name="connsiteX2" fmla="*/ 152400 w 1506070"/>
                <a:gd name="connsiteY2" fmla="*/ 4061012 h 4215211"/>
                <a:gd name="connsiteX3" fmla="*/ 1506070 w 1506070"/>
                <a:gd name="connsiteY3" fmla="*/ 3836895 h 4215211"/>
                <a:gd name="connsiteX0" fmla="*/ 0 w 879094"/>
                <a:gd name="connsiteY0" fmla="*/ 0 h 4061012"/>
                <a:gd name="connsiteX1" fmla="*/ 878540 w 879094"/>
                <a:gd name="connsiteY1" fmla="*/ 1353670 h 4061012"/>
                <a:gd name="connsiteX2" fmla="*/ 152400 w 879094"/>
                <a:gd name="connsiteY2" fmla="*/ 4061012 h 4061012"/>
                <a:gd name="connsiteX0" fmla="*/ 0 w 1246095"/>
                <a:gd name="connsiteY0" fmla="*/ 0 h 3137648"/>
                <a:gd name="connsiteX1" fmla="*/ 878540 w 1246095"/>
                <a:gd name="connsiteY1" fmla="*/ 1353670 h 3137648"/>
                <a:gd name="connsiteX2" fmla="*/ 1246095 w 1246095"/>
                <a:gd name="connsiteY2" fmla="*/ 3137648 h 3137648"/>
                <a:gd name="connsiteX0" fmla="*/ 0 w 1246095"/>
                <a:gd name="connsiteY0" fmla="*/ 0 h 3141011"/>
                <a:gd name="connsiteX1" fmla="*/ 878540 w 1246095"/>
                <a:gd name="connsiteY1" fmla="*/ 1353670 h 3141011"/>
                <a:gd name="connsiteX2" fmla="*/ 1246095 w 1246095"/>
                <a:gd name="connsiteY2" fmla="*/ 3137648 h 3141011"/>
                <a:gd name="connsiteX0" fmla="*/ 0 w 1246095"/>
                <a:gd name="connsiteY0" fmla="*/ 0 h 3141732"/>
                <a:gd name="connsiteX1" fmla="*/ 878540 w 1246095"/>
                <a:gd name="connsiteY1" fmla="*/ 1353670 h 3141732"/>
                <a:gd name="connsiteX2" fmla="*/ 1246095 w 1246095"/>
                <a:gd name="connsiteY2" fmla="*/ 3137648 h 3141732"/>
                <a:gd name="connsiteX0" fmla="*/ 0 w 1246095"/>
                <a:gd name="connsiteY0" fmla="*/ 0 h 3141931"/>
                <a:gd name="connsiteX1" fmla="*/ 761998 w 1246095"/>
                <a:gd name="connsiteY1" fmla="*/ 1407458 h 3141931"/>
                <a:gd name="connsiteX2" fmla="*/ 1246095 w 1246095"/>
                <a:gd name="connsiteY2" fmla="*/ 3137648 h 3141931"/>
                <a:gd name="connsiteX0" fmla="*/ 0 w 1246095"/>
                <a:gd name="connsiteY0" fmla="*/ 0 h 3142036"/>
                <a:gd name="connsiteX1" fmla="*/ 761998 w 1246095"/>
                <a:gd name="connsiteY1" fmla="*/ 1407458 h 3142036"/>
                <a:gd name="connsiteX2" fmla="*/ 1246095 w 1246095"/>
                <a:gd name="connsiteY2" fmla="*/ 3137648 h 3142036"/>
                <a:gd name="connsiteX0" fmla="*/ 0 w 1246095"/>
                <a:gd name="connsiteY0" fmla="*/ 0 h 3137648"/>
                <a:gd name="connsiteX1" fmla="*/ 761998 w 1246095"/>
                <a:gd name="connsiteY1" fmla="*/ 1407458 h 3137648"/>
                <a:gd name="connsiteX2" fmla="*/ 1246095 w 1246095"/>
                <a:gd name="connsiteY2" fmla="*/ 3137648 h 3137648"/>
                <a:gd name="connsiteX0" fmla="*/ 0 w 1246095"/>
                <a:gd name="connsiteY0" fmla="*/ 0 h 3137648"/>
                <a:gd name="connsiteX1" fmla="*/ 761998 w 1246095"/>
                <a:gd name="connsiteY1" fmla="*/ 1407458 h 3137648"/>
                <a:gd name="connsiteX2" fmla="*/ 1246095 w 1246095"/>
                <a:gd name="connsiteY2" fmla="*/ 3137648 h 3137648"/>
                <a:gd name="connsiteX0" fmla="*/ 0 w 1246095"/>
                <a:gd name="connsiteY0" fmla="*/ 0 h 3137648"/>
                <a:gd name="connsiteX1" fmla="*/ 761998 w 1246095"/>
                <a:gd name="connsiteY1" fmla="*/ 1407458 h 3137648"/>
                <a:gd name="connsiteX2" fmla="*/ 1246095 w 1246095"/>
                <a:gd name="connsiteY2" fmla="*/ 3137648 h 3137648"/>
                <a:gd name="connsiteX0" fmla="*/ 0 w 1246095"/>
                <a:gd name="connsiteY0" fmla="*/ 0 h 3137648"/>
                <a:gd name="connsiteX1" fmla="*/ 699245 w 1246095"/>
                <a:gd name="connsiteY1" fmla="*/ 1407458 h 3137648"/>
                <a:gd name="connsiteX2" fmla="*/ 1246095 w 1246095"/>
                <a:gd name="connsiteY2" fmla="*/ 3137648 h 3137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46095" h="3137648">
                  <a:moveTo>
                    <a:pt x="0" y="0"/>
                  </a:moveTo>
                  <a:cubicBezTo>
                    <a:pt x="594658" y="2242"/>
                    <a:pt x="679822" y="1252069"/>
                    <a:pt x="699245" y="1407458"/>
                  </a:cubicBezTo>
                  <a:cubicBezTo>
                    <a:pt x="718668" y="1562847"/>
                    <a:pt x="809812" y="3136154"/>
                    <a:pt x="1246095" y="3137648"/>
                  </a:cubicBezTo>
                </a:path>
              </a:pathLst>
            </a:custGeom>
            <a:noFill/>
            <a:ln w="25400">
              <a:solidFill>
                <a:srgbClr val="81050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7" name="Freeform: Shape 272">
              <a:extLst>
                <a:ext uri="{FF2B5EF4-FFF2-40B4-BE49-F238E27FC236}">
                  <a16:creationId xmlns:a16="http://schemas.microsoft.com/office/drawing/2014/main" id="{6EE982CA-8874-45E2-9E59-BAB36362E077}"/>
                </a:ext>
              </a:extLst>
            </p:cNvPr>
            <p:cNvSpPr/>
            <p:nvPr/>
          </p:nvSpPr>
          <p:spPr>
            <a:xfrm>
              <a:off x="3321330" y="1800444"/>
              <a:ext cx="41880" cy="81295"/>
            </a:xfrm>
            <a:custGeom>
              <a:avLst/>
              <a:gdLst>
                <a:gd name="connsiteX0" fmla="*/ 0 w 1479176"/>
                <a:gd name="connsiteY0" fmla="*/ 0 h 4144580"/>
                <a:gd name="connsiteX1" fmla="*/ 80682 w 1479176"/>
                <a:gd name="connsiteY1" fmla="*/ 2348753 h 4144580"/>
                <a:gd name="connsiteX2" fmla="*/ 125506 w 1479176"/>
                <a:gd name="connsiteY2" fmla="*/ 4061012 h 4144580"/>
                <a:gd name="connsiteX3" fmla="*/ 1479176 w 1479176"/>
                <a:gd name="connsiteY3" fmla="*/ 3836895 h 4144580"/>
                <a:gd name="connsiteX0" fmla="*/ 0 w 1506070"/>
                <a:gd name="connsiteY0" fmla="*/ 0 h 4144580"/>
                <a:gd name="connsiteX1" fmla="*/ 107576 w 1506070"/>
                <a:gd name="connsiteY1" fmla="*/ 2348753 h 4144580"/>
                <a:gd name="connsiteX2" fmla="*/ 152400 w 1506070"/>
                <a:gd name="connsiteY2" fmla="*/ 4061012 h 4144580"/>
                <a:gd name="connsiteX3" fmla="*/ 1506070 w 1506070"/>
                <a:gd name="connsiteY3" fmla="*/ 3836895 h 4144580"/>
                <a:gd name="connsiteX0" fmla="*/ 0 w 1506070"/>
                <a:gd name="connsiteY0" fmla="*/ 0 h 4144580"/>
                <a:gd name="connsiteX1" fmla="*/ 107576 w 1506070"/>
                <a:gd name="connsiteY1" fmla="*/ 2348753 h 4144580"/>
                <a:gd name="connsiteX2" fmla="*/ 152400 w 1506070"/>
                <a:gd name="connsiteY2" fmla="*/ 4061012 h 4144580"/>
                <a:gd name="connsiteX3" fmla="*/ 1506070 w 1506070"/>
                <a:gd name="connsiteY3" fmla="*/ 3836895 h 4144580"/>
                <a:gd name="connsiteX0" fmla="*/ 0 w 1506070"/>
                <a:gd name="connsiteY0" fmla="*/ 0 h 4215211"/>
                <a:gd name="connsiteX1" fmla="*/ 878540 w 1506070"/>
                <a:gd name="connsiteY1" fmla="*/ 1353670 h 4215211"/>
                <a:gd name="connsiteX2" fmla="*/ 152400 w 1506070"/>
                <a:gd name="connsiteY2" fmla="*/ 4061012 h 4215211"/>
                <a:gd name="connsiteX3" fmla="*/ 1506070 w 1506070"/>
                <a:gd name="connsiteY3" fmla="*/ 3836895 h 4215211"/>
                <a:gd name="connsiteX0" fmla="*/ 0 w 879094"/>
                <a:gd name="connsiteY0" fmla="*/ 0 h 4061012"/>
                <a:gd name="connsiteX1" fmla="*/ 878540 w 879094"/>
                <a:gd name="connsiteY1" fmla="*/ 1353670 h 4061012"/>
                <a:gd name="connsiteX2" fmla="*/ 152400 w 879094"/>
                <a:gd name="connsiteY2" fmla="*/ 4061012 h 4061012"/>
                <a:gd name="connsiteX0" fmla="*/ 0 w 1246095"/>
                <a:gd name="connsiteY0" fmla="*/ 0 h 3137648"/>
                <a:gd name="connsiteX1" fmla="*/ 878540 w 1246095"/>
                <a:gd name="connsiteY1" fmla="*/ 1353670 h 3137648"/>
                <a:gd name="connsiteX2" fmla="*/ 1246095 w 1246095"/>
                <a:gd name="connsiteY2" fmla="*/ 3137648 h 3137648"/>
                <a:gd name="connsiteX0" fmla="*/ 0 w 1246095"/>
                <a:gd name="connsiteY0" fmla="*/ 0 h 3141011"/>
                <a:gd name="connsiteX1" fmla="*/ 878540 w 1246095"/>
                <a:gd name="connsiteY1" fmla="*/ 1353670 h 3141011"/>
                <a:gd name="connsiteX2" fmla="*/ 1246095 w 1246095"/>
                <a:gd name="connsiteY2" fmla="*/ 3137648 h 3141011"/>
                <a:gd name="connsiteX0" fmla="*/ 0 w 1246095"/>
                <a:gd name="connsiteY0" fmla="*/ 0 h 3141732"/>
                <a:gd name="connsiteX1" fmla="*/ 878540 w 1246095"/>
                <a:gd name="connsiteY1" fmla="*/ 1353670 h 3141732"/>
                <a:gd name="connsiteX2" fmla="*/ 1246095 w 1246095"/>
                <a:gd name="connsiteY2" fmla="*/ 3137648 h 3141732"/>
                <a:gd name="connsiteX0" fmla="*/ 0 w 1246095"/>
                <a:gd name="connsiteY0" fmla="*/ 0 h 3141931"/>
                <a:gd name="connsiteX1" fmla="*/ 761998 w 1246095"/>
                <a:gd name="connsiteY1" fmla="*/ 1407458 h 3141931"/>
                <a:gd name="connsiteX2" fmla="*/ 1246095 w 1246095"/>
                <a:gd name="connsiteY2" fmla="*/ 3137648 h 3141931"/>
                <a:gd name="connsiteX0" fmla="*/ 0 w 1246095"/>
                <a:gd name="connsiteY0" fmla="*/ 0 h 3142036"/>
                <a:gd name="connsiteX1" fmla="*/ 761998 w 1246095"/>
                <a:gd name="connsiteY1" fmla="*/ 1407458 h 3142036"/>
                <a:gd name="connsiteX2" fmla="*/ 1246095 w 1246095"/>
                <a:gd name="connsiteY2" fmla="*/ 3137648 h 3142036"/>
                <a:gd name="connsiteX0" fmla="*/ 0 w 1246095"/>
                <a:gd name="connsiteY0" fmla="*/ 0 h 3137648"/>
                <a:gd name="connsiteX1" fmla="*/ 761998 w 1246095"/>
                <a:gd name="connsiteY1" fmla="*/ 1407458 h 3137648"/>
                <a:gd name="connsiteX2" fmla="*/ 1246095 w 1246095"/>
                <a:gd name="connsiteY2" fmla="*/ 3137648 h 3137648"/>
                <a:gd name="connsiteX0" fmla="*/ 0 w 1246095"/>
                <a:gd name="connsiteY0" fmla="*/ 0 h 3137648"/>
                <a:gd name="connsiteX1" fmla="*/ 761998 w 1246095"/>
                <a:gd name="connsiteY1" fmla="*/ 1407458 h 3137648"/>
                <a:gd name="connsiteX2" fmla="*/ 1246095 w 1246095"/>
                <a:gd name="connsiteY2" fmla="*/ 3137648 h 3137648"/>
                <a:gd name="connsiteX0" fmla="*/ 0 w 1246095"/>
                <a:gd name="connsiteY0" fmla="*/ 0 h 3137648"/>
                <a:gd name="connsiteX1" fmla="*/ 761998 w 1246095"/>
                <a:gd name="connsiteY1" fmla="*/ 1407458 h 3137648"/>
                <a:gd name="connsiteX2" fmla="*/ 1246095 w 1246095"/>
                <a:gd name="connsiteY2" fmla="*/ 3137648 h 3137648"/>
                <a:gd name="connsiteX0" fmla="*/ 0 w 1246095"/>
                <a:gd name="connsiteY0" fmla="*/ 0 h 3137648"/>
                <a:gd name="connsiteX1" fmla="*/ 699245 w 1246095"/>
                <a:gd name="connsiteY1" fmla="*/ 1407458 h 3137648"/>
                <a:gd name="connsiteX2" fmla="*/ 1246095 w 1246095"/>
                <a:gd name="connsiteY2" fmla="*/ 3137648 h 3137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46095" h="3137648">
                  <a:moveTo>
                    <a:pt x="0" y="0"/>
                  </a:moveTo>
                  <a:cubicBezTo>
                    <a:pt x="594658" y="2242"/>
                    <a:pt x="679822" y="1252069"/>
                    <a:pt x="699245" y="1407458"/>
                  </a:cubicBezTo>
                  <a:cubicBezTo>
                    <a:pt x="718668" y="1562847"/>
                    <a:pt x="809812" y="3136154"/>
                    <a:pt x="1246095" y="3137648"/>
                  </a:cubicBezTo>
                </a:path>
              </a:pathLst>
            </a:custGeom>
            <a:noFill/>
            <a:ln w="25400">
              <a:solidFill>
                <a:srgbClr val="81050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8" name="Freeform: Shape 273">
              <a:extLst>
                <a:ext uri="{FF2B5EF4-FFF2-40B4-BE49-F238E27FC236}">
                  <a16:creationId xmlns:a16="http://schemas.microsoft.com/office/drawing/2014/main" id="{4382B8C0-724F-43A6-A2DF-8B1FAA8D4EE2}"/>
                </a:ext>
              </a:extLst>
            </p:cNvPr>
            <p:cNvSpPr/>
            <p:nvPr/>
          </p:nvSpPr>
          <p:spPr>
            <a:xfrm flipH="1">
              <a:off x="3362527" y="1823525"/>
              <a:ext cx="40581" cy="58214"/>
            </a:xfrm>
            <a:custGeom>
              <a:avLst/>
              <a:gdLst>
                <a:gd name="connsiteX0" fmla="*/ 0 w 1479176"/>
                <a:gd name="connsiteY0" fmla="*/ 0 h 4144580"/>
                <a:gd name="connsiteX1" fmla="*/ 80682 w 1479176"/>
                <a:gd name="connsiteY1" fmla="*/ 2348753 h 4144580"/>
                <a:gd name="connsiteX2" fmla="*/ 125506 w 1479176"/>
                <a:gd name="connsiteY2" fmla="*/ 4061012 h 4144580"/>
                <a:gd name="connsiteX3" fmla="*/ 1479176 w 1479176"/>
                <a:gd name="connsiteY3" fmla="*/ 3836895 h 4144580"/>
                <a:gd name="connsiteX0" fmla="*/ 0 w 1506070"/>
                <a:gd name="connsiteY0" fmla="*/ 0 h 4144580"/>
                <a:gd name="connsiteX1" fmla="*/ 107576 w 1506070"/>
                <a:gd name="connsiteY1" fmla="*/ 2348753 h 4144580"/>
                <a:gd name="connsiteX2" fmla="*/ 152400 w 1506070"/>
                <a:gd name="connsiteY2" fmla="*/ 4061012 h 4144580"/>
                <a:gd name="connsiteX3" fmla="*/ 1506070 w 1506070"/>
                <a:gd name="connsiteY3" fmla="*/ 3836895 h 4144580"/>
                <a:gd name="connsiteX0" fmla="*/ 0 w 1506070"/>
                <a:gd name="connsiteY0" fmla="*/ 0 h 4144580"/>
                <a:gd name="connsiteX1" fmla="*/ 107576 w 1506070"/>
                <a:gd name="connsiteY1" fmla="*/ 2348753 h 4144580"/>
                <a:gd name="connsiteX2" fmla="*/ 152400 w 1506070"/>
                <a:gd name="connsiteY2" fmla="*/ 4061012 h 4144580"/>
                <a:gd name="connsiteX3" fmla="*/ 1506070 w 1506070"/>
                <a:gd name="connsiteY3" fmla="*/ 3836895 h 4144580"/>
                <a:gd name="connsiteX0" fmla="*/ 0 w 1506070"/>
                <a:gd name="connsiteY0" fmla="*/ 0 h 4215211"/>
                <a:gd name="connsiteX1" fmla="*/ 878540 w 1506070"/>
                <a:gd name="connsiteY1" fmla="*/ 1353670 h 4215211"/>
                <a:gd name="connsiteX2" fmla="*/ 152400 w 1506070"/>
                <a:gd name="connsiteY2" fmla="*/ 4061012 h 4215211"/>
                <a:gd name="connsiteX3" fmla="*/ 1506070 w 1506070"/>
                <a:gd name="connsiteY3" fmla="*/ 3836895 h 4215211"/>
                <a:gd name="connsiteX0" fmla="*/ 0 w 879094"/>
                <a:gd name="connsiteY0" fmla="*/ 0 h 4061012"/>
                <a:gd name="connsiteX1" fmla="*/ 878540 w 879094"/>
                <a:gd name="connsiteY1" fmla="*/ 1353670 h 4061012"/>
                <a:gd name="connsiteX2" fmla="*/ 152400 w 879094"/>
                <a:gd name="connsiteY2" fmla="*/ 4061012 h 4061012"/>
                <a:gd name="connsiteX0" fmla="*/ 0 w 1246095"/>
                <a:gd name="connsiteY0" fmla="*/ 0 h 3137648"/>
                <a:gd name="connsiteX1" fmla="*/ 878540 w 1246095"/>
                <a:gd name="connsiteY1" fmla="*/ 1353670 h 3137648"/>
                <a:gd name="connsiteX2" fmla="*/ 1246095 w 1246095"/>
                <a:gd name="connsiteY2" fmla="*/ 3137648 h 3137648"/>
                <a:gd name="connsiteX0" fmla="*/ 0 w 1246095"/>
                <a:gd name="connsiteY0" fmla="*/ 0 h 3141011"/>
                <a:gd name="connsiteX1" fmla="*/ 878540 w 1246095"/>
                <a:gd name="connsiteY1" fmla="*/ 1353670 h 3141011"/>
                <a:gd name="connsiteX2" fmla="*/ 1246095 w 1246095"/>
                <a:gd name="connsiteY2" fmla="*/ 3137648 h 3141011"/>
                <a:gd name="connsiteX0" fmla="*/ 0 w 1246095"/>
                <a:gd name="connsiteY0" fmla="*/ 0 h 3141732"/>
                <a:gd name="connsiteX1" fmla="*/ 878540 w 1246095"/>
                <a:gd name="connsiteY1" fmla="*/ 1353670 h 3141732"/>
                <a:gd name="connsiteX2" fmla="*/ 1246095 w 1246095"/>
                <a:gd name="connsiteY2" fmla="*/ 3137648 h 3141732"/>
                <a:gd name="connsiteX0" fmla="*/ 0 w 1246095"/>
                <a:gd name="connsiteY0" fmla="*/ 0 h 3141931"/>
                <a:gd name="connsiteX1" fmla="*/ 761998 w 1246095"/>
                <a:gd name="connsiteY1" fmla="*/ 1407458 h 3141931"/>
                <a:gd name="connsiteX2" fmla="*/ 1246095 w 1246095"/>
                <a:gd name="connsiteY2" fmla="*/ 3137648 h 3141931"/>
                <a:gd name="connsiteX0" fmla="*/ 0 w 1246095"/>
                <a:gd name="connsiteY0" fmla="*/ 0 h 3142036"/>
                <a:gd name="connsiteX1" fmla="*/ 761998 w 1246095"/>
                <a:gd name="connsiteY1" fmla="*/ 1407458 h 3142036"/>
                <a:gd name="connsiteX2" fmla="*/ 1246095 w 1246095"/>
                <a:gd name="connsiteY2" fmla="*/ 3137648 h 3142036"/>
                <a:gd name="connsiteX0" fmla="*/ 0 w 1246095"/>
                <a:gd name="connsiteY0" fmla="*/ 0 h 3137648"/>
                <a:gd name="connsiteX1" fmla="*/ 761998 w 1246095"/>
                <a:gd name="connsiteY1" fmla="*/ 1407458 h 3137648"/>
                <a:gd name="connsiteX2" fmla="*/ 1246095 w 1246095"/>
                <a:gd name="connsiteY2" fmla="*/ 3137648 h 3137648"/>
                <a:gd name="connsiteX0" fmla="*/ 0 w 1246095"/>
                <a:gd name="connsiteY0" fmla="*/ 0 h 3137648"/>
                <a:gd name="connsiteX1" fmla="*/ 761998 w 1246095"/>
                <a:gd name="connsiteY1" fmla="*/ 1407458 h 3137648"/>
                <a:gd name="connsiteX2" fmla="*/ 1246095 w 1246095"/>
                <a:gd name="connsiteY2" fmla="*/ 3137648 h 3137648"/>
                <a:gd name="connsiteX0" fmla="*/ 0 w 1246095"/>
                <a:gd name="connsiteY0" fmla="*/ 0 h 3137648"/>
                <a:gd name="connsiteX1" fmla="*/ 761998 w 1246095"/>
                <a:gd name="connsiteY1" fmla="*/ 1407458 h 3137648"/>
                <a:gd name="connsiteX2" fmla="*/ 1246095 w 1246095"/>
                <a:gd name="connsiteY2" fmla="*/ 3137648 h 3137648"/>
                <a:gd name="connsiteX0" fmla="*/ 0 w 1246095"/>
                <a:gd name="connsiteY0" fmla="*/ 0 h 3137648"/>
                <a:gd name="connsiteX1" fmla="*/ 699245 w 1246095"/>
                <a:gd name="connsiteY1" fmla="*/ 1407458 h 3137648"/>
                <a:gd name="connsiteX2" fmla="*/ 1246095 w 1246095"/>
                <a:gd name="connsiteY2" fmla="*/ 3137648 h 3137648"/>
                <a:gd name="connsiteX0" fmla="*/ 1 w 546851"/>
                <a:gd name="connsiteY0" fmla="*/ 0 h 1730190"/>
                <a:gd name="connsiteX1" fmla="*/ 546851 w 546851"/>
                <a:gd name="connsiteY1" fmla="*/ 1730190 h 1730190"/>
                <a:gd name="connsiteX0" fmla="*/ 1 w 546851"/>
                <a:gd name="connsiteY0" fmla="*/ 448 h 1730638"/>
                <a:gd name="connsiteX1" fmla="*/ 546851 w 546851"/>
                <a:gd name="connsiteY1" fmla="*/ 1730638 h 1730638"/>
                <a:gd name="connsiteX0" fmla="*/ 0 w 1050169"/>
                <a:gd name="connsiteY0" fmla="*/ 450 h 1730640"/>
                <a:gd name="connsiteX1" fmla="*/ 1050169 w 1050169"/>
                <a:gd name="connsiteY1" fmla="*/ 1730640 h 1730640"/>
                <a:gd name="connsiteX0" fmla="*/ 0 w 1050169"/>
                <a:gd name="connsiteY0" fmla="*/ 0 h 1730190"/>
                <a:gd name="connsiteX1" fmla="*/ 1050169 w 1050169"/>
                <a:gd name="connsiteY1" fmla="*/ 1730190 h 1730190"/>
                <a:gd name="connsiteX0" fmla="*/ 0 w 1207457"/>
                <a:gd name="connsiteY0" fmla="*/ 0 h 1730190"/>
                <a:gd name="connsiteX1" fmla="*/ 1207457 w 1207457"/>
                <a:gd name="connsiteY1" fmla="*/ 1730190 h 1730190"/>
                <a:gd name="connsiteX0" fmla="*/ 0 w 1207457"/>
                <a:gd name="connsiteY0" fmla="*/ 0 h 1980117"/>
                <a:gd name="connsiteX1" fmla="*/ 1207457 w 1207457"/>
                <a:gd name="connsiteY1" fmla="*/ 1980117 h 1980117"/>
                <a:gd name="connsiteX0" fmla="*/ 0 w 1207457"/>
                <a:gd name="connsiteY0" fmla="*/ 0 h 1980117"/>
                <a:gd name="connsiteX1" fmla="*/ 1207457 w 1207457"/>
                <a:gd name="connsiteY1" fmla="*/ 1980117 h 1980117"/>
                <a:gd name="connsiteX0" fmla="*/ 0 w 1207457"/>
                <a:gd name="connsiteY0" fmla="*/ 0 h 1643904"/>
                <a:gd name="connsiteX1" fmla="*/ 1207457 w 1207457"/>
                <a:gd name="connsiteY1" fmla="*/ 1643904 h 1643904"/>
                <a:gd name="connsiteX0" fmla="*/ 0 w 1207457"/>
                <a:gd name="connsiteY0" fmla="*/ 0 h 1643904"/>
                <a:gd name="connsiteX1" fmla="*/ 1207457 w 1207457"/>
                <a:gd name="connsiteY1" fmla="*/ 1643904 h 1643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07457" h="1643904">
                  <a:moveTo>
                    <a:pt x="0" y="0"/>
                  </a:moveTo>
                  <a:cubicBezTo>
                    <a:pt x="1160118" y="380266"/>
                    <a:pt x="771174" y="1642410"/>
                    <a:pt x="1207457" y="1643904"/>
                  </a:cubicBezTo>
                </a:path>
              </a:pathLst>
            </a:custGeom>
            <a:noFill/>
            <a:ln w="25400">
              <a:solidFill>
                <a:srgbClr val="81050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9" name="Freeform: Shape 88">
              <a:extLst>
                <a:ext uri="{FF2B5EF4-FFF2-40B4-BE49-F238E27FC236}">
                  <a16:creationId xmlns:a16="http://schemas.microsoft.com/office/drawing/2014/main" id="{E78E4709-00F0-4D56-9782-F1E7D5116F59}"/>
                </a:ext>
              </a:extLst>
            </p:cNvPr>
            <p:cNvSpPr/>
            <p:nvPr/>
          </p:nvSpPr>
          <p:spPr>
            <a:xfrm>
              <a:off x="3394893" y="1081018"/>
              <a:ext cx="720566" cy="744379"/>
            </a:xfrm>
            <a:custGeom>
              <a:avLst/>
              <a:gdLst>
                <a:gd name="connsiteX0" fmla="*/ 0 w 2857500"/>
                <a:gd name="connsiteY0" fmla="*/ 0 h 1476375"/>
                <a:gd name="connsiteX1" fmla="*/ 485775 w 2857500"/>
                <a:gd name="connsiteY1" fmla="*/ 0 h 1476375"/>
                <a:gd name="connsiteX2" fmla="*/ 828675 w 2857500"/>
                <a:gd name="connsiteY2" fmla="*/ 1476375 h 1476375"/>
                <a:gd name="connsiteX3" fmla="*/ 914400 w 2857500"/>
                <a:gd name="connsiteY3" fmla="*/ 971550 h 1476375"/>
                <a:gd name="connsiteX4" fmla="*/ 1038225 w 2857500"/>
                <a:gd name="connsiteY4" fmla="*/ 1152525 h 1476375"/>
                <a:gd name="connsiteX5" fmla="*/ 1123950 w 2857500"/>
                <a:gd name="connsiteY5" fmla="*/ 838200 h 1476375"/>
                <a:gd name="connsiteX6" fmla="*/ 1228725 w 2857500"/>
                <a:gd name="connsiteY6" fmla="*/ 1314450 h 1476375"/>
                <a:gd name="connsiteX7" fmla="*/ 1409700 w 2857500"/>
                <a:gd name="connsiteY7" fmla="*/ 695325 h 1476375"/>
                <a:gd name="connsiteX8" fmla="*/ 1447800 w 2857500"/>
                <a:gd name="connsiteY8" fmla="*/ 1143000 h 1476375"/>
                <a:gd name="connsiteX9" fmla="*/ 1590675 w 2857500"/>
                <a:gd name="connsiteY9" fmla="*/ 838200 h 1476375"/>
                <a:gd name="connsiteX10" fmla="*/ 1743075 w 2857500"/>
                <a:gd name="connsiteY10" fmla="*/ 1057275 h 1476375"/>
                <a:gd name="connsiteX11" fmla="*/ 1990725 w 2857500"/>
                <a:gd name="connsiteY11" fmla="*/ 952500 h 1476375"/>
                <a:gd name="connsiteX12" fmla="*/ 2009775 w 2857500"/>
                <a:gd name="connsiteY12" fmla="*/ 1162050 h 1476375"/>
                <a:gd name="connsiteX13" fmla="*/ 2228850 w 2857500"/>
                <a:gd name="connsiteY13" fmla="*/ 762000 h 1476375"/>
                <a:gd name="connsiteX14" fmla="*/ 2857500 w 2857500"/>
                <a:gd name="connsiteY14" fmla="*/ 333375 h 1476375"/>
                <a:gd name="connsiteX0" fmla="*/ 0 w 2857500"/>
                <a:gd name="connsiteY0" fmla="*/ 0 h 1476375"/>
                <a:gd name="connsiteX1" fmla="*/ 485775 w 2857500"/>
                <a:gd name="connsiteY1" fmla="*/ 0 h 1476375"/>
                <a:gd name="connsiteX2" fmla="*/ 828675 w 2857500"/>
                <a:gd name="connsiteY2" fmla="*/ 1476375 h 1476375"/>
                <a:gd name="connsiteX3" fmla="*/ 1038225 w 2857500"/>
                <a:gd name="connsiteY3" fmla="*/ 1152525 h 1476375"/>
                <a:gd name="connsiteX4" fmla="*/ 1123950 w 2857500"/>
                <a:gd name="connsiteY4" fmla="*/ 838200 h 1476375"/>
                <a:gd name="connsiteX5" fmla="*/ 1228725 w 2857500"/>
                <a:gd name="connsiteY5" fmla="*/ 1314450 h 1476375"/>
                <a:gd name="connsiteX6" fmla="*/ 1409700 w 2857500"/>
                <a:gd name="connsiteY6" fmla="*/ 695325 h 1476375"/>
                <a:gd name="connsiteX7" fmla="*/ 1447800 w 2857500"/>
                <a:gd name="connsiteY7" fmla="*/ 1143000 h 1476375"/>
                <a:gd name="connsiteX8" fmla="*/ 1590675 w 2857500"/>
                <a:gd name="connsiteY8" fmla="*/ 838200 h 1476375"/>
                <a:gd name="connsiteX9" fmla="*/ 1743075 w 2857500"/>
                <a:gd name="connsiteY9" fmla="*/ 1057275 h 1476375"/>
                <a:gd name="connsiteX10" fmla="*/ 1990725 w 2857500"/>
                <a:gd name="connsiteY10" fmla="*/ 952500 h 1476375"/>
                <a:gd name="connsiteX11" fmla="*/ 2009775 w 2857500"/>
                <a:gd name="connsiteY11" fmla="*/ 1162050 h 1476375"/>
                <a:gd name="connsiteX12" fmla="*/ 2228850 w 2857500"/>
                <a:gd name="connsiteY12" fmla="*/ 762000 h 1476375"/>
                <a:gd name="connsiteX13" fmla="*/ 2857500 w 2857500"/>
                <a:gd name="connsiteY13" fmla="*/ 333375 h 1476375"/>
                <a:gd name="connsiteX0" fmla="*/ 0 w 2857500"/>
                <a:gd name="connsiteY0" fmla="*/ 0 h 1476375"/>
                <a:gd name="connsiteX1" fmla="*/ 485775 w 2857500"/>
                <a:gd name="connsiteY1" fmla="*/ 0 h 1476375"/>
                <a:gd name="connsiteX2" fmla="*/ 828675 w 2857500"/>
                <a:gd name="connsiteY2" fmla="*/ 1476375 h 1476375"/>
                <a:gd name="connsiteX3" fmla="*/ 1123950 w 2857500"/>
                <a:gd name="connsiteY3" fmla="*/ 838200 h 1476375"/>
                <a:gd name="connsiteX4" fmla="*/ 1228725 w 2857500"/>
                <a:gd name="connsiteY4" fmla="*/ 1314450 h 1476375"/>
                <a:gd name="connsiteX5" fmla="*/ 1409700 w 2857500"/>
                <a:gd name="connsiteY5" fmla="*/ 695325 h 1476375"/>
                <a:gd name="connsiteX6" fmla="*/ 1447800 w 2857500"/>
                <a:gd name="connsiteY6" fmla="*/ 1143000 h 1476375"/>
                <a:gd name="connsiteX7" fmla="*/ 1590675 w 2857500"/>
                <a:gd name="connsiteY7" fmla="*/ 838200 h 1476375"/>
                <a:gd name="connsiteX8" fmla="*/ 1743075 w 2857500"/>
                <a:gd name="connsiteY8" fmla="*/ 1057275 h 1476375"/>
                <a:gd name="connsiteX9" fmla="*/ 1990725 w 2857500"/>
                <a:gd name="connsiteY9" fmla="*/ 952500 h 1476375"/>
                <a:gd name="connsiteX10" fmla="*/ 2009775 w 2857500"/>
                <a:gd name="connsiteY10" fmla="*/ 1162050 h 1476375"/>
                <a:gd name="connsiteX11" fmla="*/ 2228850 w 2857500"/>
                <a:gd name="connsiteY11" fmla="*/ 762000 h 1476375"/>
                <a:gd name="connsiteX12" fmla="*/ 2857500 w 2857500"/>
                <a:gd name="connsiteY12" fmla="*/ 333375 h 1476375"/>
                <a:gd name="connsiteX0" fmla="*/ 0 w 2857500"/>
                <a:gd name="connsiteY0" fmla="*/ 0 h 1476375"/>
                <a:gd name="connsiteX1" fmla="*/ 485775 w 2857500"/>
                <a:gd name="connsiteY1" fmla="*/ 0 h 1476375"/>
                <a:gd name="connsiteX2" fmla="*/ 828675 w 2857500"/>
                <a:gd name="connsiteY2" fmla="*/ 1476375 h 1476375"/>
                <a:gd name="connsiteX3" fmla="*/ 1228725 w 2857500"/>
                <a:gd name="connsiteY3" fmla="*/ 1314450 h 1476375"/>
                <a:gd name="connsiteX4" fmla="*/ 1409700 w 2857500"/>
                <a:gd name="connsiteY4" fmla="*/ 695325 h 1476375"/>
                <a:gd name="connsiteX5" fmla="*/ 1447800 w 2857500"/>
                <a:gd name="connsiteY5" fmla="*/ 1143000 h 1476375"/>
                <a:gd name="connsiteX6" fmla="*/ 1590675 w 2857500"/>
                <a:gd name="connsiteY6" fmla="*/ 838200 h 1476375"/>
                <a:gd name="connsiteX7" fmla="*/ 1743075 w 2857500"/>
                <a:gd name="connsiteY7" fmla="*/ 1057275 h 1476375"/>
                <a:gd name="connsiteX8" fmla="*/ 1990725 w 2857500"/>
                <a:gd name="connsiteY8" fmla="*/ 952500 h 1476375"/>
                <a:gd name="connsiteX9" fmla="*/ 2009775 w 2857500"/>
                <a:gd name="connsiteY9" fmla="*/ 1162050 h 1476375"/>
                <a:gd name="connsiteX10" fmla="*/ 2228850 w 2857500"/>
                <a:gd name="connsiteY10" fmla="*/ 762000 h 1476375"/>
                <a:gd name="connsiteX11" fmla="*/ 2857500 w 2857500"/>
                <a:gd name="connsiteY11" fmla="*/ 333375 h 1476375"/>
                <a:gd name="connsiteX0" fmla="*/ 0 w 2857500"/>
                <a:gd name="connsiteY0" fmla="*/ 0 h 1476375"/>
                <a:gd name="connsiteX1" fmla="*/ 485775 w 2857500"/>
                <a:gd name="connsiteY1" fmla="*/ 0 h 1476375"/>
                <a:gd name="connsiteX2" fmla="*/ 828675 w 2857500"/>
                <a:gd name="connsiteY2" fmla="*/ 1476375 h 1476375"/>
                <a:gd name="connsiteX3" fmla="*/ 1409700 w 2857500"/>
                <a:gd name="connsiteY3" fmla="*/ 695325 h 1476375"/>
                <a:gd name="connsiteX4" fmla="*/ 1447800 w 2857500"/>
                <a:gd name="connsiteY4" fmla="*/ 1143000 h 1476375"/>
                <a:gd name="connsiteX5" fmla="*/ 1590675 w 2857500"/>
                <a:gd name="connsiteY5" fmla="*/ 838200 h 1476375"/>
                <a:gd name="connsiteX6" fmla="*/ 1743075 w 2857500"/>
                <a:gd name="connsiteY6" fmla="*/ 1057275 h 1476375"/>
                <a:gd name="connsiteX7" fmla="*/ 1990725 w 2857500"/>
                <a:gd name="connsiteY7" fmla="*/ 952500 h 1476375"/>
                <a:gd name="connsiteX8" fmla="*/ 2009775 w 2857500"/>
                <a:gd name="connsiteY8" fmla="*/ 1162050 h 1476375"/>
                <a:gd name="connsiteX9" fmla="*/ 2228850 w 2857500"/>
                <a:gd name="connsiteY9" fmla="*/ 762000 h 1476375"/>
                <a:gd name="connsiteX10" fmla="*/ 2857500 w 2857500"/>
                <a:gd name="connsiteY10" fmla="*/ 333375 h 1476375"/>
                <a:gd name="connsiteX0" fmla="*/ 0 w 2857500"/>
                <a:gd name="connsiteY0" fmla="*/ 0 h 1476375"/>
                <a:gd name="connsiteX1" fmla="*/ 485775 w 2857500"/>
                <a:gd name="connsiteY1" fmla="*/ 0 h 1476375"/>
                <a:gd name="connsiteX2" fmla="*/ 828675 w 2857500"/>
                <a:gd name="connsiteY2" fmla="*/ 1476375 h 1476375"/>
                <a:gd name="connsiteX3" fmla="*/ 1447800 w 2857500"/>
                <a:gd name="connsiteY3" fmla="*/ 1143000 h 1476375"/>
                <a:gd name="connsiteX4" fmla="*/ 1590675 w 2857500"/>
                <a:gd name="connsiteY4" fmla="*/ 838200 h 1476375"/>
                <a:gd name="connsiteX5" fmla="*/ 1743075 w 2857500"/>
                <a:gd name="connsiteY5" fmla="*/ 1057275 h 1476375"/>
                <a:gd name="connsiteX6" fmla="*/ 1990725 w 2857500"/>
                <a:gd name="connsiteY6" fmla="*/ 952500 h 1476375"/>
                <a:gd name="connsiteX7" fmla="*/ 2009775 w 2857500"/>
                <a:gd name="connsiteY7" fmla="*/ 1162050 h 1476375"/>
                <a:gd name="connsiteX8" fmla="*/ 2228850 w 2857500"/>
                <a:gd name="connsiteY8" fmla="*/ 762000 h 1476375"/>
                <a:gd name="connsiteX9" fmla="*/ 2857500 w 2857500"/>
                <a:gd name="connsiteY9" fmla="*/ 333375 h 1476375"/>
                <a:gd name="connsiteX0" fmla="*/ 0 w 2857500"/>
                <a:gd name="connsiteY0" fmla="*/ 0 h 1476375"/>
                <a:gd name="connsiteX1" fmla="*/ 485775 w 2857500"/>
                <a:gd name="connsiteY1" fmla="*/ 0 h 1476375"/>
                <a:gd name="connsiteX2" fmla="*/ 828675 w 2857500"/>
                <a:gd name="connsiteY2" fmla="*/ 1476375 h 1476375"/>
                <a:gd name="connsiteX3" fmla="*/ 1590675 w 2857500"/>
                <a:gd name="connsiteY3" fmla="*/ 838200 h 1476375"/>
                <a:gd name="connsiteX4" fmla="*/ 1743075 w 2857500"/>
                <a:gd name="connsiteY4" fmla="*/ 1057275 h 1476375"/>
                <a:gd name="connsiteX5" fmla="*/ 1990725 w 2857500"/>
                <a:gd name="connsiteY5" fmla="*/ 952500 h 1476375"/>
                <a:gd name="connsiteX6" fmla="*/ 2009775 w 2857500"/>
                <a:gd name="connsiteY6" fmla="*/ 1162050 h 1476375"/>
                <a:gd name="connsiteX7" fmla="*/ 2228850 w 2857500"/>
                <a:gd name="connsiteY7" fmla="*/ 762000 h 1476375"/>
                <a:gd name="connsiteX8" fmla="*/ 2857500 w 2857500"/>
                <a:gd name="connsiteY8" fmla="*/ 333375 h 1476375"/>
                <a:gd name="connsiteX0" fmla="*/ 0 w 2857500"/>
                <a:gd name="connsiteY0" fmla="*/ 0 h 1476375"/>
                <a:gd name="connsiteX1" fmla="*/ 485775 w 2857500"/>
                <a:gd name="connsiteY1" fmla="*/ 0 h 1476375"/>
                <a:gd name="connsiteX2" fmla="*/ 828675 w 2857500"/>
                <a:gd name="connsiteY2" fmla="*/ 1476375 h 1476375"/>
                <a:gd name="connsiteX3" fmla="*/ 1743075 w 2857500"/>
                <a:gd name="connsiteY3" fmla="*/ 1057275 h 1476375"/>
                <a:gd name="connsiteX4" fmla="*/ 1990725 w 2857500"/>
                <a:gd name="connsiteY4" fmla="*/ 952500 h 1476375"/>
                <a:gd name="connsiteX5" fmla="*/ 2009775 w 2857500"/>
                <a:gd name="connsiteY5" fmla="*/ 1162050 h 1476375"/>
                <a:gd name="connsiteX6" fmla="*/ 2228850 w 2857500"/>
                <a:gd name="connsiteY6" fmla="*/ 762000 h 1476375"/>
                <a:gd name="connsiteX7" fmla="*/ 2857500 w 2857500"/>
                <a:gd name="connsiteY7" fmla="*/ 333375 h 1476375"/>
                <a:gd name="connsiteX0" fmla="*/ 0 w 2857500"/>
                <a:gd name="connsiteY0" fmla="*/ 0 h 1476375"/>
                <a:gd name="connsiteX1" fmla="*/ 485775 w 2857500"/>
                <a:gd name="connsiteY1" fmla="*/ 0 h 1476375"/>
                <a:gd name="connsiteX2" fmla="*/ 828675 w 2857500"/>
                <a:gd name="connsiteY2" fmla="*/ 1476375 h 1476375"/>
                <a:gd name="connsiteX3" fmla="*/ 1990725 w 2857500"/>
                <a:gd name="connsiteY3" fmla="*/ 952500 h 1476375"/>
                <a:gd name="connsiteX4" fmla="*/ 2009775 w 2857500"/>
                <a:gd name="connsiteY4" fmla="*/ 1162050 h 1476375"/>
                <a:gd name="connsiteX5" fmla="*/ 2228850 w 2857500"/>
                <a:gd name="connsiteY5" fmla="*/ 762000 h 1476375"/>
                <a:gd name="connsiteX6" fmla="*/ 2857500 w 2857500"/>
                <a:gd name="connsiteY6" fmla="*/ 333375 h 1476375"/>
                <a:gd name="connsiteX0" fmla="*/ 0 w 2857500"/>
                <a:gd name="connsiteY0" fmla="*/ 0 h 1476375"/>
                <a:gd name="connsiteX1" fmla="*/ 485775 w 2857500"/>
                <a:gd name="connsiteY1" fmla="*/ 0 h 1476375"/>
                <a:gd name="connsiteX2" fmla="*/ 828675 w 2857500"/>
                <a:gd name="connsiteY2" fmla="*/ 1476375 h 1476375"/>
                <a:gd name="connsiteX3" fmla="*/ 2009775 w 2857500"/>
                <a:gd name="connsiteY3" fmla="*/ 1162050 h 1476375"/>
                <a:gd name="connsiteX4" fmla="*/ 2228850 w 2857500"/>
                <a:gd name="connsiteY4" fmla="*/ 762000 h 1476375"/>
                <a:gd name="connsiteX5" fmla="*/ 2857500 w 2857500"/>
                <a:gd name="connsiteY5" fmla="*/ 333375 h 1476375"/>
                <a:gd name="connsiteX0" fmla="*/ 0 w 2857500"/>
                <a:gd name="connsiteY0" fmla="*/ 0 h 1476375"/>
                <a:gd name="connsiteX1" fmla="*/ 485775 w 2857500"/>
                <a:gd name="connsiteY1" fmla="*/ 0 h 1476375"/>
                <a:gd name="connsiteX2" fmla="*/ 828675 w 2857500"/>
                <a:gd name="connsiteY2" fmla="*/ 1476375 h 1476375"/>
                <a:gd name="connsiteX3" fmla="*/ 2228850 w 2857500"/>
                <a:gd name="connsiteY3" fmla="*/ 762000 h 1476375"/>
                <a:gd name="connsiteX4" fmla="*/ 2857500 w 2857500"/>
                <a:gd name="connsiteY4" fmla="*/ 333375 h 1476375"/>
                <a:gd name="connsiteX0" fmla="*/ 0 w 2228851"/>
                <a:gd name="connsiteY0" fmla="*/ 0 h 1476375"/>
                <a:gd name="connsiteX1" fmla="*/ 485775 w 2228851"/>
                <a:gd name="connsiteY1" fmla="*/ 0 h 1476375"/>
                <a:gd name="connsiteX2" fmla="*/ 828675 w 2228851"/>
                <a:gd name="connsiteY2" fmla="*/ 1476375 h 1476375"/>
                <a:gd name="connsiteX3" fmla="*/ 2228850 w 2228851"/>
                <a:gd name="connsiteY3" fmla="*/ 762000 h 1476375"/>
                <a:gd name="connsiteX0" fmla="*/ 0 w 828675"/>
                <a:gd name="connsiteY0" fmla="*/ 0 h 1476375"/>
                <a:gd name="connsiteX1" fmla="*/ 485775 w 828675"/>
                <a:gd name="connsiteY1" fmla="*/ 0 h 1476375"/>
                <a:gd name="connsiteX2" fmla="*/ 828675 w 828675"/>
                <a:gd name="connsiteY2" fmla="*/ 1476375 h 1476375"/>
                <a:gd name="connsiteX0" fmla="*/ 0 w 483235"/>
                <a:gd name="connsiteY0" fmla="*/ 1046480 h 1476375"/>
                <a:gd name="connsiteX1" fmla="*/ 140335 w 483235"/>
                <a:gd name="connsiteY1" fmla="*/ 0 h 1476375"/>
                <a:gd name="connsiteX2" fmla="*/ 483235 w 483235"/>
                <a:gd name="connsiteY2" fmla="*/ 1476375 h 1476375"/>
                <a:gd name="connsiteX0" fmla="*/ 0 w 930275"/>
                <a:gd name="connsiteY0" fmla="*/ 1046480 h 1046480"/>
                <a:gd name="connsiteX1" fmla="*/ 140335 w 930275"/>
                <a:gd name="connsiteY1" fmla="*/ 0 h 1046480"/>
                <a:gd name="connsiteX2" fmla="*/ 930275 w 930275"/>
                <a:gd name="connsiteY2" fmla="*/ 64135 h 1046480"/>
                <a:gd name="connsiteX0" fmla="*/ 0 w 930275"/>
                <a:gd name="connsiteY0" fmla="*/ 982345 h 982345"/>
                <a:gd name="connsiteX1" fmla="*/ 414655 w 930275"/>
                <a:gd name="connsiteY1" fmla="*/ 921385 h 982345"/>
                <a:gd name="connsiteX2" fmla="*/ 930275 w 930275"/>
                <a:gd name="connsiteY2" fmla="*/ 0 h 982345"/>
                <a:gd name="connsiteX0" fmla="*/ 0 w 960755"/>
                <a:gd name="connsiteY0" fmla="*/ 992505 h 992505"/>
                <a:gd name="connsiteX1" fmla="*/ 445135 w 960755"/>
                <a:gd name="connsiteY1" fmla="*/ 921385 h 992505"/>
                <a:gd name="connsiteX2" fmla="*/ 960755 w 960755"/>
                <a:gd name="connsiteY2" fmla="*/ 0 h 992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60755" h="992505">
                  <a:moveTo>
                    <a:pt x="0" y="992505"/>
                  </a:moveTo>
                  <a:lnTo>
                    <a:pt x="445135" y="921385"/>
                  </a:lnTo>
                  <a:lnTo>
                    <a:pt x="960755" y="0"/>
                  </a:lnTo>
                </a:path>
              </a:pathLst>
            </a:custGeom>
            <a:noFill/>
            <a:ln w="285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30" name="Skupina 11">
            <a:extLst>
              <a:ext uri="{FF2B5EF4-FFF2-40B4-BE49-F238E27FC236}">
                <a16:creationId xmlns:a16="http://schemas.microsoft.com/office/drawing/2014/main" id="{BFDD75C9-1314-4247-9C71-6B945995897A}"/>
              </a:ext>
            </a:extLst>
          </p:cNvPr>
          <p:cNvGrpSpPr/>
          <p:nvPr/>
        </p:nvGrpSpPr>
        <p:grpSpPr>
          <a:xfrm>
            <a:off x="3897113" y="936008"/>
            <a:ext cx="3125518" cy="3650148"/>
            <a:chOff x="4365611" y="860528"/>
            <a:chExt cx="2344139" cy="2737611"/>
          </a:xfrm>
        </p:grpSpPr>
        <p:cxnSp>
          <p:nvCxnSpPr>
            <p:cNvPr id="31" name="Straight Arrow Connector 111">
              <a:extLst>
                <a:ext uri="{FF2B5EF4-FFF2-40B4-BE49-F238E27FC236}">
                  <a16:creationId xmlns:a16="http://schemas.microsoft.com/office/drawing/2014/main" id="{FC28E36E-2DB3-4A3C-A9A1-666CCE89285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733456" y="860528"/>
              <a:ext cx="1172" cy="1521619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121">
              <a:extLst>
                <a:ext uri="{FF2B5EF4-FFF2-40B4-BE49-F238E27FC236}">
                  <a16:creationId xmlns:a16="http://schemas.microsoft.com/office/drawing/2014/main" id="{917A484E-34FE-456C-A051-40C9DAA91070}"/>
                </a:ext>
              </a:extLst>
            </p:cNvPr>
            <p:cNvCxnSpPr/>
            <p:nvPr/>
          </p:nvCxnSpPr>
          <p:spPr>
            <a:xfrm>
              <a:off x="5229372" y="1522774"/>
              <a:ext cx="0" cy="1458139"/>
            </a:xfrm>
            <a:prstGeom prst="line">
              <a:avLst/>
            </a:prstGeom>
            <a:ln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122">
              <a:extLst>
                <a:ext uri="{FF2B5EF4-FFF2-40B4-BE49-F238E27FC236}">
                  <a16:creationId xmlns:a16="http://schemas.microsoft.com/office/drawing/2014/main" id="{99A39913-2F82-4684-AD75-7145974D31F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703655" y="1546168"/>
              <a:ext cx="6095" cy="1505998"/>
            </a:xfrm>
            <a:prstGeom prst="line">
              <a:avLst/>
            </a:prstGeom>
            <a:ln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42">
              <a:extLst>
                <a:ext uri="{FF2B5EF4-FFF2-40B4-BE49-F238E27FC236}">
                  <a16:creationId xmlns:a16="http://schemas.microsoft.com/office/drawing/2014/main" id="{F733C48A-77AA-4DA8-B546-5C1CE258A7AB}"/>
                </a:ext>
              </a:extLst>
            </p:cNvPr>
            <p:cNvCxnSpPr>
              <a:endCxn id="43" idx="1"/>
            </p:cNvCxnSpPr>
            <p:nvPr/>
          </p:nvCxnSpPr>
          <p:spPr>
            <a:xfrm flipH="1">
              <a:off x="4365611" y="1379161"/>
              <a:ext cx="8002" cy="1453730"/>
            </a:xfrm>
            <a:prstGeom prst="line">
              <a:avLst/>
            </a:prstGeom>
            <a:ln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Arrow Connector 111">
              <a:extLst>
                <a:ext uri="{FF2B5EF4-FFF2-40B4-BE49-F238E27FC236}">
                  <a16:creationId xmlns:a16="http://schemas.microsoft.com/office/drawing/2014/main" id="{B65A370B-497A-4E9C-A613-54B30F450E36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734629" y="2506194"/>
              <a:ext cx="3186" cy="1091945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6" name="Skupina 12">
            <a:extLst>
              <a:ext uri="{FF2B5EF4-FFF2-40B4-BE49-F238E27FC236}">
                <a16:creationId xmlns:a16="http://schemas.microsoft.com/office/drawing/2014/main" id="{C67E0AF5-B68C-4C33-90C1-86C077D513E2}"/>
              </a:ext>
            </a:extLst>
          </p:cNvPr>
          <p:cNvGrpSpPr/>
          <p:nvPr/>
        </p:nvGrpSpPr>
        <p:grpSpPr>
          <a:xfrm>
            <a:off x="3635943" y="1836477"/>
            <a:ext cx="4834888" cy="2749679"/>
            <a:chOff x="4169732" y="1535880"/>
            <a:chExt cx="3626166" cy="2062259"/>
          </a:xfrm>
        </p:grpSpPr>
        <p:cxnSp>
          <p:nvCxnSpPr>
            <p:cNvPr id="37" name="Straight Connector 108">
              <a:extLst>
                <a:ext uri="{FF2B5EF4-FFF2-40B4-BE49-F238E27FC236}">
                  <a16:creationId xmlns:a16="http://schemas.microsoft.com/office/drawing/2014/main" id="{3CF55372-315F-4EA3-9ED5-76584B5207C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617451" y="1535880"/>
              <a:ext cx="3145540" cy="1787"/>
            </a:xfrm>
            <a:prstGeom prst="line">
              <a:avLst/>
            </a:prstGeom>
            <a:ln w="12700">
              <a:solidFill>
                <a:srgbClr val="FF0000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98">
              <a:extLst>
                <a:ext uri="{FF2B5EF4-FFF2-40B4-BE49-F238E27FC236}">
                  <a16:creationId xmlns:a16="http://schemas.microsoft.com/office/drawing/2014/main" id="{51CC61C1-FC5B-4B26-ADFC-2185F27F3B4D}"/>
                </a:ext>
              </a:extLst>
            </p:cNvPr>
            <p:cNvCxnSpPr/>
            <p:nvPr/>
          </p:nvCxnSpPr>
          <p:spPr>
            <a:xfrm>
              <a:off x="4582628" y="2991396"/>
              <a:ext cx="2699291" cy="0"/>
            </a:xfrm>
            <a:prstGeom prst="line">
              <a:avLst/>
            </a:prstGeom>
            <a:ln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9" name="TextBox 119">
              <a:extLst>
                <a:ext uri="{FF2B5EF4-FFF2-40B4-BE49-F238E27FC236}">
                  <a16:creationId xmlns:a16="http://schemas.microsoft.com/office/drawing/2014/main" id="{9A63F9CA-832B-44AC-B998-6D598CD9ED23}"/>
                </a:ext>
              </a:extLst>
            </p:cNvPr>
            <p:cNvSpPr txBox="1"/>
            <p:nvPr/>
          </p:nvSpPr>
          <p:spPr>
            <a:xfrm>
              <a:off x="7514147" y="2203351"/>
              <a:ext cx="227614" cy="1924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67" b="0" i="0" u="none" strike="noStrike" kern="1200" cap="none" spc="0" normalizeH="0" baseline="0" noProof="0" dirty="0">
                  <a:ln>
                    <a:noFill/>
                  </a:ln>
                  <a:solidFill>
                    <a:srgbClr val="B4BCC3">
                      <a:lumMod val="50000"/>
                    </a:srgbClr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t</a:t>
              </a:r>
            </a:p>
          </p:txBody>
        </p:sp>
        <p:cxnSp>
          <p:nvCxnSpPr>
            <p:cNvPr id="40" name="Straight Arrow Connector 118">
              <a:extLst>
                <a:ext uri="{FF2B5EF4-FFF2-40B4-BE49-F238E27FC236}">
                  <a16:creationId xmlns:a16="http://schemas.microsoft.com/office/drawing/2014/main" id="{14095733-4A4A-4328-878F-ECA150C78FFC}"/>
                </a:ext>
              </a:extLst>
            </p:cNvPr>
            <p:cNvCxnSpPr/>
            <p:nvPr/>
          </p:nvCxnSpPr>
          <p:spPr>
            <a:xfrm>
              <a:off x="4169732" y="2382148"/>
              <a:ext cx="362616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Arrow Connector 118">
              <a:extLst>
                <a:ext uri="{FF2B5EF4-FFF2-40B4-BE49-F238E27FC236}">
                  <a16:creationId xmlns:a16="http://schemas.microsoft.com/office/drawing/2014/main" id="{B2891F72-7ED8-4DA8-A4FA-60CD9C557E33}"/>
                </a:ext>
              </a:extLst>
            </p:cNvPr>
            <p:cNvCxnSpPr/>
            <p:nvPr/>
          </p:nvCxnSpPr>
          <p:spPr>
            <a:xfrm>
              <a:off x="4169732" y="3598139"/>
              <a:ext cx="3626166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2" name="TextBox 119">
              <a:extLst>
                <a:ext uri="{FF2B5EF4-FFF2-40B4-BE49-F238E27FC236}">
                  <a16:creationId xmlns:a16="http://schemas.microsoft.com/office/drawing/2014/main" id="{C7A99EA4-FED4-4C51-8DCB-FA5B2D51FB09}"/>
                </a:ext>
              </a:extLst>
            </p:cNvPr>
            <p:cNvSpPr txBox="1"/>
            <p:nvPr/>
          </p:nvSpPr>
          <p:spPr>
            <a:xfrm>
              <a:off x="7514147" y="3381513"/>
              <a:ext cx="227614" cy="1924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67" b="0" i="0" u="none" strike="noStrike" kern="1200" cap="none" spc="0" normalizeH="0" baseline="0" noProof="0" dirty="0">
                  <a:ln>
                    <a:noFill/>
                  </a:ln>
                  <a:solidFill>
                    <a:srgbClr val="B4BCC3">
                      <a:lumMod val="50000"/>
                    </a:srgbClr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t</a:t>
              </a:r>
            </a:p>
          </p:txBody>
        </p:sp>
      </p:grpSp>
      <p:sp>
        <p:nvSpPr>
          <p:cNvPr id="43" name="Freeform: Shape 3">
            <a:extLst>
              <a:ext uri="{FF2B5EF4-FFF2-40B4-BE49-F238E27FC236}">
                <a16:creationId xmlns:a16="http://schemas.microsoft.com/office/drawing/2014/main" id="{94F17F69-6C52-4551-BB50-8AFEE0FFED22}"/>
              </a:ext>
            </a:extLst>
          </p:cNvPr>
          <p:cNvSpPr/>
          <p:nvPr/>
        </p:nvSpPr>
        <p:spPr>
          <a:xfrm>
            <a:off x="4387577" y="3769297"/>
            <a:ext cx="4112716" cy="437661"/>
          </a:xfrm>
          <a:custGeom>
            <a:avLst/>
            <a:gdLst>
              <a:gd name="connsiteX0" fmla="*/ 0 w 3041650"/>
              <a:gd name="connsiteY0" fmla="*/ 12700 h 403225"/>
              <a:gd name="connsiteX1" fmla="*/ 1292225 w 3041650"/>
              <a:gd name="connsiteY1" fmla="*/ 12700 h 403225"/>
              <a:gd name="connsiteX2" fmla="*/ 1555750 w 3041650"/>
              <a:gd name="connsiteY2" fmla="*/ 403225 h 403225"/>
              <a:gd name="connsiteX3" fmla="*/ 2540000 w 3041650"/>
              <a:gd name="connsiteY3" fmla="*/ 403225 h 403225"/>
              <a:gd name="connsiteX4" fmla="*/ 2746375 w 3041650"/>
              <a:gd name="connsiteY4" fmla="*/ 0 h 403225"/>
              <a:gd name="connsiteX5" fmla="*/ 3041650 w 3041650"/>
              <a:gd name="connsiteY5" fmla="*/ 0 h 403225"/>
              <a:gd name="connsiteX0" fmla="*/ 0 w 3708022"/>
              <a:gd name="connsiteY0" fmla="*/ 12700 h 403225"/>
              <a:gd name="connsiteX1" fmla="*/ 1292225 w 3708022"/>
              <a:gd name="connsiteY1" fmla="*/ 12700 h 403225"/>
              <a:gd name="connsiteX2" fmla="*/ 1555750 w 3708022"/>
              <a:gd name="connsiteY2" fmla="*/ 403225 h 403225"/>
              <a:gd name="connsiteX3" fmla="*/ 2540000 w 3708022"/>
              <a:gd name="connsiteY3" fmla="*/ 403225 h 403225"/>
              <a:gd name="connsiteX4" fmla="*/ 2746375 w 3708022"/>
              <a:gd name="connsiteY4" fmla="*/ 0 h 403225"/>
              <a:gd name="connsiteX5" fmla="*/ 3708022 w 3708022"/>
              <a:gd name="connsiteY5" fmla="*/ 5740 h 403225"/>
              <a:gd name="connsiteX0" fmla="*/ 0 w 3708022"/>
              <a:gd name="connsiteY0" fmla="*/ 6960 h 397485"/>
              <a:gd name="connsiteX1" fmla="*/ 1292225 w 3708022"/>
              <a:gd name="connsiteY1" fmla="*/ 6960 h 397485"/>
              <a:gd name="connsiteX2" fmla="*/ 1555750 w 3708022"/>
              <a:gd name="connsiteY2" fmla="*/ 397485 h 397485"/>
              <a:gd name="connsiteX3" fmla="*/ 2540000 w 3708022"/>
              <a:gd name="connsiteY3" fmla="*/ 397485 h 397485"/>
              <a:gd name="connsiteX4" fmla="*/ 2746375 w 3708022"/>
              <a:gd name="connsiteY4" fmla="*/ 7501 h 397485"/>
              <a:gd name="connsiteX5" fmla="*/ 3708022 w 3708022"/>
              <a:gd name="connsiteY5" fmla="*/ 0 h 397485"/>
              <a:gd name="connsiteX0" fmla="*/ 0 w 3708022"/>
              <a:gd name="connsiteY0" fmla="*/ 6960 h 397485"/>
              <a:gd name="connsiteX1" fmla="*/ 1292225 w 3708022"/>
              <a:gd name="connsiteY1" fmla="*/ 6960 h 397485"/>
              <a:gd name="connsiteX2" fmla="*/ 1555750 w 3708022"/>
              <a:gd name="connsiteY2" fmla="*/ 397485 h 397485"/>
              <a:gd name="connsiteX3" fmla="*/ 2372062 w 3708022"/>
              <a:gd name="connsiteY3" fmla="*/ 397485 h 397485"/>
              <a:gd name="connsiteX4" fmla="*/ 2746375 w 3708022"/>
              <a:gd name="connsiteY4" fmla="*/ 7501 h 397485"/>
              <a:gd name="connsiteX5" fmla="*/ 3708022 w 3708022"/>
              <a:gd name="connsiteY5" fmla="*/ 0 h 397485"/>
              <a:gd name="connsiteX0" fmla="*/ 0 w 3708022"/>
              <a:gd name="connsiteY0" fmla="*/ 7153 h 397678"/>
              <a:gd name="connsiteX1" fmla="*/ 1292225 w 3708022"/>
              <a:gd name="connsiteY1" fmla="*/ 7153 h 397678"/>
              <a:gd name="connsiteX2" fmla="*/ 1555750 w 3708022"/>
              <a:gd name="connsiteY2" fmla="*/ 397678 h 397678"/>
              <a:gd name="connsiteX3" fmla="*/ 2372062 w 3708022"/>
              <a:gd name="connsiteY3" fmla="*/ 397678 h 397678"/>
              <a:gd name="connsiteX4" fmla="*/ 2410499 w 3708022"/>
              <a:gd name="connsiteY4" fmla="*/ 0 h 397678"/>
              <a:gd name="connsiteX5" fmla="*/ 3708022 w 3708022"/>
              <a:gd name="connsiteY5" fmla="*/ 193 h 397678"/>
              <a:gd name="connsiteX0" fmla="*/ 0 w 3708022"/>
              <a:gd name="connsiteY0" fmla="*/ 7153 h 413064"/>
              <a:gd name="connsiteX1" fmla="*/ 1292225 w 3708022"/>
              <a:gd name="connsiteY1" fmla="*/ 7153 h 413064"/>
              <a:gd name="connsiteX2" fmla="*/ 1555750 w 3708022"/>
              <a:gd name="connsiteY2" fmla="*/ 397678 h 413064"/>
              <a:gd name="connsiteX3" fmla="*/ 2181224 w 3708022"/>
              <a:gd name="connsiteY3" fmla="*/ 413064 h 413064"/>
              <a:gd name="connsiteX4" fmla="*/ 2410499 w 3708022"/>
              <a:gd name="connsiteY4" fmla="*/ 0 h 413064"/>
              <a:gd name="connsiteX5" fmla="*/ 3708022 w 3708022"/>
              <a:gd name="connsiteY5" fmla="*/ 193 h 413064"/>
              <a:gd name="connsiteX0" fmla="*/ 0 w 3708022"/>
              <a:gd name="connsiteY0" fmla="*/ 7153 h 397678"/>
              <a:gd name="connsiteX1" fmla="*/ 1292225 w 3708022"/>
              <a:gd name="connsiteY1" fmla="*/ 7153 h 397678"/>
              <a:gd name="connsiteX2" fmla="*/ 1555750 w 3708022"/>
              <a:gd name="connsiteY2" fmla="*/ 397678 h 397678"/>
              <a:gd name="connsiteX3" fmla="*/ 2181224 w 3708022"/>
              <a:gd name="connsiteY3" fmla="*/ 397678 h 397678"/>
              <a:gd name="connsiteX4" fmla="*/ 2410499 w 3708022"/>
              <a:gd name="connsiteY4" fmla="*/ 0 h 397678"/>
              <a:gd name="connsiteX5" fmla="*/ 3708022 w 3708022"/>
              <a:gd name="connsiteY5" fmla="*/ 193 h 3976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708022" h="397678">
                <a:moveTo>
                  <a:pt x="0" y="7153"/>
                </a:moveTo>
                <a:lnTo>
                  <a:pt x="1292225" y="7153"/>
                </a:lnTo>
                <a:lnTo>
                  <a:pt x="1555750" y="397678"/>
                </a:lnTo>
                <a:lnTo>
                  <a:pt x="2181224" y="397678"/>
                </a:lnTo>
                <a:lnTo>
                  <a:pt x="2410499" y="0"/>
                </a:lnTo>
                <a:lnTo>
                  <a:pt x="3708022" y="193"/>
                </a:lnTo>
              </a:path>
            </a:pathLst>
          </a:cu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44" name="Skupina 13">
            <a:extLst>
              <a:ext uri="{FF2B5EF4-FFF2-40B4-BE49-F238E27FC236}">
                <a16:creationId xmlns:a16="http://schemas.microsoft.com/office/drawing/2014/main" id="{2FD25582-5ADB-4FCD-9CD6-D1CB86C63DFC}"/>
              </a:ext>
            </a:extLst>
          </p:cNvPr>
          <p:cNvGrpSpPr/>
          <p:nvPr/>
        </p:nvGrpSpPr>
        <p:grpSpPr>
          <a:xfrm>
            <a:off x="2657232" y="1120381"/>
            <a:ext cx="5904026" cy="3012785"/>
            <a:chOff x="3435698" y="998807"/>
            <a:chExt cx="4428019" cy="2259591"/>
          </a:xfrm>
        </p:grpSpPr>
        <p:sp>
          <p:nvSpPr>
            <p:cNvPr id="45" name="TextBox 10">
              <a:extLst>
                <a:ext uri="{FF2B5EF4-FFF2-40B4-BE49-F238E27FC236}">
                  <a16:creationId xmlns:a16="http://schemas.microsoft.com/office/drawing/2014/main" id="{80F6D10C-B227-44BD-91D6-BFEF3C7CFBF4}"/>
                </a:ext>
              </a:extLst>
            </p:cNvPr>
            <p:cNvSpPr txBox="1"/>
            <p:nvPr/>
          </p:nvSpPr>
          <p:spPr>
            <a:xfrm>
              <a:off x="3905783" y="2877524"/>
              <a:ext cx="791914" cy="38087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l-GR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Δ</a:t>
              </a:r>
              <a:r>
                <a:rPr kumimoji="0" lang="en-US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p</a:t>
              </a:r>
              <a:r>
                <a:rPr kumimoji="0" lang="sr-Latn-RS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 preko regulacionog ventila</a:t>
              </a:r>
              <a:endPara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46" name="TextBox 57">
              <a:extLst>
                <a:ext uri="{FF2B5EF4-FFF2-40B4-BE49-F238E27FC236}">
                  <a16:creationId xmlns:a16="http://schemas.microsoft.com/office/drawing/2014/main" id="{FED01308-9233-4B7B-8402-C18250CC6D49}"/>
                </a:ext>
              </a:extLst>
            </p:cNvPr>
            <p:cNvSpPr txBox="1"/>
            <p:nvPr/>
          </p:nvSpPr>
          <p:spPr>
            <a:xfrm>
              <a:off x="3815234" y="1307254"/>
              <a:ext cx="880609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r-Latn-R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Prag</a:t>
              </a:r>
              <a:endParaRPr kumimoji="0" lang="sl-SI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l-SI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(MCV pozicija</a:t>
              </a:r>
              <a:r>
                <a:rPr kumimoji="0" lang="sl-SI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B4BCC3">
                      <a:lumMod val="50000"/>
                    </a:srgbClr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)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B4BCC3">
                    <a:lumMod val="50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47" name="TextBox 104">
              <a:extLst>
                <a:ext uri="{FF2B5EF4-FFF2-40B4-BE49-F238E27FC236}">
                  <a16:creationId xmlns:a16="http://schemas.microsoft.com/office/drawing/2014/main" id="{03C9D7AD-EADA-4514-BE79-489F0B6FF519}"/>
                </a:ext>
              </a:extLst>
            </p:cNvPr>
            <p:cNvSpPr txBox="1"/>
            <p:nvPr/>
          </p:nvSpPr>
          <p:spPr>
            <a:xfrm>
              <a:off x="3608616" y="998807"/>
              <a:ext cx="1495603" cy="29628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l-SI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5A9E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S</a:t>
              </a:r>
              <a:r>
                <a:rPr kumimoji="0" lang="sr-Latn-RS" sz="9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5A9E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ignal</a:t>
              </a:r>
              <a:r>
                <a:rPr kumimoji="0" lang="sr-Latn-R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005A9E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 od kontrolera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5A9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67" b="0" i="0" u="sng" strike="noStrike" kern="1200" cap="none" spc="0" normalizeH="0" baseline="0" noProof="0" dirty="0">
                <a:ln>
                  <a:noFill/>
                </a:ln>
                <a:solidFill>
                  <a:srgbClr val="005A9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48" name="TextBox 105">
              <a:extLst>
                <a:ext uri="{FF2B5EF4-FFF2-40B4-BE49-F238E27FC236}">
                  <a16:creationId xmlns:a16="http://schemas.microsoft.com/office/drawing/2014/main" id="{5F79C207-0627-4F73-8A8D-AFBCCDE4F56F}"/>
                </a:ext>
              </a:extLst>
            </p:cNvPr>
            <p:cNvSpPr txBox="1"/>
            <p:nvPr/>
          </p:nvSpPr>
          <p:spPr>
            <a:xfrm>
              <a:off x="3435698" y="2200458"/>
              <a:ext cx="1140857" cy="17312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E60A11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idpMA</a:t>
              </a:r>
              <a:r>
                <a:rPr kumimoji="0" lang="en-US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E60A11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 </a:t>
              </a:r>
              <a:r>
                <a:rPr kumimoji="0" lang="sr-Latn-R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E60A11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pritisak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E60A11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181856D3-3949-45B2-90D5-2039E1EE9E19}"/>
                </a:ext>
              </a:extLst>
            </p:cNvPr>
            <p:cNvSpPr txBox="1"/>
            <p:nvPr/>
          </p:nvSpPr>
          <p:spPr>
            <a:xfrm>
              <a:off x="5171324" y="1273664"/>
              <a:ext cx="337412" cy="1924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67" b="0" i="0" u="none" strike="noStrike" kern="1200" cap="none" spc="0" normalizeH="0" baseline="0" noProof="0" dirty="0">
                  <a:ln>
                    <a:noFill/>
                  </a:ln>
                  <a:solidFill>
                    <a:srgbClr val="B4BCC3">
                      <a:lumMod val="50000"/>
                    </a:srgbClr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C1</a:t>
              </a:r>
            </a:p>
          </p:txBody>
        </p:sp>
        <p:sp>
          <p:nvSpPr>
            <p:cNvPr id="50" name="TextBox 46">
              <a:extLst>
                <a:ext uri="{FF2B5EF4-FFF2-40B4-BE49-F238E27FC236}">
                  <a16:creationId xmlns:a16="http://schemas.microsoft.com/office/drawing/2014/main" id="{E5330537-80F7-459C-8295-FB73D25F1A31}"/>
                </a:ext>
              </a:extLst>
            </p:cNvPr>
            <p:cNvSpPr txBox="1"/>
            <p:nvPr/>
          </p:nvSpPr>
          <p:spPr>
            <a:xfrm>
              <a:off x="7165478" y="1525566"/>
              <a:ext cx="698239" cy="1924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r-Latn-RS" sz="1067" b="0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uključeno</a:t>
              </a:r>
              <a:endParaRPr kumimoji="0" lang="en-US" sz="1067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" name="TextBox 47">
              <a:extLst>
                <a:ext uri="{FF2B5EF4-FFF2-40B4-BE49-F238E27FC236}">
                  <a16:creationId xmlns:a16="http://schemas.microsoft.com/office/drawing/2014/main" id="{CB74FAC1-1F59-4510-8AC4-E51C811F2528}"/>
                </a:ext>
              </a:extLst>
            </p:cNvPr>
            <p:cNvSpPr txBox="1"/>
            <p:nvPr/>
          </p:nvSpPr>
          <p:spPr>
            <a:xfrm>
              <a:off x="7165477" y="1317717"/>
              <a:ext cx="664616" cy="1924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r-Latn-RS" sz="1067" b="0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isključeno</a:t>
              </a:r>
              <a:endParaRPr kumimoji="0" lang="en-US" sz="1067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2" name="TextBox 58">
              <a:extLst>
                <a:ext uri="{FF2B5EF4-FFF2-40B4-BE49-F238E27FC236}">
                  <a16:creationId xmlns:a16="http://schemas.microsoft.com/office/drawing/2014/main" id="{350B989D-2C5D-4DBC-A291-2C1110633803}"/>
                </a:ext>
              </a:extLst>
            </p:cNvPr>
            <p:cNvSpPr txBox="1"/>
            <p:nvPr/>
          </p:nvSpPr>
          <p:spPr>
            <a:xfrm>
              <a:off x="5547602" y="2344157"/>
              <a:ext cx="337412" cy="1924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67" b="0" i="0" u="none" strike="noStrike" kern="1200" cap="none" spc="0" normalizeH="0" baseline="0" noProof="0" dirty="0">
                  <a:ln>
                    <a:noFill/>
                  </a:ln>
                  <a:solidFill>
                    <a:srgbClr val="B4BCC3">
                      <a:lumMod val="50000"/>
                    </a:srgbClr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C2</a:t>
              </a:r>
            </a:p>
          </p:txBody>
        </p:sp>
      </p:grpSp>
      <p:cxnSp>
        <p:nvCxnSpPr>
          <p:cNvPr id="53" name="Straight Arrow Connector 17">
            <a:extLst>
              <a:ext uri="{FF2B5EF4-FFF2-40B4-BE49-F238E27FC236}">
                <a16:creationId xmlns:a16="http://schemas.microsoft.com/office/drawing/2014/main" id="{7E5C3715-02F6-4592-BF53-3A32C80AC40F}"/>
              </a:ext>
            </a:extLst>
          </p:cNvPr>
          <p:cNvCxnSpPr/>
          <p:nvPr/>
        </p:nvCxnSpPr>
        <p:spPr>
          <a:xfrm>
            <a:off x="5034825" y="3190136"/>
            <a:ext cx="796684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4" name="Skupina 14">
            <a:extLst>
              <a:ext uri="{FF2B5EF4-FFF2-40B4-BE49-F238E27FC236}">
                <a16:creationId xmlns:a16="http://schemas.microsoft.com/office/drawing/2014/main" id="{DFF47330-F418-488D-B3A8-D254843DBCD2}"/>
              </a:ext>
            </a:extLst>
          </p:cNvPr>
          <p:cNvGrpSpPr/>
          <p:nvPr/>
        </p:nvGrpSpPr>
        <p:grpSpPr>
          <a:xfrm>
            <a:off x="4929531" y="1726884"/>
            <a:ext cx="623900" cy="1565876"/>
            <a:chOff x="5139923" y="1453685"/>
            <a:chExt cx="467925" cy="1174407"/>
          </a:xfrm>
        </p:grpSpPr>
        <p:sp>
          <p:nvSpPr>
            <p:cNvPr id="55" name="Oval 59">
              <a:extLst>
                <a:ext uri="{FF2B5EF4-FFF2-40B4-BE49-F238E27FC236}">
                  <a16:creationId xmlns:a16="http://schemas.microsoft.com/office/drawing/2014/main" id="{9D4685B2-5C6B-4BAA-B56B-0039266BE237}"/>
                </a:ext>
              </a:extLst>
            </p:cNvPr>
            <p:cNvSpPr/>
            <p:nvPr/>
          </p:nvSpPr>
          <p:spPr>
            <a:xfrm>
              <a:off x="5442248" y="2464164"/>
              <a:ext cx="165600" cy="163928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6" name="Oval 5">
              <a:extLst>
                <a:ext uri="{FF2B5EF4-FFF2-40B4-BE49-F238E27FC236}">
                  <a16:creationId xmlns:a16="http://schemas.microsoft.com/office/drawing/2014/main" id="{9421C244-A9F2-47EE-AD06-10A9BBB19C06}"/>
                </a:ext>
              </a:extLst>
            </p:cNvPr>
            <p:cNvSpPr/>
            <p:nvPr/>
          </p:nvSpPr>
          <p:spPr>
            <a:xfrm>
              <a:off x="5139923" y="1453685"/>
              <a:ext cx="165600" cy="163928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57" name="Arrow: Right 100">
            <a:extLst>
              <a:ext uri="{FF2B5EF4-FFF2-40B4-BE49-F238E27FC236}">
                <a16:creationId xmlns:a16="http://schemas.microsoft.com/office/drawing/2014/main" id="{AD7EA9FF-D035-48EB-A38D-D08A1E6ED458}"/>
              </a:ext>
            </a:extLst>
          </p:cNvPr>
          <p:cNvSpPr/>
          <p:nvPr/>
        </p:nvSpPr>
        <p:spPr>
          <a:xfrm>
            <a:off x="0" y="66977"/>
            <a:ext cx="889200" cy="640800"/>
          </a:xfrm>
          <a:prstGeom prst="rightArrow">
            <a:avLst>
              <a:gd name="adj1" fmla="val 100000"/>
              <a:gd name="adj2" fmla="val 27281"/>
            </a:avLst>
          </a:prstGeom>
          <a:gradFill flip="none" rotWithShape="1">
            <a:gsLst>
              <a:gs pos="0">
                <a:schemeClr val="accent2">
                  <a:shade val="30000"/>
                  <a:satMod val="115000"/>
                  <a:lumMod val="85000"/>
                  <a:lumOff val="15000"/>
                </a:schemeClr>
              </a:gs>
              <a:gs pos="10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0" scaled="1"/>
            <a:tileRect/>
          </a:gradFill>
          <a:ln w="9525">
            <a:noFill/>
          </a:ln>
          <a:effectLst>
            <a:outerShdw blurRad="127000" dist="38100" algn="l" rotWithShape="0">
              <a:prstClr val="black">
                <a:alpha val="5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8" name="Pravokotnik 57"/>
          <p:cNvSpPr/>
          <p:nvPr/>
        </p:nvSpPr>
        <p:spPr>
          <a:xfrm>
            <a:off x="460998" y="3003066"/>
            <a:ext cx="1724397" cy="1560528"/>
          </a:xfrm>
          <a:prstGeom prst="rect">
            <a:avLst/>
          </a:prstGeom>
          <a:noFill/>
          <a:ln w="50800">
            <a:solidFill>
              <a:schemeClr val="accent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l-SI" sz="18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9" name="TextBox 57">
            <a:extLst>
              <a:ext uri="{FF2B5EF4-FFF2-40B4-BE49-F238E27FC236}">
                <a16:creationId xmlns:a16="http://schemas.microsoft.com/office/drawing/2014/main" id="{F3047603-A162-480F-AF84-338F476BB957}"/>
              </a:ext>
            </a:extLst>
          </p:cNvPr>
          <p:cNvSpPr txBox="1"/>
          <p:nvPr/>
        </p:nvSpPr>
        <p:spPr>
          <a:xfrm>
            <a:off x="614845" y="3003066"/>
            <a:ext cx="1504899" cy="48537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l-SI" sz="3700" b="1" i="0" u="none" strike="noStrike" kern="1200" cap="none" spc="0" normalizeH="0" baseline="0" noProof="0" dirty="0">
                <a:ln>
                  <a:noFill/>
                </a:ln>
                <a:solidFill>
                  <a:srgbClr val="E60A1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Novo</a:t>
            </a:r>
          </a:p>
        </p:txBody>
      </p:sp>
      <p:sp>
        <p:nvSpPr>
          <p:cNvPr id="60" name="TextBox 57">
            <a:extLst>
              <a:ext uri="{FF2B5EF4-FFF2-40B4-BE49-F238E27FC236}">
                <a16:creationId xmlns:a16="http://schemas.microsoft.com/office/drawing/2014/main" id="{F3047603-A162-480F-AF84-338F476BB957}"/>
              </a:ext>
            </a:extLst>
          </p:cNvPr>
          <p:cNvSpPr txBox="1"/>
          <p:nvPr/>
        </p:nvSpPr>
        <p:spPr>
          <a:xfrm>
            <a:off x="587386" y="3591851"/>
            <a:ext cx="1470014" cy="48537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l-SI" sz="1000" b="0" i="0" u="none" strike="noStrike" kern="1200" cap="none" spc="0" normalizeH="0" baseline="0" noProof="0" dirty="0">
                <a:ln>
                  <a:noFill/>
                </a:ln>
                <a:solidFill>
                  <a:srgbClr val="E60A1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Na tržištu od 2023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E60A11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pic>
        <p:nvPicPr>
          <p:cNvPr id="61" name="Picture 60" descr="A red sign with white text&#10;&#10;AI-generated content may be incorrect.">
            <a:extLst>
              <a:ext uri="{FF2B5EF4-FFF2-40B4-BE49-F238E27FC236}">
                <a16:creationId xmlns:a16="http://schemas.microsoft.com/office/drawing/2014/main" id="{1D354B65-0157-3A44-705E-F90B1E974F4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4100" y="113595"/>
            <a:ext cx="1203205" cy="527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4122746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7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63" presetClass="path" presetSubtype="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94444E-6 1.35802E-6 L 0.05625 1.35802E-6 " pathEditMode="relative" rAng="0" ptsTypes="AA">
                                      <p:cBhvr>
                                        <p:cTn id="17" dur="750" spd="-100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812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250"/>
                            </p:stCondLst>
                            <p:childTnLst>
                              <p:par>
                                <p:cTn id="19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2250"/>
                            </p:stCondLst>
                            <p:childTnLst>
                              <p:par>
                                <p:cTn id="40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/>
      <p:bldP spid="4" grpId="1"/>
      <p:bldP spid="5" grpId="0"/>
      <p:bldP spid="43" grpId="0" animBg="1"/>
      <p:bldP spid="57" grpId="0" animBg="1"/>
      <p:bldP spid="58" grpId="0" animBg="1"/>
      <p:bldP spid="59" grpId="0"/>
      <p:bldP spid="60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ravokotnik 4">
            <a:hlinkClick r:id="" action="ppaction://noaction"/>
          </p:cNvPr>
          <p:cNvSpPr/>
          <p:nvPr/>
        </p:nvSpPr>
        <p:spPr>
          <a:xfrm>
            <a:off x="-9728" y="71081"/>
            <a:ext cx="3588241" cy="64080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l-SI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</a:p>
        </p:txBody>
      </p:sp>
      <p:sp>
        <p:nvSpPr>
          <p:cNvPr id="6" name="Rectangle 99">
            <a:extLst>
              <a:ext uri="{FF2B5EF4-FFF2-40B4-BE49-F238E27FC236}">
                <a16:creationId xmlns:a16="http://schemas.microsoft.com/office/drawing/2014/main" id="{A235EC5E-459B-43AE-AF13-020FC870FCB9}"/>
              </a:ext>
            </a:extLst>
          </p:cNvPr>
          <p:cNvSpPr/>
          <p:nvPr/>
        </p:nvSpPr>
        <p:spPr>
          <a:xfrm>
            <a:off x="-853046" y="66977"/>
            <a:ext cx="9997045" cy="640800"/>
          </a:xfrm>
          <a:custGeom>
            <a:avLst/>
            <a:gdLst>
              <a:gd name="connsiteX0" fmla="*/ 0 w 3590554"/>
              <a:gd name="connsiteY0" fmla="*/ 0 h 640800"/>
              <a:gd name="connsiteX1" fmla="*/ 3590554 w 3590554"/>
              <a:gd name="connsiteY1" fmla="*/ 0 h 640800"/>
              <a:gd name="connsiteX2" fmla="*/ 3590554 w 3590554"/>
              <a:gd name="connsiteY2" fmla="*/ 640800 h 640800"/>
              <a:gd name="connsiteX3" fmla="*/ 0 w 3590554"/>
              <a:gd name="connsiteY3" fmla="*/ 640800 h 640800"/>
              <a:gd name="connsiteX4" fmla="*/ 0 w 3590554"/>
              <a:gd name="connsiteY4" fmla="*/ 0 h 640800"/>
              <a:gd name="connsiteX0" fmla="*/ 0 w 3593306"/>
              <a:gd name="connsiteY0" fmla="*/ 302 h 641102"/>
              <a:gd name="connsiteX1" fmla="*/ 3590554 w 3593306"/>
              <a:gd name="connsiteY1" fmla="*/ 302 h 641102"/>
              <a:gd name="connsiteX2" fmla="*/ 3593306 w 3593306"/>
              <a:gd name="connsiteY2" fmla="*/ 0 h 641102"/>
              <a:gd name="connsiteX3" fmla="*/ 3590554 w 3593306"/>
              <a:gd name="connsiteY3" fmla="*/ 641102 h 641102"/>
              <a:gd name="connsiteX4" fmla="*/ 0 w 3593306"/>
              <a:gd name="connsiteY4" fmla="*/ 641102 h 641102"/>
              <a:gd name="connsiteX5" fmla="*/ 0 w 3593306"/>
              <a:gd name="connsiteY5" fmla="*/ 302 h 641102"/>
              <a:gd name="connsiteX0" fmla="*/ 0 w 3593675"/>
              <a:gd name="connsiteY0" fmla="*/ 302 h 641102"/>
              <a:gd name="connsiteX1" fmla="*/ 3590554 w 3593675"/>
              <a:gd name="connsiteY1" fmla="*/ 302 h 641102"/>
              <a:gd name="connsiteX2" fmla="*/ 3593306 w 3593675"/>
              <a:gd name="connsiteY2" fmla="*/ 0 h 641102"/>
              <a:gd name="connsiteX3" fmla="*/ 3590554 w 3593675"/>
              <a:gd name="connsiteY3" fmla="*/ 641102 h 641102"/>
              <a:gd name="connsiteX4" fmla="*/ 0 w 3593675"/>
              <a:gd name="connsiteY4" fmla="*/ 641102 h 641102"/>
              <a:gd name="connsiteX5" fmla="*/ 0 w 3593675"/>
              <a:gd name="connsiteY5" fmla="*/ 302 h 641102"/>
              <a:gd name="connsiteX0" fmla="*/ 0 w 3860011"/>
              <a:gd name="connsiteY0" fmla="*/ 0 h 640800"/>
              <a:gd name="connsiteX1" fmla="*/ 3590554 w 3860011"/>
              <a:gd name="connsiteY1" fmla="*/ 0 h 640800"/>
              <a:gd name="connsiteX2" fmla="*/ 3860006 w 3860011"/>
              <a:gd name="connsiteY2" fmla="*/ 485473 h 640800"/>
              <a:gd name="connsiteX3" fmla="*/ 3590554 w 3860011"/>
              <a:gd name="connsiteY3" fmla="*/ 640800 h 640800"/>
              <a:gd name="connsiteX4" fmla="*/ 0 w 3860011"/>
              <a:gd name="connsiteY4" fmla="*/ 640800 h 640800"/>
              <a:gd name="connsiteX5" fmla="*/ 0 w 3860011"/>
              <a:gd name="connsiteY5" fmla="*/ 0 h 640800"/>
              <a:gd name="connsiteX0" fmla="*/ 0 w 3733810"/>
              <a:gd name="connsiteY0" fmla="*/ 0 h 640800"/>
              <a:gd name="connsiteX1" fmla="*/ 3590554 w 3733810"/>
              <a:gd name="connsiteY1" fmla="*/ 0 h 640800"/>
              <a:gd name="connsiteX2" fmla="*/ 3733799 w 3733810"/>
              <a:gd name="connsiteY2" fmla="*/ 335454 h 640800"/>
              <a:gd name="connsiteX3" fmla="*/ 3590554 w 3733810"/>
              <a:gd name="connsiteY3" fmla="*/ 640800 h 640800"/>
              <a:gd name="connsiteX4" fmla="*/ 0 w 3733810"/>
              <a:gd name="connsiteY4" fmla="*/ 640800 h 640800"/>
              <a:gd name="connsiteX5" fmla="*/ 0 w 3733810"/>
              <a:gd name="connsiteY5" fmla="*/ 0 h 640800"/>
              <a:gd name="connsiteX0" fmla="*/ 0 w 3762383"/>
              <a:gd name="connsiteY0" fmla="*/ 0 h 640800"/>
              <a:gd name="connsiteX1" fmla="*/ 3590554 w 3762383"/>
              <a:gd name="connsiteY1" fmla="*/ 0 h 640800"/>
              <a:gd name="connsiteX2" fmla="*/ 3762374 w 3762383"/>
              <a:gd name="connsiteY2" fmla="*/ 314023 h 640800"/>
              <a:gd name="connsiteX3" fmla="*/ 3590554 w 3762383"/>
              <a:gd name="connsiteY3" fmla="*/ 640800 h 640800"/>
              <a:gd name="connsiteX4" fmla="*/ 0 w 3762383"/>
              <a:gd name="connsiteY4" fmla="*/ 640800 h 640800"/>
              <a:gd name="connsiteX5" fmla="*/ 0 w 3762383"/>
              <a:gd name="connsiteY5" fmla="*/ 0 h 640800"/>
              <a:gd name="connsiteX0" fmla="*/ 0 w 3762374"/>
              <a:gd name="connsiteY0" fmla="*/ 0 h 640800"/>
              <a:gd name="connsiteX1" fmla="*/ 3590554 w 3762374"/>
              <a:gd name="connsiteY1" fmla="*/ 0 h 640800"/>
              <a:gd name="connsiteX2" fmla="*/ 3762374 w 3762374"/>
              <a:gd name="connsiteY2" fmla="*/ 314023 h 640800"/>
              <a:gd name="connsiteX3" fmla="*/ 3590554 w 3762374"/>
              <a:gd name="connsiteY3" fmla="*/ 640800 h 640800"/>
              <a:gd name="connsiteX4" fmla="*/ 0 w 3762374"/>
              <a:gd name="connsiteY4" fmla="*/ 640800 h 640800"/>
              <a:gd name="connsiteX5" fmla="*/ 0 w 3762374"/>
              <a:gd name="connsiteY5" fmla="*/ 0 h 640800"/>
              <a:gd name="connsiteX0" fmla="*/ 0 w 3762374"/>
              <a:gd name="connsiteY0" fmla="*/ 0 h 640800"/>
              <a:gd name="connsiteX1" fmla="*/ 3590554 w 3762374"/>
              <a:gd name="connsiteY1" fmla="*/ 0 h 640800"/>
              <a:gd name="connsiteX2" fmla="*/ 3762374 w 3762374"/>
              <a:gd name="connsiteY2" fmla="*/ 314023 h 640800"/>
              <a:gd name="connsiteX3" fmla="*/ 3590554 w 3762374"/>
              <a:gd name="connsiteY3" fmla="*/ 640800 h 640800"/>
              <a:gd name="connsiteX4" fmla="*/ 0 w 3762374"/>
              <a:gd name="connsiteY4" fmla="*/ 640800 h 640800"/>
              <a:gd name="connsiteX5" fmla="*/ 0 w 3762374"/>
              <a:gd name="connsiteY5" fmla="*/ 0 h 640800"/>
              <a:gd name="connsiteX0" fmla="*/ 0 w 3762374"/>
              <a:gd name="connsiteY0" fmla="*/ 0 h 640800"/>
              <a:gd name="connsiteX1" fmla="*/ 3590554 w 3762374"/>
              <a:gd name="connsiteY1" fmla="*/ 0 h 640800"/>
              <a:gd name="connsiteX2" fmla="*/ 3762374 w 3762374"/>
              <a:gd name="connsiteY2" fmla="*/ 314023 h 640800"/>
              <a:gd name="connsiteX3" fmla="*/ 3590554 w 3762374"/>
              <a:gd name="connsiteY3" fmla="*/ 640800 h 640800"/>
              <a:gd name="connsiteX4" fmla="*/ 0 w 3762374"/>
              <a:gd name="connsiteY4" fmla="*/ 640800 h 640800"/>
              <a:gd name="connsiteX5" fmla="*/ 0 w 3762374"/>
              <a:gd name="connsiteY5" fmla="*/ 0 h 640800"/>
              <a:gd name="connsiteX0" fmla="*/ 0 w 3762374"/>
              <a:gd name="connsiteY0" fmla="*/ 0 h 640800"/>
              <a:gd name="connsiteX1" fmla="*/ 3590554 w 3762374"/>
              <a:gd name="connsiteY1" fmla="*/ 0 h 640800"/>
              <a:gd name="connsiteX2" fmla="*/ 3762374 w 3762374"/>
              <a:gd name="connsiteY2" fmla="*/ 314023 h 640800"/>
              <a:gd name="connsiteX3" fmla="*/ 3590554 w 3762374"/>
              <a:gd name="connsiteY3" fmla="*/ 640800 h 640800"/>
              <a:gd name="connsiteX4" fmla="*/ 0 w 3762374"/>
              <a:gd name="connsiteY4" fmla="*/ 640800 h 640800"/>
              <a:gd name="connsiteX5" fmla="*/ 0 w 3762374"/>
              <a:gd name="connsiteY5" fmla="*/ 0 h 640800"/>
              <a:gd name="connsiteX0" fmla="*/ 0 w 3767136"/>
              <a:gd name="connsiteY0" fmla="*/ 0 h 640800"/>
              <a:gd name="connsiteX1" fmla="*/ 3590554 w 3767136"/>
              <a:gd name="connsiteY1" fmla="*/ 0 h 640800"/>
              <a:gd name="connsiteX2" fmla="*/ 3767136 w 3767136"/>
              <a:gd name="connsiteY2" fmla="*/ 323548 h 640800"/>
              <a:gd name="connsiteX3" fmla="*/ 3590554 w 3767136"/>
              <a:gd name="connsiteY3" fmla="*/ 640800 h 640800"/>
              <a:gd name="connsiteX4" fmla="*/ 0 w 3767136"/>
              <a:gd name="connsiteY4" fmla="*/ 640800 h 640800"/>
              <a:gd name="connsiteX5" fmla="*/ 0 w 3767136"/>
              <a:gd name="connsiteY5" fmla="*/ 0 h 640800"/>
              <a:gd name="connsiteX0" fmla="*/ 0 w 3767136"/>
              <a:gd name="connsiteY0" fmla="*/ 0 h 640800"/>
              <a:gd name="connsiteX1" fmla="*/ 3590554 w 3767136"/>
              <a:gd name="connsiteY1" fmla="*/ 0 h 640800"/>
              <a:gd name="connsiteX2" fmla="*/ 3767136 w 3767136"/>
              <a:gd name="connsiteY2" fmla="*/ 323548 h 640800"/>
              <a:gd name="connsiteX3" fmla="*/ 3590554 w 3767136"/>
              <a:gd name="connsiteY3" fmla="*/ 640800 h 640800"/>
              <a:gd name="connsiteX4" fmla="*/ 0 w 3767136"/>
              <a:gd name="connsiteY4" fmla="*/ 640800 h 640800"/>
              <a:gd name="connsiteX5" fmla="*/ 0 w 3767136"/>
              <a:gd name="connsiteY5" fmla="*/ 0 h 640800"/>
              <a:gd name="connsiteX0" fmla="*/ 0 w 3767136"/>
              <a:gd name="connsiteY0" fmla="*/ 0 h 640800"/>
              <a:gd name="connsiteX1" fmla="*/ 3590554 w 3767136"/>
              <a:gd name="connsiteY1" fmla="*/ 0 h 640800"/>
              <a:gd name="connsiteX2" fmla="*/ 3767136 w 3767136"/>
              <a:gd name="connsiteY2" fmla="*/ 323548 h 640800"/>
              <a:gd name="connsiteX3" fmla="*/ 3590554 w 3767136"/>
              <a:gd name="connsiteY3" fmla="*/ 640800 h 640800"/>
              <a:gd name="connsiteX4" fmla="*/ 0 w 3767136"/>
              <a:gd name="connsiteY4" fmla="*/ 640800 h 640800"/>
              <a:gd name="connsiteX5" fmla="*/ 0 w 3767136"/>
              <a:gd name="connsiteY5" fmla="*/ 0 h 640800"/>
              <a:gd name="connsiteX0" fmla="*/ 0 w 3590554"/>
              <a:gd name="connsiteY0" fmla="*/ 0 h 640800"/>
              <a:gd name="connsiteX1" fmla="*/ 3590554 w 3590554"/>
              <a:gd name="connsiteY1" fmla="*/ 0 h 640800"/>
              <a:gd name="connsiteX2" fmla="*/ 3590554 w 3590554"/>
              <a:gd name="connsiteY2" fmla="*/ 640800 h 640800"/>
              <a:gd name="connsiteX3" fmla="*/ 0 w 3590554"/>
              <a:gd name="connsiteY3" fmla="*/ 640800 h 640800"/>
              <a:gd name="connsiteX4" fmla="*/ 0 w 3590554"/>
              <a:gd name="connsiteY4" fmla="*/ 0 h 640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90554" h="640800">
                <a:moveTo>
                  <a:pt x="0" y="0"/>
                </a:moveTo>
                <a:lnTo>
                  <a:pt x="3590554" y="0"/>
                </a:lnTo>
                <a:lnTo>
                  <a:pt x="3590554" y="640800"/>
                </a:lnTo>
                <a:lnTo>
                  <a:pt x="0" y="640800"/>
                </a:lnTo>
                <a:lnTo>
                  <a:pt x="0" y="0"/>
                </a:lnTo>
                <a:close/>
              </a:path>
            </a:pathLst>
          </a:custGeom>
          <a:solidFill>
            <a:schemeClr val="bg2">
              <a:lumMod val="60000"/>
              <a:lumOff val="40000"/>
              <a:alpha val="32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" name="Rectangle 98">
            <a:extLst>
              <a:ext uri="{FF2B5EF4-FFF2-40B4-BE49-F238E27FC236}">
                <a16:creationId xmlns:a16="http://schemas.microsoft.com/office/drawing/2014/main" id="{EA530C59-B890-40C2-926B-BA4A08962C6C}"/>
              </a:ext>
            </a:extLst>
          </p:cNvPr>
          <p:cNvSpPr/>
          <p:nvPr/>
        </p:nvSpPr>
        <p:spPr>
          <a:xfrm>
            <a:off x="889403" y="218101"/>
            <a:ext cx="7840259" cy="33855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l-SI" sz="1600" b="1" i="0" u="none" strike="noStrike" kern="0" cap="none" spc="0" normalizeH="0" baseline="0" noProof="0" dirty="0">
                <a:ln>
                  <a:noFill/>
                </a:ln>
                <a:solidFill>
                  <a:srgbClr val="E60A1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iNET</a:t>
            </a:r>
            <a:r>
              <a:rPr kumimoji="0" lang="sl-SI" sz="1600" b="1" i="0" u="none" strike="noStrike" kern="0" cap="none" spc="0" normalizeH="0" baseline="0" noProof="0" dirty="0">
                <a:ln>
                  <a:noFill/>
                </a:ln>
                <a:solidFill>
                  <a:srgbClr val="869199">
                    <a:lumMod val="50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sl-SI" sz="16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- Inteligentno balansiranje mreže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" name="Oval 170">
            <a:extLst>
              <a:ext uri="{FF2B5EF4-FFF2-40B4-BE49-F238E27FC236}">
                <a16:creationId xmlns:a16="http://schemas.microsoft.com/office/drawing/2014/main" id="{E413F36B-AD52-4A42-A2E2-F99666C450E0}"/>
              </a:ext>
            </a:extLst>
          </p:cNvPr>
          <p:cNvSpPr/>
          <p:nvPr/>
        </p:nvSpPr>
        <p:spPr>
          <a:xfrm>
            <a:off x="445782" y="4484472"/>
            <a:ext cx="141890" cy="134621"/>
          </a:xfrm>
          <a:prstGeom prst="ellipse">
            <a:avLst/>
          </a:prstGeom>
          <a:noFill/>
          <a:ln w="19050">
            <a:solidFill>
              <a:schemeClr val="accent2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l-SI" sz="1177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" name="TextBox 171">
            <a:extLst>
              <a:ext uri="{FF2B5EF4-FFF2-40B4-BE49-F238E27FC236}">
                <a16:creationId xmlns:a16="http://schemas.microsoft.com/office/drawing/2014/main" id="{A9413B84-95B1-4C9B-BE6D-AFEC77B5F417}"/>
              </a:ext>
            </a:extLst>
          </p:cNvPr>
          <p:cNvSpPr txBox="1"/>
          <p:nvPr/>
        </p:nvSpPr>
        <p:spPr>
          <a:xfrm>
            <a:off x="662644" y="4484861"/>
            <a:ext cx="2547683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l-SI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otencijal kritične tačke u mreži</a:t>
            </a:r>
            <a:endParaRPr kumimoji="0" lang="sl-SI" sz="105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3" name="TextBox 174">
            <a:extLst>
              <a:ext uri="{FF2B5EF4-FFF2-40B4-BE49-F238E27FC236}">
                <a16:creationId xmlns:a16="http://schemas.microsoft.com/office/drawing/2014/main" id="{11B67D83-8BEA-4378-85D8-EA8D68EECAB7}"/>
              </a:ext>
            </a:extLst>
          </p:cNvPr>
          <p:cNvSpPr txBox="1"/>
          <p:nvPr/>
        </p:nvSpPr>
        <p:spPr>
          <a:xfrm>
            <a:off x="6282176" y="3023355"/>
            <a:ext cx="2180084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l-SI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ijagram dif.pritiska u mreži</a:t>
            </a:r>
          </a:p>
        </p:txBody>
      </p:sp>
      <p:sp>
        <p:nvSpPr>
          <p:cNvPr id="14" name="TextBox 175">
            <a:extLst>
              <a:ext uri="{FF2B5EF4-FFF2-40B4-BE49-F238E27FC236}">
                <a16:creationId xmlns:a16="http://schemas.microsoft.com/office/drawing/2014/main" id="{15C899E4-1D5B-4F25-8408-5B3B5536A00A}"/>
              </a:ext>
            </a:extLst>
          </p:cNvPr>
          <p:cNvSpPr txBox="1"/>
          <p:nvPr/>
        </p:nvSpPr>
        <p:spPr>
          <a:xfrm>
            <a:off x="5994765" y="3587163"/>
            <a:ext cx="216406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l-SI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∆p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l-SI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izvor</a:t>
            </a:r>
          </a:p>
        </p:txBody>
      </p:sp>
      <p:sp>
        <p:nvSpPr>
          <p:cNvPr id="15" name="TextBox 176">
            <a:extLst>
              <a:ext uri="{FF2B5EF4-FFF2-40B4-BE49-F238E27FC236}">
                <a16:creationId xmlns:a16="http://schemas.microsoft.com/office/drawing/2014/main" id="{0CF25EA6-C9CB-4951-B58B-92F5C453DAE9}"/>
              </a:ext>
            </a:extLst>
          </p:cNvPr>
          <p:cNvSpPr txBox="1"/>
          <p:nvPr/>
        </p:nvSpPr>
        <p:spPr>
          <a:xfrm>
            <a:off x="8417768" y="3527000"/>
            <a:ext cx="341439" cy="32316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l-SI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∆p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l-SI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Kritična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l-SI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tačka</a:t>
            </a:r>
          </a:p>
        </p:txBody>
      </p:sp>
      <p:sp>
        <p:nvSpPr>
          <p:cNvPr id="16" name="TextBox 178">
            <a:extLst>
              <a:ext uri="{FF2B5EF4-FFF2-40B4-BE49-F238E27FC236}">
                <a16:creationId xmlns:a16="http://schemas.microsoft.com/office/drawing/2014/main" id="{16AF8F26-70D0-40AF-A44A-00086F89F210}"/>
              </a:ext>
            </a:extLst>
          </p:cNvPr>
          <p:cNvSpPr txBox="1"/>
          <p:nvPr/>
        </p:nvSpPr>
        <p:spPr>
          <a:xfrm>
            <a:off x="6281452" y="4203062"/>
            <a:ext cx="2450148" cy="4154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l-SI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manjenje troškova pumpanja </a:t>
            </a:r>
            <a:r>
              <a:rPr kumimoji="0" lang="hr-HR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štedeći potencijale podešavanjem Δp na stvarnoj kritičnoj tački u stvarnom vremenu</a:t>
            </a:r>
            <a:endParaRPr kumimoji="0" lang="sl-SI" sz="9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pic>
        <p:nvPicPr>
          <p:cNvPr id="17" name="Picture 187">
            <a:extLst>
              <a:ext uri="{FF2B5EF4-FFF2-40B4-BE49-F238E27FC236}">
                <a16:creationId xmlns:a16="http://schemas.microsoft.com/office/drawing/2014/main" id="{0DA30104-7EB1-4BA3-A154-97534D9C182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0" b="100000" l="0" r="100000">
                        <a14:foregroundMark x1="21379" y1="90356" x2="21379" y2="90356"/>
                        <a14:foregroundMark x1="75402" y1="87715" x2="75402" y2="87715"/>
                        <a14:foregroundMark x1="76092" y1="89782" x2="76092" y2="89782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rot="1419776">
            <a:off x="935661" y="2190185"/>
            <a:ext cx="227117" cy="454757"/>
          </a:xfrm>
          <a:prstGeom prst="rect">
            <a:avLst/>
          </a:prstGeom>
        </p:spPr>
      </p:pic>
      <p:pic>
        <p:nvPicPr>
          <p:cNvPr id="18" name="Picture 188">
            <a:extLst>
              <a:ext uri="{FF2B5EF4-FFF2-40B4-BE49-F238E27FC236}">
                <a16:creationId xmlns:a16="http://schemas.microsoft.com/office/drawing/2014/main" id="{ACA5449B-5820-40FA-98E2-2ADE35DDB8A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0" b="100000" l="0" r="100000">
                        <a14:foregroundMark x1="21379" y1="90356" x2="21379" y2="90356"/>
                        <a14:foregroundMark x1="75402" y1="87715" x2="75402" y2="87715"/>
                        <a14:foregroundMark x1="76092" y1="89782" x2="76092" y2="89782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rot="1419776">
            <a:off x="469343" y="2788489"/>
            <a:ext cx="227117" cy="454757"/>
          </a:xfrm>
          <a:prstGeom prst="rect">
            <a:avLst/>
          </a:prstGeom>
        </p:spPr>
      </p:pic>
      <p:pic>
        <p:nvPicPr>
          <p:cNvPr id="19" name="Picture 189">
            <a:extLst>
              <a:ext uri="{FF2B5EF4-FFF2-40B4-BE49-F238E27FC236}">
                <a16:creationId xmlns:a16="http://schemas.microsoft.com/office/drawing/2014/main" id="{633E41C6-42C5-4654-BE82-91194755EFF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0" b="100000" l="0" r="100000">
                        <a14:foregroundMark x1="21379" y1="90356" x2="21379" y2="90356"/>
                        <a14:foregroundMark x1="75402" y1="87715" x2="75402" y2="87715"/>
                        <a14:foregroundMark x1="76092" y1="89782" x2="76092" y2="89782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rot="1419776">
            <a:off x="3946494" y="4160241"/>
            <a:ext cx="227117" cy="454757"/>
          </a:xfrm>
          <a:prstGeom prst="rect">
            <a:avLst/>
          </a:prstGeom>
        </p:spPr>
      </p:pic>
      <p:pic>
        <p:nvPicPr>
          <p:cNvPr id="20" name="Picture 190">
            <a:extLst>
              <a:ext uri="{FF2B5EF4-FFF2-40B4-BE49-F238E27FC236}">
                <a16:creationId xmlns:a16="http://schemas.microsoft.com/office/drawing/2014/main" id="{594A21D7-2A38-4810-B3F4-1EB680DC8AE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0" b="100000" l="0" r="100000">
                        <a14:foregroundMark x1="21379" y1="90356" x2="21379" y2="90356"/>
                        <a14:foregroundMark x1="75402" y1="87715" x2="75402" y2="87715"/>
                        <a14:foregroundMark x1="76092" y1="89782" x2="76092" y2="89782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rot="1419776">
            <a:off x="5523779" y="2817471"/>
            <a:ext cx="227117" cy="454757"/>
          </a:xfrm>
          <a:prstGeom prst="rect">
            <a:avLst/>
          </a:prstGeom>
        </p:spPr>
      </p:pic>
      <p:pic>
        <p:nvPicPr>
          <p:cNvPr id="21" name="Picture 191">
            <a:extLst>
              <a:ext uri="{FF2B5EF4-FFF2-40B4-BE49-F238E27FC236}">
                <a16:creationId xmlns:a16="http://schemas.microsoft.com/office/drawing/2014/main" id="{2737EF2A-B805-4585-BE9C-8C3B15840F6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0" b="100000" l="0" r="100000">
                        <a14:foregroundMark x1="21379" y1="90356" x2="21379" y2="90356"/>
                        <a14:foregroundMark x1="75402" y1="87715" x2="75402" y2="87715"/>
                        <a14:foregroundMark x1="76092" y1="89782" x2="76092" y2="89782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rot="1419776">
            <a:off x="5055808" y="2184681"/>
            <a:ext cx="227117" cy="454757"/>
          </a:xfrm>
          <a:prstGeom prst="rect">
            <a:avLst/>
          </a:prstGeom>
        </p:spPr>
      </p:pic>
      <p:grpSp>
        <p:nvGrpSpPr>
          <p:cNvPr id="22" name="Skupina 6">
            <a:extLst>
              <a:ext uri="{FF2B5EF4-FFF2-40B4-BE49-F238E27FC236}">
                <a16:creationId xmlns:a16="http://schemas.microsoft.com/office/drawing/2014/main" id="{BC79BDF7-AA2A-49B2-A135-9188DF7DAB70}"/>
              </a:ext>
            </a:extLst>
          </p:cNvPr>
          <p:cNvGrpSpPr/>
          <p:nvPr/>
        </p:nvGrpSpPr>
        <p:grpSpPr>
          <a:xfrm>
            <a:off x="6286862" y="3300114"/>
            <a:ext cx="2084295" cy="807191"/>
            <a:chOff x="4904226" y="3878492"/>
            <a:chExt cx="2779060" cy="1076254"/>
          </a:xfrm>
        </p:grpSpPr>
        <p:sp>
          <p:nvSpPr>
            <p:cNvPr id="23" name="Pravokotni trikotnik 2">
              <a:extLst>
                <a:ext uri="{FF2B5EF4-FFF2-40B4-BE49-F238E27FC236}">
                  <a16:creationId xmlns:a16="http://schemas.microsoft.com/office/drawing/2014/main" id="{E2B4BFCF-047C-4212-AB5B-ED8923931F6E}"/>
                </a:ext>
              </a:extLst>
            </p:cNvPr>
            <p:cNvSpPr/>
            <p:nvPr/>
          </p:nvSpPr>
          <p:spPr>
            <a:xfrm>
              <a:off x="4904227" y="3878492"/>
              <a:ext cx="2779059" cy="382430"/>
            </a:xfrm>
            <a:prstGeom prst="rtTriangle">
              <a:avLst/>
            </a:prstGeom>
            <a:solidFill>
              <a:srgbClr val="E60A11"/>
            </a:solidFill>
            <a:ln w="9525">
              <a:solidFill>
                <a:srgbClr val="E60A1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77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4" name="Pravokotni trikotnik 28">
              <a:extLst>
                <a:ext uri="{FF2B5EF4-FFF2-40B4-BE49-F238E27FC236}">
                  <a16:creationId xmlns:a16="http://schemas.microsoft.com/office/drawing/2014/main" id="{4B82EA30-9327-4BB2-9970-55864C99B4C1}"/>
                </a:ext>
              </a:extLst>
            </p:cNvPr>
            <p:cNvSpPr/>
            <p:nvPr/>
          </p:nvSpPr>
          <p:spPr>
            <a:xfrm flipV="1">
              <a:off x="4904226" y="4572316"/>
              <a:ext cx="2779059" cy="382430"/>
            </a:xfrm>
            <a:prstGeom prst="rtTriangle">
              <a:avLst/>
            </a:prstGeom>
            <a:solidFill>
              <a:srgbClr val="E60A11"/>
            </a:solidFill>
            <a:ln w="9525">
              <a:solidFill>
                <a:srgbClr val="E60A1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77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5" name="Pravokotnik 4">
              <a:extLst>
                <a:ext uri="{FF2B5EF4-FFF2-40B4-BE49-F238E27FC236}">
                  <a16:creationId xmlns:a16="http://schemas.microsoft.com/office/drawing/2014/main" id="{D9F0BBF4-03CA-44BE-8B17-26EBA8BF4CF1}"/>
                </a:ext>
              </a:extLst>
            </p:cNvPr>
            <p:cNvSpPr/>
            <p:nvPr/>
          </p:nvSpPr>
          <p:spPr>
            <a:xfrm>
              <a:off x="4904227" y="4264966"/>
              <a:ext cx="2779059" cy="98301"/>
            </a:xfrm>
            <a:prstGeom prst="rect">
              <a:avLst/>
            </a:prstGeom>
            <a:solidFill>
              <a:srgbClr val="E60A11"/>
            </a:solidFill>
            <a:ln w="9525">
              <a:solidFill>
                <a:srgbClr val="E60A1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77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6" name="Pravokotnik 29">
              <a:extLst>
                <a:ext uri="{FF2B5EF4-FFF2-40B4-BE49-F238E27FC236}">
                  <a16:creationId xmlns:a16="http://schemas.microsoft.com/office/drawing/2014/main" id="{10F332E7-2AD3-41CE-BC19-0FC683997895}"/>
                </a:ext>
              </a:extLst>
            </p:cNvPr>
            <p:cNvSpPr/>
            <p:nvPr/>
          </p:nvSpPr>
          <p:spPr>
            <a:xfrm>
              <a:off x="4904226" y="4472134"/>
              <a:ext cx="2779059" cy="98301"/>
            </a:xfrm>
            <a:prstGeom prst="rect">
              <a:avLst/>
            </a:prstGeom>
            <a:solidFill>
              <a:srgbClr val="E60A11"/>
            </a:solidFill>
            <a:ln w="9525">
              <a:solidFill>
                <a:srgbClr val="E60A1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77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27" name="Pravokotni trikotnik 30">
            <a:extLst>
              <a:ext uri="{FF2B5EF4-FFF2-40B4-BE49-F238E27FC236}">
                <a16:creationId xmlns:a16="http://schemas.microsoft.com/office/drawing/2014/main" id="{41E66FA7-8971-40AE-A448-FAE6113B0749}"/>
              </a:ext>
            </a:extLst>
          </p:cNvPr>
          <p:cNvSpPr/>
          <p:nvPr/>
        </p:nvSpPr>
        <p:spPr>
          <a:xfrm>
            <a:off x="6286866" y="3385299"/>
            <a:ext cx="2084294" cy="286823"/>
          </a:xfrm>
          <a:prstGeom prst="rtTriangle">
            <a:avLst/>
          </a:prstGeom>
          <a:solidFill>
            <a:srgbClr val="92D050"/>
          </a:solidFill>
          <a:ln w="9525"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77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8" name="Pravokotni trikotnik 31">
            <a:extLst>
              <a:ext uri="{FF2B5EF4-FFF2-40B4-BE49-F238E27FC236}">
                <a16:creationId xmlns:a16="http://schemas.microsoft.com/office/drawing/2014/main" id="{B33373DA-9219-45A9-9256-402DC7F99819}"/>
              </a:ext>
            </a:extLst>
          </p:cNvPr>
          <p:cNvSpPr/>
          <p:nvPr/>
        </p:nvSpPr>
        <p:spPr>
          <a:xfrm flipV="1">
            <a:off x="6286866" y="3733461"/>
            <a:ext cx="2084294" cy="286823"/>
          </a:xfrm>
          <a:prstGeom prst="rtTriangle">
            <a:avLst/>
          </a:prstGeom>
          <a:solidFill>
            <a:srgbClr val="92D050"/>
          </a:solidFill>
          <a:ln w="9525"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77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9" name="Arrow: Right 100">
            <a:extLst>
              <a:ext uri="{FF2B5EF4-FFF2-40B4-BE49-F238E27FC236}">
                <a16:creationId xmlns:a16="http://schemas.microsoft.com/office/drawing/2014/main" id="{AD7EA9FF-D035-48EB-A38D-D08A1E6ED458}"/>
              </a:ext>
            </a:extLst>
          </p:cNvPr>
          <p:cNvSpPr/>
          <p:nvPr/>
        </p:nvSpPr>
        <p:spPr>
          <a:xfrm>
            <a:off x="0" y="66977"/>
            <a:ext cx="889200" cy="640800"/>
          </a:xfrm>
          <a:prstGeom prst="rightArrow">
            <a:avLst>
              <a:gd name="adj1" fmla="val 100000"/>
              <a:gd name="adj2" fmla="val 27281"/>
            </a:avLst>
          </a:prstGeom>
          <a:gradFill flip="none" rotWithShape="1">
            <a:gsLst>
              <a:gs pos="0">
                <a:schemeClr val="accent2">
                  <a:shade val="30000"/>
                  <a:satMod val="115000"/>
                  <a:lumMod val="85000"/>
                  <a:lumOff val="15000"/>
                </a:schemeClr>
              </a:gs>
              <a:gs pos="10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0" scaled="1"/>
            <a:tileRect/>
          </a:gradFill>
          <a:ln w="9525">
            <a:noFill/>
          </a:ln>
          <a:effectLst>
            <a:outerShdw blurRad="127000" dist="38100" algn="l" rotWithShape="0">
              <a:prstClr val="black">
                <a:alpha val="5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pic>
        <p:nvPicPr>
          <p:cNvPr id="30" name="Slika 29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2666" y="2284613"/>
            <a:ext cx="5315272" cy="2218761"/>
          </a:xfrm>
          <a:prstGeom prst="rect">
            <a:avLst/>
          </a:prstGeom>
        </p:spPr>
      </p:pic>
      <p:pic>
        <p:nvPicPr>
          <p:cNvPr id="31" name="Slika 30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7239" y="876569"/>
            <a:ext cx="1749620" cy="1414092"/>
          </a:xfrm>
          <a:prstGeom prst="rect">
            <a:avLst/>
          </a:prstGeom>
        </p:spPr>
      </p:pic>
      <p:pic>
        <p:nvPicPr>
          <p:cNvPr id="32" name="Slika 3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65085" y="876569"/>
            <a:ext cx="1749620" cy="1414092"/>
          </a:xfrm>
          <a:prstGeom prst="rect">
            <a:avLst/>
          </a:prstGeom>
        </p:spPr>
      </p:pic>
      <p:pic>
        <p:nvPicPr>
          <p:cNvPr id="33" name="Slika 3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63786" y="876569"/>
            <a:ext cx="1749620" cy="1414092"/>
          </a:xfrm>
          <a:prstGeom prst="rect">
            <a:avLst/>
          </a:prstGeom>
        </p:spPr>
      </p:pic>
      <p:sp>
        <p:nvSpPr>
          <p:cNvPr id="34" name="Rectangle 49">
            <a:extLst>
              <a:ext uri="{FF2B5EF4-FFF2-40B4-BE49-F238E27FC236}">
                <a16:creationId xmlns:a16="http://schemas.microsoft.com/office/drawing/2014/main" id="{537C31C2-2470-46AA-AE8D-5DE6D1F3EEFD}"/>
              </a:ext>
            </a:extLst>
          </p:cNvPr>
          <p:cNvSpPr/>
          <p:nvPr/>
        </p:nvSpPr>
        <p:spPr>
          <a:xfrm>
            <a:off x="437633" y="920836"/>
            <a:ext cx="2702769" cy="1086619"/>
          </a:xfrm>
          <a:prstGeom prst="rect">
            <a:avLst/>
          </a:prstGeom>
          <a:solidFill>
            <a:srgbClr val="F0F2F3"/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0" marR="0" lvl="1" indent="-4445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B4BCC3"/>
              </a:buClr>
              <a:buSzPct val="140000"/>
              <a:buFontTx/>
              <a:buNone/>
              <a:tabLst/>
              <a:defRPr/>
            </a:pPr>
            <a:r>
              <a:rPr kumimoji="0" lang="sr-Latn-RS" sz="1200" b="1" i="0" u="none" strike="noStrike" kern="1200" cap="none" spc="0" normalizeH="0" baseline="0" noProof="0" dirty="0">
                <a:ln>
                  <a:noFill/>
                </a:ln>
                <a:solidFill>
                  <a:srgbClr val="E2000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aljinsko podešavanje </a:t>
            </a:r>
            <a:r>
              <a:rPr kumimoji="0" lang="sr-Latn-R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iferencijalnog pritiska na ograncima i krajnjim tačkama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</a:p>
        </p:txBody>
      </p:sp>
      <p:sp>
        <p:nvSpPr>
          <p:cNvPr id="35" name="Rectangle 49">
            <a:extLst>
              <a:ext uri="{FF2B5EF4-FFF2-40B4-BE49-F238E27FC236}">
                <a16:creationId xmlns:a16="http://schemas.microsoft.com/office/drawing/2014/main" id="{537C31C2-2470-46AA-AE8D-5DE6D1F3EEFD}"/>
              </a:ext>
            </a:extLst>
          </p:cNvPr>
          <p:cNvSpPr/>
          <p:nvPr/>
        </p:nvSpPr>
        <p:spPr>
          <a:xfrm>
            <a:off x="3236019" y="916381"/>
            <a:ext cx="2672229" cy="1086619"/>
          </a:xfrm>
          <a:prstGeom prst="rect">
            <a:avLst/>
          </a:prstGeom>
          <a:solidFill>
            <a:srgbClr val="F0F2F3"/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</a:t>
            </a:r>
            <a:r>
              <a:rPr kumimoji="0" lang="sr-Latn-BA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ks</a:t>
            </a:r>
            <a:r>
              <a:rPr kumimoji="0" lang="en-GB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im</a:t>
            </a:r>
            <a:r>
              <a:rPr kumimoji="0" lang="sr-Latn-R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lizovanje</a:t>
            </a:r>
            <a:r>
              <a:rPr kumimoji="0" lang="sr-Latn-R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korišćenja </a:t>
            </a:r>
            <a:r>
              <a:rPr kumimoji="0" lang="sr-Latn-RS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kumulirane toplote </a:t>
            </a:r>
            <a:r>
              <a:rPr kumimoji="0" lang="sr-Latn-R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u mreži i u zgradama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6" name="Rectangle 49">
            <a:extLst>
              <a:ext uri="{FF2B5EF4-FFF2-40B4-BE49-F238E27FC236}">
                <a16:creationId xmlns:a16="http://schemas.microsoft.com/office/drawing/2014/main" id="{537C31C2-2470-46AA-AE8D-5DE6D1F3EEFD}"/>
              </a:ext>
            </a:extLst>
          </p:cNvPr>
          <p:cNvSpPr/>
          <p:nvPr/>
        </p:nvSpPr>
        <p:spPr>
          <a:xfrm>
            <a:off x="6003865" y="919240"/>
            <a:ext cx="2707367" cy="1086619"/>
          </a:xfrm>
          <a:prstGeom prst="rect">
            <a:avLst/>
          </a:prstGeom>
          <a:solidFill>
            <a:srgbClr val="F0F2F3"/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0" marR="0" lvl="1" indent="-4445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B4BCC3"/>
              </a:buClr>
              <a:buSzPct val="140000"/>
              <a:buFontTx/>
              <a:buNone/>
              <a:tabLst/>
              <a:defRPr/>
            </a:pPr>
            <a:r>
              <a:rPr kumimoji="0" lang="sr-Latn-RS" sz="1200" b="1" i="0" u="none" strike="noStrike" kern="1200" cap="none" spc="0" normalizeH="0" baseline="0" noProof="0" dirty="0">
                <a:ln>
                  <a:noFill/>
                </a:ln>
                <a:solidFill>
                  <a:srgbClr val="E2000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oboljšanje stabilnosti distributivna mreže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sr-Latn-R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niži troškovi pumpanja i niže povratne temperatura</a:t>
            </a:r>
            <a:endParaRPr kumimoji="0" lang="sl-SI" sz="1200" b="1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pic>
        <p:nvPicPr>
          <p:cNvPr id="2" name="Picture 1" descr="A red sign with white text&#10;&#10;AI-generated content may be incorrect.">
            <a:extLst>
              <a:ext uri="{FF2B5EF4-FFF2-40B4-BE49-F238E27FC236}">
                <a16:creationId xmlns:a16="http://schemas.microsoft.com/office/drawing/2014/main" id="{53F76360-CEED-01C8-11E7-7F9A17A52843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4100" y="113595"/>
            <a:ext cx="1203205" cy="527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911486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200"/>
                            </p:stCondLst>
                            <p:childTnLst>
                              <p:par>
                                <p:cTn id="20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1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400"/>
                            </p:stCondLst>
                            <p:childTnLst>
                              <p:par>
                                <p:cTn id="2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600"/>
                            </p:stCondLst>
                            <p:childTnLst>
                              <p:par>
                                <p:cTn id="30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600"/>
                            </p:stCondLst>
                            <p:childTnLst>
                              <p:par>
                                <p:cTn id="37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1600"/>
                            </p:stCondLst>
                            <p:childTnLst>
                              <p:par>
                                <p:cTn id="4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1600"/>
                            </p:stCondLst>
                            <p:childTnLst>
                              <p:par>
                                <p:cTn id="51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/>
      <p:bldP spid="7" grpId="1"/>
      <p:bldP spid="11" grpId="0" animBg="1"/>
      <p:bldP spid="12" grpId="0"/>
      <p:bldP spid="13" grpId="0"/>
      <p:bldP spid="14" grpId="0"/>
      <p:bldP spid="15" grpId="0"/>
      <p:bldP spid="16" grpId="0"/>
      <p:bldP spid="27" grpId="0" animBg="1"/>
      <p:bldP spid="28" grpId="0" animBg="1"/>
      <p:bldP spid="29" grpId="0" animBg="1"/>
      <p:bldP spid="34" grpId="0" animBg="1"/>
      <p:bldP spid="35" grpId="0" animBg="1"/>
      <p:bldP spid="36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47022BBD-4FA6-0332-BA36-E95D3C82900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7320" y="1373892"/>
            <a:ext cx="6195597" cy="3368332"/>
          </a:xfrm>
          <a:prstGeom prst="rect">
            <a:avLst/>
          </a:prstGeom>
        </p:spPr>
      </p:pic>
      <p:sp>
        <p:nvSpPr>
          <p:cNvPr id="8" name="Rectangle 99">
            <a:extLst>
              <a:ext uri="{FF2B5EF4-FFF2-40B4-BE49-F238E27FC236}">
                <a16:creationId xmlns:a16="http://schemas.microsoft.com/office/drawing/2014/main" id="{1EDD3A33-DE6A-5DF8-1482-717F2F28984F}"/>
              </a:ext>
            </a:extLst>
          </p:cNvPr>
          <p:cNvSpPr/>
          <p:nvPr/>
        </p:nvSpPr>
        <p:spPr>
          <a:xfrm>
            <a:off x="-853046" y="66977"/>
            <a:ext cx="9997045" cy="640800"/>
          </a:xfrm>
          <a:custGeom>
            <a:avLst/>
            <a:gdLst>
              <a:gd name="connsiteX0" fmla="*/ 0 w 3590554"/>
              <a:gd name="connsiteY0" fmla="*/ 0 h 640800"/>
              <a:gd name="connsiteX1" fmla="*/ 3590554 w 3590554"/>
              <a:gd name="connsiteY1" fmla="*/ 0 h 640800"/>
              <a:gd name="connsiteX2" fmla="*/ 3590554 w 3590554"/>
              <a:gd name="connsiteY2" fmla="*/ 640800 h 640800"/>
              <a:gd name="connsiteX3" fmla="*/ 0 w 3590554"/>
              <a:gd name="connsiteY3" fmla="*/ 640800 h 640800"/>
              <a:gd name="connsiteX4" fmla="*/ 0 w 3590554"/>
              <a:gd name="connsiteY4" fmla="*/ 0 h 640800"/>
              <a:gd name="connsiteX0" fmla="*/ 0 w 3593306"/>
              <a:gd name="connsiteY0" fmla="*/ 302 h 641102"/>
              <a:gd name="connsiteX1" fmla="*/ 3590554 w 3593306"/>
              <a:gd name="connsiteY1" fmla="*/ 302 h 641102"/>
              <a:gd name="connsiteX2" fmla="*/ 3593306 w 3593306"/>
              <a:gd name="connsiteY2" fmla="*/ 0 h 641102"/>
              <a:gd name="connsiteX3" fmla="*/ 3590554 w 3593306"/>
              <a:gd name="connsiteY3" fmla="*/ 641102 h 641102"/>
              <a:gd name="connsiteX4" fmla="*/ 0 w 3593306"/>
              <a:gd name="connsiteY4" fmla="*/ 641102 h 641102"/>
              <a:gd name="connsiteX5" fmla="*/ 0 w 3593306"/>
              <a:gd name="connsiteY5" fmla="*/ 302 h 641102"/>
              <a:gd name="connsiteX0" fmla="*/ 0 w 3593675"/>
              <a:gd name="connsiteY0" fmla="*/ 302 h 641102"/>
              <a:gd name="connsiteX1" fmla="*/ 3590554 w 3593675"/>
              <a:gd name="connsiteY1" fmla="*/ 302 h 641102"/>
              <a:gd name="connsiteX2" fmla="*/ 3593306 w 3593675"/>
              <a:gd name="connsiteY2" fmla="*/ 0 h 641102"/>
              <a:gd name="connsiteX3" fmla="*/ 3590554 w 3593675"/>
              <a:gd name="connsiteY3" fmla="*/ 641102 h 641102"/>
              <a:gd name="connsiteX4" fmla="*/ 0 w 3593675"/>
              <a:gd name="connsiteY4" fmla="*/ 641102 h 641102"/>
              <a:gd name="connsiteX5" fmla="*/ 0 w 3593675"/>
              <a:gd name="connsiteY5" fmla="*/ 302 h 641102"/>
              <a:gd name="connsiteX0" fmla="*/ 0 w 3860011"/>
              <a:gd name="connsiteY0" fmla="*/ 0 h 640800"/>
              <a:gd name="connsiteX1" fmla="*/ 3590554 w 3860011"/>
              <a:gd name="connsiteY1" fmla="*/ 0 h 640800"/>
              <a:gd name="connsiteX2" fmla="*/ 3860006 w 3860011"/>
              <a:gd name="connsiteY2" fmla="*/ 485473 h 640800"/>
              <a:gd name="connsiteX3" fmla="*/ 3590554 w 3860011"/>
              <a:gd name="connsiteY3" fmla="*/ 640800 h 640800"/>
              <a:gd name="connsiteX4" fmla="*/ 0 w 3860011"/>
              <a:gd name="connsiteY4" fmla="*/ 640800 h 640800"/>
              <a:gd name="connsiteX5" fmla="*/ 0 w 3860011"/>
              <a:gd name="connsiteY5" fmla="*/ 0 h 640800"/>
              <a:gd name="connsiteX0" fmla="*/ 0 w 3733810"/>
              <a:gd name="connsiteY0" fmla="*/ 0 h 640800"/>
              <a:gd name="connsiteX1" fmla="*/ 3590554 w 3733810"/>
              <a:gd name="connsiteY1" fmla="*/ 0 h 640800"/>
              <a:gd name="connsiteX2" fmla="*/ 3733799 w 3733810"/>
              <a:gd name="connsiteY2" fmla="*/ 335454 h 640800"/>
              <a:gd name="connsiteX3" fmla="*/ 3590554 w 3733810"/>
              <a:gd name="connsiteY3" fmla="*/ 640800 h 640800"/>
              <a:gd name="connsiteX4" fmla="*/ 0 w 3733810"/>
              <a:gd name="connsiteY4" fmla="*/ 640800 h 640800"/>
              <a:gd name="connsiteX5" fmla="*/ 0 w 3733810"/>
              <a:gd name="connsiteY5" fmla="*/ 0 h 640800"/>
              <a:gd name="connsiteX0" fmla="*/ 0 w 3762383"/>
              <a:gd name="connsiteY0" fmla="*/ 0 h 640800"/>
              <a:gd name="connsiteX1" fmla="*/ 3590554 w 3762383"/>
              <a:gd name="connsiteY1" fmla="*/ 0 h 640800"/>
              <a:gd name="connsiteX2" fmla="*/ 3762374 w 3762383"/>
              <a:gd name="connsiteY2" fmla="*/ 314023 h 640800"/>
              <a:gd name="connsiteX3" fmla="*/ 3590554 w 3762383"/>
              <a:gd name="connsiteY3" fmla="*/ 640800 h 640800"/>
              <a:gd name="connsiteX4" fmla="*/ 0 w 3762383"/>
              <a:gd name="connsiteY4" fmla="*/ 640800 h 640800"/>
              <a:gd name="connsiteX5" fmla="*/ 0 w 3762383"/>
              <a:gd name="connsiteY5" fmla="*/ 0 h 640800"/>
              <a:gd name="connsiteX0" fmla="*/ 0 w 3762374"/>
              <a:gd name="connsiteY0" fmla="*/ 0 h 640800"/>
              <a:gd name="connsiteX1" fmla="*/ 3590554 w 3762374"/>
              <a:gd name="connsiteY1" fmla="*/ 0 h 640800"/>
              <a:gd name="connsiteX2" fmla="*/ 3762374 w 3762374"/>
              <a:gd name="connsiteY2" fmla="*/ 314023 h 640800"/>
              <a:gd name="connsiteX3" fmla="*/ 3590554 w 3762374"/>
              <a:gd name="connsiteY3" fmla="*/ 640800 h 640800"/>
              <a:gd name="connsiteX4" fmla="*/ 0 w 3762374"/>
              <a:gd name="connsiteY4" fmla="*/ 640800 h 640800"/>
              <a:gd name="connsiteX5" fmla="*/ 0 w 3762374"/>
              <a:gd name="connsiteY5" fmla="*/ 0 h 640800"/>
              <a:gd name="connsiteX0" fmla="*/ 0 w 3762374"/>
              <a:gd name="connsiteY0" fmla="*/ 0 h 640800"/>
              <a:gd name="connsiteX1" fmla="*/ 3590554 w 3762374"/>
              <a:gd name="connsiteY1" fmla="*/ 0 h 640800"/>
              <a:gd name="connsiteX2" fmla="*/ 3762374 w 3762374"/>
              <a:gd name="connsiteY2" fmla="*/ 314023 h 640800"/>
              <a:gd name="connsiteX3" fmla="*/ 3590554 w 3762374"/>
              <a:gd name="connsiteY3" fmla="*/ 640800 h 640800"/>
              <a:gd name="connsiteX4" fmla="*/ 0 w 3762374"/>
              <a:gd name="connsiteY4" fmla="*/ 640800 h 640800"/>
              <a:gd name="connsiteX5" fmla="*/ 0 w 3762374"/>
              <a:gd name="connsiteY5" fmla="*/ 0 h 640800"/>
              <a:gd name="connsiteX0" fmla="*/ 0 w 3762374"/>
              <a:gd name="connsiteY0" fmla="*/ 0 h 640800"/>
              <a:gd name="connsiteX1" fmla="*/ 3590554 w 3762374"/>
              <a:gd name="connsiteY1" fmla="*/ 0 h 640800"/>
              <a:gd name="connsiteX2" fmla="*/ 3762374 w 3762374"/>
              <a:gd name="connsiteY2" fmla="*/ 314023 h 640800"/>
              <a:gd name="connsiteX3" fmla="*/ 3590554 w 3762374"/>
              <a:gd name="connsiteY3" fmla="*/ 640800 h 640800"/>
              <a:gd name="connsiteX4" fmla="*/ 0 w 3762374"/>
              <a:gd name="connsiteY4" fmla="*/ 640800 h 640800"/>
              <a:gd name="connsiteX5" fmla="*/ 0 w 3762374"/>
              <a:gd name="connsiteY5" fmla="*/ 0 h 640800"/>
              <a:gd name="connsiteX0" fmla="*/ 0 w 3762374"/>
              <a:gd name="connsiteY0" fmla="*/ 0 h 640800"/>
              <a:gd name="connsiteX1" fmla="*/ 3590554 w 3762374"/>
              <a:gd name="connsiteY1" fmla="*/ 0 h 640800"/>
              <a:gd name="connsiteX2" fmla="*/ 3762374 w 3762374"/>
              <a:gd name="connsiteY2" fmla="*/ 314023 h 640800"/>
              <a:gd name="connsiteX3" fmla="*/ 3590554 w 3762374"/>
              <a:gd name="connsiteY3" fmla="*/ 640800 h 640800"/>
              <a:gd name="connsiteX4" fmla="*/ 0 w 3762374"/>
              <a:gd name="connsiteY4" fmla="*/ 640800 h 640800"/>
              <a:gd name="connsiteX5" fmla="*/ 0 w 3762374"/>
              <a:gd name="connsiteY5" fmla="*/ 0 h 640800"/>
              <a:gd name="connsiteX0" fmla="*/ 0 w 3767136"/>
              <a:gd name="connsiteY0" fmla="*/ 0 h 640800"/>
              <a:gd name="connsiteX1" fmla="*/ 3590554 w 3767136"/>
              <a:gd name="connsiteY1" fmla="*/ 0 h 640800"/>
              <a:gd name="connsiteX2" fmla="*/ 3767136 w 3767136"/>
              <a:gd name="connsiteY2" fmla="*/ 323548 h 640800"/>
              <a:gd name="connsiteX3" fmla="*/ 3590554 w 3767136"/>
              <a:gd name="connsiteY3" fmla="*/ 640800 h 640800"/>
              <a:gd name="connsiteX4" fmla="*/ 0 w 3767136"/>
              <a:gd name="connsiteY4" fmla="*/ 640800 h 640800"/>
              <a:gd name="connsiteX5" fmla="*/ 0 w 3767136"/>
              <a:gd name="connsiteY5" fmla="*/ 0 h 640800"/>
              <a:gd name="connsiteX0" fmla="*/ 0 w 3767136"/>
              <a:gd name="connsiteY0" fmla="*/ 0 h 640800"/>
              <a:gd name="connsiteX1" fmla="*/ 3590554 w 3767136"/>
              <a:gd name="connsiteY1" fmla="*/ 0 h 640800"/>
              <a:gd name="connsiteX2" fmla="*/ 3767136 w 3767136"/>
              <a:gd name="connsiteY2" fmla="*/ 323548 h 640800"/>
              <a:gd name="connsiteX3" fmla="*/ 3590554 w 3767136"/>
              <a:gd name="connsiteY3" fmla="*/ 640800 h 640800"/>
              <a:gd name="connsiteX4" fmla="*/ 0 w 3767136"/>
              <a:gd name="connsiteY4" fmla="*/ 640800 h 640800"/>
              <a:gd name="connsiteX5" fmla="*/ 0 w 3767136"/>
              <a:gd name="connsiteY5" fmla="*/ 0 h 640800"/>
              <a:gd name="connsiteX0" fmla="*/ 0 w 3767136"/>
              <a:gd name="connsiteY0" fmla="*/ 0 h 640800"/>
              <a:gd name="connsiteX1" fmla="*/ 3590554 w 3767136"/>
              <a:gd name="connsiteY1" fmla="*/ 0 h 640800"/>
              <a:gd name="connsiteX2" fmla="*/ 3767136 w 3767136"/>
              <a:gd name="connsiteY2" fmla="*/ 323548 h 640800"/>
              <a:gd name="connsiteX3" fmla="*/ 3590554 w 3767136"/>
              <a:gd name="connsiteY3" fmla="*/ 640800 h 640800"/>
              <a:gd name="connsiteX4" fmla="*/ 0 w 3767136"/>
              <a:gd name="connsiteY4" fmla="*/ 640800 h 640800"/>
              <a:gd name="connsiteX5" fmla="*/ 0 w 3767136"/>
              <a:gd name="connsiteY5" fmla="*/ 0 h 640800"/>
              <a:gd name="connsiteX0" fmla="*/ 0 w 3590554"/>
              <a:gd name="connsiteY0" fmla="*/ 0 h 640800"/>
              <a:gd name="connsiteX1" fmla="*/ 3590554 w 3590554"/>
              <a:gd name="connsiteY1" fmla="*/ 0 h 640800"/>
              <a:gd name="connsiteX2" fmla="*/ 3590554 w 3590554"/>
              <a:gd name="connsiteY2" fmla="*/ 640800 h 640800"/>
              <a:gd name="connsiteX3" fmla="*/ 0 w 3590554"/>
              <a:gd name="connsiteY3" fmla="*/ 640800 h 640800"/>
              <a:gd name="connsiteX4" fmla="*/ 0 w 3590554"/>
              <a:gd name="connsiteY4" fmla="*/ 0 h 640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90554" h="640800">
                <a:moveTo>
                  <a:pt x="0" y="0"/>
                </a:moveTo>
                <a:lnTo>
                  <a:pt x="3590554" y="0"/>
                </a:lnTo>
                <a:lnTo>
                  <a:pt x="3590554" y="640800"/>
                </a:lnTo>
                <a:lnTo>
                  <a:pt x="0" y="640800"/>
                </a:lnTo>
                <a:lnTo>
                  <a:pt x="0" y="0"/>
                </a:lnTo>
                <a:close/>
              </a:path>
            </a:pathLst>
          </a:custGeom>
          <a:solidFill>
            <a:schemeClr val="bg2">
              <a:lumMod val="60000"/>
              <a:lumOff val="40000"/>
              <a:alpha val="32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9" name="Rectangle 98">
            <a:extLst>
              <a:ext uri="{FF2B5EF4-FFF2-40B4-BE49-F238E27FC236}">
                <a16:creationId xmlns:a16="http://schemas.microsoft.com/office/drawing/2014/main" id="{58CE474B-841B-48AF-1765-13BC273E4746}"/>
              </a:ext>
            </a:extLst>
          </p:cNvPr>
          <p:cNvSpPr/>
          <p:nvPr/>
        </p:nvSpPr>
        <p:spPr>
          <a:xfrm>
            <a:off x="889403" y="218101"/>
            <a:ext cx="7840259" cy="33855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l-SI" sz="1600" b="1" i="0" u="none" strike="noStrike" kern="0" cap="none" spc="0" normalizeH="0" baseline="0" noProof="0" dirty="0">
                <a:ln>
                  <a:noFill/>
                </a:ln>
                <a:solidFill>
                  <a:srgbClr val="E60A1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iNET</a:t>
            </a:r>
            <a:r>
              <a:rPr kumimoji="0" lang="sl-SI" sz="1600" b="1" i="0" u="none" strike="noStrike" kern="0" cap="none" spc="0" normalizeH="0" baseline="0" noProof="0" dirty="0">
                <a:ln>
                  <a:noFill/>
                </a:ln>
                <a:solidFill>
                  <a:srgbClr val="869199">
                    <a:lumMod val="50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sl-SI" sz="16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– Povezivanje sa kontrolerima i</a:t>
            </a:r>
            <a:r>
              <a:rPr kumimoji="0" lang="sl-SI" sz="1600" b="0" i="0" u="none" strike="noStrike" kern="0" cap="none" spc="0" normalizeH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SCADA sistemom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" name="Arrow: Right 100">
            <a:extLst>
              <a:ext uri="{FF2B5EF4-FFF2-40B4-BE49-F238E27FC236}">
                <a16:creationId xmlns:a16="http://schemas.microsoft.com/office/drawing/2014/main" id="{118F982A-D108-82D8-BE5D-8C4E7BA22ADF}"/>
              </a:ext>
            </a:extLst>
          </p:cNvPr>
          <p:cNvSpPr/>
          <p:nvPr/>
        </p:nvSpPr>
        <p:spPr>
          <a:xfrm>
            <a:off x="0" y="66977"/>
            <a:ext cx="889200" cy="640800"/>
          </a:xfrm>
          <a:prstGeom prst="rightArrow">
            <a:avLst>
              <a:gd name="adj1" fmla="val 100000"/>
              <a:gd name="adj2" fmla="val 27281"/>
            </a:avLst>
          </a:prstGeom>
          <a:gradFill flip="none" rotWithShape="1">
            <a:gsLst>
              <a:gs pos="0">
                <a:schemeClr val="accent2">
                  <a:shade val="30000"/>
                  <a:satMod val="115000"/>
                  <a:lumMod val="85000"/>
                  <a:lumOff val="15000"/>
                </a:schemeClr>
              </a:gs>
              <a:gs pos="10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0" scaled="1"/>
            <a:tileRect/>
          </a:gradFill>
          <a:ln w="9525">
            <a:noFill/>
          </a:ln>
          <a:effectLst>
            <a:outerShdw blurRad="127000" dist="38100" algn="l" rotWithShape="0">
              <a:prstClr val="black">
                <a:alpha val="5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980A457-DA4E-D8B8-82C7-4846ED1BFED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65495" y="661852"/>
            <a:ext cx="2278606" cy="4132765"/>
          </a:xfrm>
          <a:prstGeom prst="rect">
            <a:avLst/>
          </a:prstGeom>
        </p:spPr>
      </p:pic>
      <p:pic>
        <p:nvPicPr>
          <p:cNvPr id="2" name="Picture 1" descr="A red sign with white text&#10;&#10;AI-generated content may be incorrect.">
            <a:extLst>
              <a:ext uri="{FF2B5EF4-FFF2-40B4-BE49-F238E27FC236}">
                <a16:creationId xmlns:a16="http://schemas.microsoft.com/office/drawing/2014/main" id="{D860BB3F-AFAC-4C98-AEB6-EA3806D9B050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4100" y="113595"/>
            <a:ext cx="1203205" cy="527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62982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7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63" presetClass="path" presetSubtype="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94444E-6 1.35802E-6 L 0.05625 1.35802E-6 " pathEditMode="relative" rAng="0" ptsTypes="AA">
                                      <p:cBhvr>
                                        <p:cTn id="17" dur="750" spd="-100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812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/>
      <p:bldP spid="9" grpId="1"/>
      <p:bldP spid="10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>
          <a:extLst>
            <a:ext uri="{FF2B5EF4-FFF2-40B4-BE49-F238E27FC236}">
              <a16:creationId xmlns:a16="http://schemas.microsoft.com/office/drawing/2014/main" id="{261BE166-7EB8-AD82-6559-5E5DAA82CA6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Billede 27" descr="Et billede, der indeholder sky, udendørs, vej/gade, træ&#10;&#10;Indhold genereret af kunstig intelligens kan være forkert.">
            <a:extLst>
              <a:ext uri="{FF2B5EF4-FFF2-40B4-BE49-F238E27FC236}">
                <a16:creationId xmlns:a16="http://schemas.microsoft.com/office/drawing/2014/main" id="{A0E8FFAE-2D89-A8D9-57FE-FC0AA7A2880B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01" t="26736" b="19378"/>
          <a:stretch/>
        </p:blipFill>
        <p:spPr>
          <a:xfrm>
            <a:off x="0" y="0"/>
            <a:ext cx="9144000" cy="4323804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16B35EA7-AD71-D104-D467-03D9AA5F5175}"/>
              </a:ext>
            </a:extLst>
          </p:cNvPr>
          <p:cNvSpPr txBox="1"/>
          <p:nvPr/>
        </p:nvSpPr>
        <p:spPr>
          <a:xfrm>
            <a:off x="419886" y="179089"/>
            <a:ext cx="4455160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685800">
              <a:defRPr/>
            </a:pPr>
            <a:r>
              <a:rPr lang="en-GB" b="1" dirty="0">
                <a:solidFill>
                  <a:prstClr val="white"/>
                </a:solidFill>
                <a:latin typeface="Verdana"/>
              </a:rPr>
              <a:t>DEN </a:t>
            </a:r>
            <a:r>
              <a:rPr lang="sr-Latn-RS" b="1" dirty="0">
                <a:solidFill>
                  <a:prstClr val="white"/>
                </a:solidFill>
                <a:latin typeface="Verdana"/>
              </a:rPr>
              <a:t>pregled rešenja</a:t>
            </a:r>
            <a:br>
              <a:rPr lang="en-GB" dirty="0">
                <a:solidFill>
                  <a:prstClr val="white"/>
                </a:solidFill>
                <a:latin typeface=" Verdana Pro Light"/>
              </a:rPr>
            </a:br>
            <a:r>
              <a:rPr lang="en-GB" dirty="0">
                <a:solidFill>
                  <a:prstClr val="white"/>
                </a:solidFill>
                <a:latin typeface=" Verdana Pro Light"/>
              </a:rPr>
              <a:t>End-2-end optimization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1C3DBE9D-292D-976D-F491-E460E52AEED1}"/>
              </a:ext>
            </a:extLst>
          </p:cNvPr>
          <p:cNvSpPr txBox="1"/>
          <p:nvPr/>
        </p:nvSpPr>
        <p:spPr>
          <a:xfrm>
            <a:off x="2386720" y="6426671"/>
            <a:ext cx="761894" cy="1731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5783">
              <a:spcAft>
                <a:spcPts val="300"/>
              </a:spcAft>
              <a:defRPr/>
            </a:pPr>
            <a:endParaRPr lang="sl-SI" sz="525" b="1" dirty="0">
              <a:solidFill>
                <a:prstClr val="white"/>
              </a:solidFill>
              <a:latin typeface="Verdana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58DE6A7-173C-FDF9-37F6-51C5870047C3}"/>
              </a:ext>
            </a:extLst>
          </p:cNvPr>
          <p:cNvSpPr/>
          <p:nvPr/>
        </p:nvSpPr>
        <p:spPr>
          <a:xfrm>
            <a:off x="615150" y="1795216"/>
            <a:ext cx="793832" cy="793832"/>
          </a:xfrm>
          <a:prstGeom prst="rect">
            <a:avLst/>
          </a:prstGeom>
          <a:solidFill>
            <a:schemeClr val="bg1">
              <a:alpha val="60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GB" sz="1350" dirty="0" err="1">
              <a:solidFill>
                <a:prstClr val="white"/>
              </a:solidFill>
              <a:latin typeface="Verdana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C455A41-527E-B635-1F0B-4D616C94C7C5}"/>
              </a:ext>
            </a:extLst>
          </p:cNvPr>
          <p:cNvSpPr/>
          <p:nvPr/>
        </p:nvSpPr>
        <p:spPr>
          <a:xfrm>
            <a:off x="615150" y="2589048"/>
            <a:ext cx="793832" cy="793832"/>
          </a:xfrm>
          <a:prstGeom prst="rect">
            <a:avLst/>
          </a:prstGeom>
          <a:solidFill>
            <a:srgbClr val="869098">
              <a:alpha val="66000"/>
            </a:srgb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GB" sz="1350" dirty="0" err="1">
              <a:solidFill>
                <a:prstClr val="white"/>
              </a:solidFill>
              <a:latin typeface="Verdana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01CACFC-100E-300F-92FB-869F5A6116FC}"/>
              </a:ext>
            </a:extLst>
          </p:cNvPr>
          <p:cNvSpPr/>
          <p:nvPr/>
        </p:nvSpPr>
        <p:spPr>
          <a:xfrm>
            <a:off x="1408982" y="2589048"/>
            <a:ext cx="793832" cy="793832"/>
          </a:xfrm>
          <a:prstGeom prst="rect">
            <a:avLst/>
          </a:prstGeom>
          <a:solidFill>
            <a:schemeClr val="bg1">
              <a:alpha val="60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GB" sz="1350" dirty="0" err="1">
              <a:solidFill>
                <a:prstClr val="white"/>
              </a:solidFill>
              <a:latin typeface="Verdana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37AEFF7-4926-E149-4721-656D25251330}"/>
              </a:ext>
            </a:extLst>
          </p:cNvPr>
          <p:cNvSpPr/>
          <p:nvPr/>
        </p:nvSpPr>
        <p:spPr>
          <a:xfrm>
            <a:off x="1408982" y="1795216"/>
            <a:ext cx="793832" cy="793832"/>
          </a:xfrm>
          <a:prstGeom prst="rect">
            <a:avLst/>
          </a:prstGeom>
          <a:solidFill>
            <a:srgbClr val="869098">
              <a:alpha val="66000"/>
            </a:srgb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GB" sz="1350" dirty="0" err="1">
              <a:solidFill>
                <a:prstClr val="white"/>
              </a:solidFill>
              <a:latin typeface="Verdana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5157BB0-5F7A-FF3A-6318-ED103984BA00}"/>
              </a:ext>
            </a:extLst>
          </p:cNvPr>
          <p:cNvSpPr/>
          <p:nvPr/>
        </p:nvSpPr>
        <p:spPr>
          <a:xfrm>
            <a:off x="615150" y="3382880"/>
            <a:ext cx="793832" cy="793832"/>
          </a:xfrm>
          <a:prstGeom prst="rect">
            <a:avLst/>
          </a:pr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GB" sz="1350" dirty="0" err="1">
              <a:solidFill>
                <a:prstClr val="white"/>
              </a:solidFill>
              <a:latin typeface="Verdana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3EA0EC4-9FC5-1B55-0402-1A23091043E8}"/>
              </a:ext>
            </a:extLst>
          </p:cNvPr>
          <p:cNvSpPr/>
          <p:nvPr/>
        </p:nvSpPr>
        <p:spPr>
          <a:xfrm>
            <a:off x="3348163" y="2589048"/>
            <a:ext cx="793832" cy="793832"/>
          </a:xfrm>
          <a:prstGeom prst="rect">
            <a:avLst/>
          </a:prstGeom>
          <a:solidFill>
            <a:schemeClr val="bg1">
              <a:alpha val="60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GB" sz="1350" dirty="0" err="1">
              <a:solidFill>
                <a:prstClr val="white"/>
              </a:solidFill>
              <a:latin typeface="Verdana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8C8D583-DC69-8D5C-F6EE-2F8ED5F8149A}"/>
              </a:ext>
            </a:extLst>
          </p:cNvPr>
          <p:cNvSpPr/>
          <p:nvPr/>
        </p:nvSpPr>
        <p:spPr>
          <a:xfrm>
            <a:off x="3348163" y="3382880"/>
            <a:ext cx="793832" cy="793832"/>
          </a:xfrm>
          <a:prstGeom prst="rect">
            <a:avLst/>
          </a:pr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GB" sz="1350" dirty="0" err="1">
              <a:solidFill>
                <a:prstClr val="white"/>
              </a:solidFill>
              <a:latin typeface="Verdana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C31D495-EBB7-5480-4BBF-73BE679C09C5}"/>
              </a:ext>
            </a:extLst>
          </p:cNvPr>
          <p:cNvSpPr/>
          <p:nvPr/>
        </p:nvSpPr>
        <p:spPr>
          <a:xfrm>
            <a:off x="5259369" y="2589048"/>
            <a:ext cx="793832" cy="793832"/>
          </a:xfrm>
          <a:prstGeom prst="rect">
            <a:avLst/>
          </a:prstGeom>
          <a:solidFill>
            <a:schemeClr val="bg1">
              <a:alpha val="60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GB" sz="1350" dirty="0" err="1">
              <a:solidFill>
                <a:prstClr val="white"/>
              </a:solidFill>
              <a:latin typeface="Verdana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7E6221F0-616C-5D61-020D-C4DC3B40FBBB}"/>
              </a:ext>
            </a:extLst>
          </p:cNvPr>
          <p:cNvSpPr/>
          <p:nvPr/>
        </p:nvSpPr>
        <p:spPr>
          <a:xfrm>
            <a:off x="5259369" y="3382880"/>
            <a:ext cx="793832" cy="793832"/>
          </a:xfrm>
          <a:prstGeom prst="rect">
            <a:avLst/>
          </a:pr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GB" sz="1350" dirty="0" err="1">
              <a:solidFill>
                <a:prstClr val="white"/>
              </a:solidFill>
              <a:latin typeface="Verdana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C5AD1525-2637-8A06-55AD-F376D4282A70}"/>
              </a:ext>
            </a:extLst>
          </p:cNvPr>
          <p:cNvSpPr/>
          <p:nvPr/>
        </p:nvSpPr>
        <p:spPr>
          <a:xfrm>
            <a:off x="6847033" y="2589048"/>
            <a:ext cx="793832" cy="793832"/>
          </a:xfrm>
          <a:prstGeom prst="rect">
            <a:avLst/>
          </a:prstGeom>
          <a:solidFill>
            <a:schemeClr val="bg1">
              <a:alpha val="60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GB" sz="1350" dirty="0" err="1">
              <a:solidFill>
                <a:prstClr val="white"/>
              </a:solidFill>
              <a:latin typeface="Verdana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7AD65FCC-C8BB-AF2A-C2A0-C4EE31DF725E}"/>
              </a:ext>
            </a:extLst>
          </p:cNvPr>
          <p:cNvSpPr/>
          <p:nvPr/>
        </p:nvSpPr>
        <p:spPr>
          <a:xfrm>
            <a:off x="6053201" y="1795216"/>
            <a:ext cx="793832" cy="793832"/>
          </a:xfrm>
          <a:prstGeom prst="rect">
            <a:avLst/>
          </a:prstGeom>
          <a:solidFill>
            <a:schemeClr val="bg1">
              <a:alpha val="60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GB" sz="1350" dirty="0" err="1">
              <a:solidFill>
                <a:prstClr val="white"/>
              </a:solidFill>
              <a:latin typeface="Verdana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90C93760-D76D-7904-7383-5A678E520E86}"/>
              </a:ext>
            </a:extLst>
          </p:cNvPr>
          <p:cNvSpPr/>
          <p:nvPr/>
        </p:nvSpPr>
        <p:spPr>
          <a:xfrm>
            <a:off x="6847033" y="1795216"/>
            <a:ext cx="793832" cy="793832"/>
          </a:xfrm>
          <a:prstGeom prst="rect">
            <a:avLst/>
          </a:prstGeom>
          <a:solidFill>
            <a:schemeClr val="bg1">
              <a:alpha val="60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GB" sz="1350" dirty="0" err="1">
              <a:solidFill>
                <a:prstClr val="white"/>
              </a:solidFill>
              <a:latin typeface="Verdana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16E4DB6D-E900-6EB8-E64B-9DE959D5FBEA}"/>
              </a:ext>
            </a:extLst>
          </p:cNvPr>
          <p:cNvSpPr/>
          <p:nvPr/>
        </p:nvSpPr>
        <p:spPr>
          <a:xfrm>
            <a:off x="6053201" y="2589048"/>
            <a:ext cx="793832" cy="793832"/>
          </a:xfrm>
          <a:prstGeom prst="rect">
            <a:avLst/>
          </a:prstGeom>
          <a:solidFill>
            <a:srgbClr val="869098">
              <a:alpha val="66000"/>
            </a:srgb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GB" sz="1350" dirty="0" err="1">
              <a:solidFill>
                <a:prstClr val="white"/>
              </a:solidFill>
              <a:latin typeface="Verdana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1D314606-DD29-362E-EA91-DD6223DFDC56}"/>
              </a:ext>
            </a:extLst>
          </p:cNvPr>
          <p:cNvSpPr/>
          <p:nvPr/>
        </p:nvSpPr>
        <p:spPr>
          <a:xfrm>
            <a:off x="6053201" y="1001383"/>
            <a:ext cx="793832" cy="793832"/>
          </a:xfrm>
          <a:prstGeom prst="rect">
            <a:avLst/>
          </a:prstGeom>
          <a:solidFill>
            <a:srgbClr val="869098">
              <a:alpha val="66000"/>
            </a:srgb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GB" sz="1350" dirty="0" err="1">
              <a:solidFill>
                <a:prstClr val="white"/>
              </a:solidFill>
              <a:latin typeface="Verdana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F3A10440-6A89-B110-7761-A6C4990098C9}"/>
              </a:ext>
            </a:extLst>
          </p:cNvPr>
          <p:cNvSpPr/>
          <p:nvPr/>
        </p:nvSpPr>
        <p:spPr>
          <a:xfrm>
            <a:off x="6847033" y="1001383"/>
            <a:ext cx="793832" cy="793832"/>
          </a:xfrm>
          <a:prstGeom prst="rect">
            <a:avLst/>
          </a:prstGeom>
          <a:solidFill>
            <a:schemeClr val="bg1">
              <a:alpha val="60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GB" sz="1350" dirty="0" err="1">
              <a:solidFill>
                <a:prstClr val="white"/>
              </a:solidFill>
              <a:latin typeface="Verdana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1D96DDEE-06C0-01EF-3931-6E51FD43CC6E}"/>
              </a:ext>
            </a:extLst>
          </p:cNvPr>
          <p:cNvSpPr/>
          <p:nvPr/>
        </p:nvSpPr>
        <p:spPr>
          <a:xfrm>
            <a:off x="6847033" y="3382880"/>
            <a:ext cx="793832" cy="793832"/>
          </a:xfrm>
          <a:prstGeom prst="rect">
            <a:avLst/>
          </a:pr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GB" sz="1350" dirty="0" err="1">
              <a:solidFill>
                <a:prstClr val="white"/>
              </a:solidFill>
              <a:latin typeface="Verdana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5BED2977-A5AD-20ED-9AF9-3255A7BB9A2E}"/>
              </a:ext>
            </a:extLst>
          </p:cNvPr>
          <p:cNvSpPr/>
          <p:nvPr/>
        </p:nvSpPr>
        <p:spPr>
          <a:xfrm>
            <a:off x="6847033" y="207551"/>
            <a:ext cx="793832" cy="793832"/>
          </a:xfrm>
          <a:prstGeom prst="rect">
            <a:avLst/>
          </a:prstGeom>
          <a:solidFill>
            <a:schemeClr val="bg1">
              <a:alpha val="60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GB" sz="1350" dirty="0" err="1">
              <a:solidFill>
                <a:prstClr val="white"/>
              </a:solidFill>
              <a:latin typeface="Verdana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B3AF5AF4-C5C1-8789-8A08-1D32D17019E1}"/>
              </a:ext>
            </a:extLst>
          </p:cNvPr>
          <p:cNvSpPr/>
          <p:nvPr/>
        </p:nvSpPr>
        <p:spPr>
          <a:xfrm>
            <a:off x="7640865" y="207551"/>
            <a:ext cx="793832" cy="793832"/>
          </a:xfrm>
          <a:prstGeom prst="rect">
            <a:avLst/>
          </a:prstGeom>
          <a:solidFill>
            <a:srgbClr val="869098">
              <a:alpha val="66000"/>
            </a:srgb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GB" sz="1350" dirty="0" err="1">
              <a:solidFill>
                <a:prstClr val="white"/>
              </a:solidFill>
              <a:latin typeface="Verdana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BFEBCB1C-113C-5ED2-E99B-D13CB96E1F68}"/>
              </a:ext>
            </a:extLst>
          </p:cNvPr>
          <p:cNvSpPr/>
          <p:nvPr/>
        </p:nvSpPr>
        <p:spPr>
          <a:xfrm>
            <a:off x="7640865" y="1795216"/>
            <a:ext cx="793832" cy="793832"/>
          </a:xfrm>
          <a:prstGeom prst="rect">
            <a:avLst/>
          </a:prstGeom>
          <a:solidFill>
            <a:schemeClr val="bg1">
              <a:alpha val="60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GB" sz="1350" dirty="0" err="1">
              <a:solidFill>
                <a:prstClr val="white"/>
              </a:solidFill>
              <a:latin typeface="Verdana"/>
            </a:endParaRPr>
          </a:p>
        </p:txBody>
      </p:sp>
      <p:sp>
        <p:nvSpPr>
          <p:cNvPr id="43" name="TextBox 9">
            <a:extLst>
              <a:ext uri="{FF2B5EF4-FFF2-40B4-BE49-F238E27FC236}">
                <a16:creationId xmlns:a16="http://schemas.microsoft.com/office/drawing/2014/main" id="{271FAB58-0AAE-5389-E5AF-5FF28ED20582}"/>
              </a:ext>
            </a:extLst>
          </p:cNvPr>
          <p:cNvSpPr txBox="1"/>
          <p:nvPr/>
        </p:nvSpPr>
        <p:spPr>
          <a:xfrm>
            <a:off x="615149" y="1831310"/>
            <a:ext cx="793832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 defTabSz="685783">
              <a:spcAft>
                <a:spcPts val="300"/>
              </a:spcAft>
              <a:defRPr/>
            </a:pPr>
            <a:r>
              <a:rPr lang="sl-SI" sz="600" dirty="0" err="1">
                <a:solidFill>
                  <a:srgbClr val="000000"/>
                </a:solidFill>
                <a:latin typeface="Verdana Pro Light" panose="020B0304030504040204" pitchFamily="34" charset="0"/>
              </a:rPr>
              <a:t>Leanheat</a:t>
            </a:r>
            <a:r>
              <a:rPr lang="sl-SI" sz="600" baseline="30000" dirty="0">
                <a:solidFill>
                  <a:srgbClr val="000000"/>
                </a:solidFill>
                <a:latin typeface="Verdana Pro Light" panose="020B0304030504040204" pitchFamily="34" charset="0"/>
              </a:rPr>
              <a:t>® </a:t>
            </a:r>
            <a:br>
              <a:rPr lang="sl-SI" sz="600" baseline="30000" dirty="0">
                <a:solidFill>
                  <a:srgbClr val="000000"/>
                </a:solidFill>
                <a:latin typeface="Verdana Pro Light" panose="020B0304030504040204" pitchFamily="34" charset="0"/>
              </a:rPr>
            </a:br>
            <a:r>
              <a:rPr lang="sl-SI" sz="600" dirty="0" err="1">
                <a:solidFill>
                  <a:srgbClr val="000000"/>
                </a:solidFill>
                <a:latin typeface="Verdana Pro Light" panose="020B0304030504040204" pitchFamily="34" charset="0"/>
              </a:rPr>
              <a:t>Production</a:t>
            </a:r>
            <a:r>
              <a:rPr lang="sl-SI" sz="600" dirty="0">
                <a:solidFill>
                  <a:srgbClr val="000000"/>
                </a:solidFill>
                <a:latin typeface="Verdana Pro Light" panose="020B0304030504040204" pitchFamily="34" charset="0"/>
              </a:rPr>
              <a:t> </a:t>
            </a:r>
            <a:endParaRPr lang="en-US" sz="600" dirty="0">
              <a:solidFill>
                <a:srgbClr val="000000"/>
              </a:solidFill>
              <a:latin typeface="Verdana Pro Light" panose="020B0304030504040204" pitchFamily="34" charset="0"/>
            </a:endParaRPr>
          </a:p>
        </p:txBody>
      </p:sp>
      <p:sp>
        <p:nvSpPr>
          <p:cNvPr id="44" name="TextBox 9">
            <a:extLst>
              <a:ext uri="{FF2B5EF4-FFF2-40B4-BE49-F238E27FC236}">
                <a16:creationId xmlns:a16="http://schemas.microsoft.com/office/drawing/2014/main" id="{ABE157FE-7F0C-82EE-893B-D060E5F43103}"/>
              </a:ext>
            </a:extLst>
          </p:cNvPr>
          <p:cNvSpPr txBox="1"/>
          <p:nvPr/>
        </p:nvSpPr>
        <p:spPr>
          <a:xfrm>
            <a:off x="1408982" y="1831310"/>
            <a:ext cx="793832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 defTabSz="685783">
              <a:spcAft>
                <a:spcPts val="300"/>
              </a:spcAft>
              <a:defRPr/>
            </a:pPr>
            <a:r>
              <a:rPr lang="sl-SI" sz="600" dirty="0" err="1">
                <a:solidFill>
                  <a:prstClr val="white"/>
                </a:solidFill>
                <a:latin typeface="Verdana Pro Light" panose="020B0304030504040204" pitchFamily="34" charset="0"/>
              </a:rPr>
              <a:t>Renewable</a:t>
            </a:r>
            <a:r>
              <a:rPr lang="sl-SI" sz="600" dirty="0">
                <a:solidFill>
                  <a:prstClr val="white"/>
                </a:solidFill>
                <a:latin typeface="Verdana Pro Light" panose="020B0304030504040204" pitchFamily="34" charset="0"/>
              </a:rPr>
              <a:t> </a:t>
            </a:r>
            <a:br>
              <a:rPr lang="sl-SI" sz="600" dirty="0">
                <a:solidFill>
                  <a:prstClr val="white"/>
                </a:solidFill>
                <a:latin typeface="Verdana Pro Light" panose="020B0304030504040204" pitchFamily="34" charset="0"/>
              </a:rPr>
            </a:br>
            <a:r>
              <a:rPr lang="sl-SI" sz="600" dirty="0" err="1">
                <a:solidFill>
                  <a:prstClr val="white"/>
                </a:solidFill>
                <a:latin typeface="Verdana Pro Light" panose="020B0304030504040204" pitchFamily="34" charset="0"/>
              </a:rPr>
              <a:t>energy</a:t>
            </a:r>
            <a:r>
              <a:rPr lang="sl-SI" sz="600" dirty="0">
                <a:solidFill>
                  <a:prstClr val="white"/>
                </a:solidFill>
                <a:latin typeface="Verdana Pro Light" panose="020B0304030504040204" pitchFamily="34" charset="0"/>
              </a:rPr>
              <a:t> </a:t>
            </a:r>
            <a:r>
              <a:rPr lang="sl-SI" sz="600" dirty="0" err="1">
                <a:solidFill>
                  <a:prstClr val="white"/>
                </a:solidFill>
                <a:latin typeface="Verdana Pro Light" panose="020B0304030504040204" pitchFamily="34" charset="0"/>
              </a:rPr>
              <a:t>sources</a:t>
            </a:r>
            <a:r>
              <a:rPr lang="sl-SI" sz="600" dirty="0">
                <a:solidFill>
                  <a:prstClr val="white"/>
                </a:solidFill>
                <a:latin typeface="Verdana Pro Light" panose="020B0304030504040204" pitchFamily="34" charset="0"/>
              </a:rPr>
              <a:t> </a:t>
            </a:r>
            <a:endParaRPr lang="en-US" sz="600" dirty="0">
              <a:solidFill>
                <a:prstClr val="white"/>
              </a:solidFill>
              <a:latin typeface="Verdana Pro Light" panose="020B0304030504040204" pitchFamily="34" charset="0"/>
            </a:endParaRPr>
          </a:p>
        </p:txBody>
      </p:sp>
      <p:sp>
        <p:nvSpPr>
          <p:cNvPr id="45" name="TextBox 9">
            <a:extLst>
              <a:ext uri="{FF2B5EF4-FFF2-40B4-BE49-F238E27FC236}">
                <a16:creationId xmlns:a16="http://schemas.microsoft.com/office/drawing/2014/main" id="{82D27113-3837-7830-D250-2699EDC4A931}"/>
              </a:ext>
            </a:extLst>
          </p:cNvPr>
          <p:cNvSpPr txBox="1"/>
          <p:nvPr/>
        </p:nvSpPr>
        <p:spPr>
          <a:xfrm>
            <a:off x="1408982" y="2625142"/>
            <a:ext cx="793832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 defTabSz="685783">
              <a:spcAft>
                <a:spcPts val="300"/>
              </a:spcAft>
              <a:defRPr/>
            </a:pPr>
            <a:r>
              <a:rPr lang="sl-SI" sz="600" dirty="0" err="1">
                <a:solidFill>
                  <a:srgbClr val="000000"/>
                </a:solidFill>
                <a:latin typeface="Verdana Pro Light" panose="020B0304030504040204" pitchFamily="34" charset="0"/>
              </a:rPr>
              <a:t>Leanheat</a:t>
            </a:r>
            <a:r>
              <a:rPr lang="sl-SI" sz="600" baseline="30000" dirty="0">
                <a:solidFill>
                  <a:srgbClr val="000000"/>
                </a:solidFill>
                <a:latin typeface="Verdana Pro Light" panose="020B0304030504040204" pitchFamily="34" charset="0"/>
              </a:rPr>
              <a:t>® </a:t>
            </a:r>
            <a:br>
              <a:rPr lang="sl-SI" sz="600" baseline="30000" dirty="0">
                <a:solidFill>
                  <a:srgbClr val="000000"/>
                </a:solidFill>
                <a:latin typeface="Verdana Pro Light" panose="020B0304030504040204" pitchFamily="34" charset="0"/>
              </a:rPr>
            </a:br>
            <a:r>
              <a:rPr lang="sl-SI" sz="600" dirty="0" err="1">
                <a:solidFill>
                  <a:srgbClr val="000000"/>
                </a:solidFill>
                <a:latin typeface="Verdana Pro Light" panose="020B0304030504040204" pitchFamily="34" charset="0"/>
              </a:rPr>
              <a:t>Network</a:t>
            </a:r>
            <a:r>
              <a:rPr lang="sl-SI" sz="600" dirty="0">
                <a:solidFill>
                  <a:srgbClr val="000000"/>
                </a:solidFill>
                <a:latin typeface="Verdana Pro Light" panose="020B0304030504040204" pitchFamily="34" charset="0"/>
              </a:rPr>
              <a:t> </a:t>
            </a:r>
            <a:endParaRPr lang="en-US" sz="600" dirty="0">
              <a:solidFill>
                <a:srgbClr val="000000"/>
              </a:solidFill>
              <a:latin typeface="Verdana Pro Light" panose="020B0304030504040204" pitchFamily="34" charset="0"/>
            </a:endParaRPr>
          </a:p>
        </p:txBody>
      </p:sp>
      <p:sp>
        <p:nvSpPr>
          <p:cNvPr id="46" name="TextBox 9">
            <a:extLst>
              <a:ext uri="{FF2B5EF4-FFF2-40B4-BE49-F238E27FC236}">
                <a16:creationId xmlns:a16="http://schemas.microsoft.com/office/drawing/2014/main" id="{5C34CC8E-E780-3A43-5816-97C0702D886B}"/>
              </a:ext>
            </a:extLst>
          </p:cNvPr>
          <p:cNvSpPr txBox="1"/>
          <p:nvPr/>
        </p:nvSpPr>
        <p:spPr>
          <a:xfrm>
            <a:off x="615149" y="2625142"/>
            <a:ext cx="793832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 defTabSz="685783">
              <a:spcAft>
                <a:spcPts val="300"/>
              </a:spcAft>
              <a:defRPr/>
            </a:pPr>
            <a:r>
              <a:rPr lang="sl-SI" sz="600" dirty="0" err="1">
                <a:solidFill>
                  <a:prstClr val="white"/>
                </a:solidFill>
                <a:latin typeface="Verdana Pro Light" panose="020B0304030504040204" pitchFamily="34" charset="0"/>
              </a:rPr>
              <a:t>Heating</a:t>
            </a:r>
            <a:r>
              <a:rPr lang="sl-SI" sz="600" dirty="0">
                <a:solidFill>
                  <a:prstClr val="white"/>
                </a:solidFill>
                <a:latin typeface="Verdana Pro Light" panose="020B0304030504040204" pitchFamily="34" charset="0"/>
              </a:rPr>
              <a:t> </a:t>
            </a:r>
            <a:br>
              <a:rPr lang="sl-SI" sz="600" dirty="0">
                <a:solidFill>
                  <a:prstClr val="white"/>
                </a:solidFill>
                <a:latin typeface="Verdana Pro Light" panose="020B0304030504040204" pitchFamily="34" charset="0"/>
              </a:rPr>
            </a:br>
            <a:r>
              <a:rPr lang="sl-SI" sz="600" dirty="0" err="1">
                <a:solidFill>
                  <a:prstClr val="white"/>
                </a:solidFill>
                <a:latin typeface="Verdana Pro Light" panose="020B0304030504040204" pitchFamily="34" charset="0"/>
              </a:rPr>
              <a:t>production</a:t>
            </a:r>
            <a:endParaRPr lang="en-US" sz="600" dirty="0">
              <a:solidFill>
                <a:prstClr val="white"/>
              </a:solidFill>
              <a:latin typeface="Verdana Pro Light" panose="020B0304030504040204" pitchFamily="34" charset="0"/>
            </a:endParaRPr>
          </a:p>
        </p:txBody>
      </p:sp>
      <p:sp>
        <p:nvSpPr>
          <p:cNvPr id="47" name="TextBox 9">
            <a:extLst>
              <a:ext uri="{FF2B5EF4-FFF2-40B4-BE49-F238E27FC236}">
                <a16:creationId xmlns:a16="http://schemas.microsoft.com/office/drawing/2014/main" id="{71915B49-BDAD-251E-D988-C00D8B8D4AFE}"/>
              </a:ext>
            </a:extLst>
          </p:cNvPr>
          <p:cNvSpPr txBox="1"/>
          <p:nvPr/>
        </p:nvSpPr>
        <p:spPr>
          <a:xfrm>
            <a:off x="3348162" y="2631934"/>
            <a:ext cx="793832" cy="9233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 defTabSz="685783">
              <a:spcAft>
                <a:spcPts val="300"/>
              </a:spcAft>
              <a:defRPr/>
            </a:pPr>
            <a:r>
              <a:rPr lang="sl-SI" sz="600" dirty="0" err="1">
                <a:solidFill>
                  <a:srgbClr val="000000"/>
                </a:solidFill>
                <a:latin typeface="Verdana Pro Light" panose="020B0304030504040204" pitchFamily="34" charset="0"/>
              </a:rPr>
              <a:t>Villa</a:t>
            </a:r>
            <a:r>
              <a:rPr lang="sl-SI" sz="600" dirty="0">
                <a:solidFill>
                  <a:srgbClr val="000000"/>
                </a:solidFill>
                <a:latin typeface="Verdana Pro Light" panose="020B0304030504040204" pitchFamily="34" charset="0"/>
              </a:rPr>
              <a:t> </a:t>
            </a:r>
            <a:r>
              <a:rPr lang="sl-SI" sz="600" dirty="0" err="1">
                <a:solidFill>
                  <a:srgbClr val="000000"/>
                </a:solidFill>
                <a:latin typeface="Verdana Pro Light" panose="020B0304030504040204" pitchFamily="34" charset="0"/>
              </a:rPr>
              <a:t>substation</a:t>
            </a:r>
            <a:endParaRPr lang="en-US" sz="600" dirty="0">
              <a:solidFill>
                <a:srgbClr val="000000"/>
              </a:solidFill>
              <a:latin typeface="Verdana Pro Light" panose="020B0304030504040204" pitchFamily="34" charset="0"/>
            </a:endParaRPr>
          </a:p>
        </p:txBody>
      </p:sp>
      <p:sp>
        <p:nvSpPr>
          <p:cNvPr id="48" name="TextBox 9">
            <a:extLst>
              <a:ext uri="{FF2B5EF4-FFF2-40B4-BE49-F238E27FC236}">
                <a16:creationId xmlns:a16="http://schemas.microsoft.com/office/drawing/2014/main" id="{F2EC677A-1F1E-8884-A3C3-71925E9B0687}"/>
              </a:ext>
            </a:extLst>
          </p:cNvPr>
          <p:cNvSpPr txBox="1"/>
          <p:nvPr/>
        </p:nvSpPr>
        <p:spPr>
          <a:xfrm>
            <a:off x="5259368" y="2625142"/>
            <a:ext cx="793832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 defTabSz="685783">
              <a:spcAft>
                <a:spcPts val="300"/>
              </a:spcAft>
              <a:defRPr/>
            </a:pPr>
            <a:r>
              <a:rPr lang="sl-SI" sz="600" dirty="0" err="1">
                <a:solidFill>
                  <a:srgbClr val="000000"/>
                </a:solidFill>
                <a:latin typeface="Verdana Pro Light" panose="020B0304030504040204" pitchFamily="34" charset="0"/>
              </a:rPr>
              <a:t>Multi-family</a:t>
            </a:r>
            <a:r>
              <a:rPr lang="sl-SI" sz="600" dirty="0">
                <a:solidFill>
                  <a:srgbClr val="000000"/>
                </a:solidFill>
                <a:latin typeface="Verdana Pro Light" panose="020B0304030504040204" pitchFamily="34" charset="0"/>
              </a:rPr>
              <a:t> </a:t>
            </a:r>
            <a:br>
              <a:rPr lang="sl-SI" sz="600" dirty="0">
                <a:solidFill>
                  <a:srgbClr val="000000"/>
                </a:solidFill>
                <a:latin typeface="Verdana Pro Light" panose="020B0304030504040204" pitchFamily="34" charset="0"/>
              </a:rPr>
            </a:br>
            <a:r>
              <a:rPr lang="sl-SI" sz="600" dirty="0" err="1">
                <a:solidFill>
                  <a:srgbClr val="000000"/>
                </a:solidFill>
                <a:latin typeface="Verdana Pro Light" panose="020B0304030504040204" pitchFamily="34" charset="0"/>
              </a:rPr>
              <a:t>substation</a:t>
            </a:r>
            <a:endParaRPr lang="en-US" sz="600" dirty="0">
              <a:solidFill>
                <a:srgbClr val="000000"/>
              </a:solidFill>
              <a:latin typeface="Verdana Pro Light" panose="020B0304030504040204" pitchFamily="34" charset="0"/>
            </a:endParaRPr>
          </a:p>
        </p:txBody>
      </p:sp>
      <p:sp>
        <p:nvSpPr>
          <p:cNvPr id="49" name="TextBox 9">
            <a:extLst>
              <a:ext uri="{FF2B5EF4-FFF2-40B4-BE49-F238E27FC236}">
                <a16:creationId xmlns:a16="http://schemas.microsoft.com/office/drawing/2014/main" id="{75898383-EF75-2713-6009-03CBF6EB4603}"/>
              </a:ext>
            </a:extLst>
          </p:cNvPr>
          <p:cNvSpPr txBox="1"/>
          <p:nvPr/>
        </p:nvSpPr>
        <p:spPr>
          <a:xfrm>
            <a:off x="6053201" y="1822445"/>
            <a:ext cx="793832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 defTabSz="685783">
              <a:spcAft>
                <a:spcPts val="300"/>
              </a:spcAft>
              <a:defRPr/>
            </a:pPr>
            <a:r>
              <a:rPr lang="sl-SI" sz="600" dirty="0" err="1">
                <a:solidFill>
                  <a:srgbClr val="000000"/>
                </a:solidFill>
                <a:latin typeface="Verdana Pro Light" panose="020B0304030504040204" pitchFamily="34" charset="0"/>
              </a:rPr>
              <a:t>Micro</a:t>
            </a:r>
            <a:r>
              <a:rPr lang="sl-SI" sz="600" dirty="0">
                <a:solidFill>
                  <a:srgbClr val="000000"/>
                </a:solidFill>
                <a:latin typeface="Verdana Pro Light" panose="020B0304030504040204" pitchFamily="34" charset="0"/>
              </a:rPr>
              <a:t> Plate™ </a:t>
            </a:r>
            <a:br>
              <a:rPr lang="sl-SI" sz="600" dirty="0">
                <a:solidFill>
                  <a:srgbClr val="000000"/>
                </a:solidFill>
                <a:latin typeface="Verdana Pro Light" panose="020B0304030504040204" pitchFamily="34" charset="0"/>
              </a:rPr>
            </a:br>
            <a:r>
              <a:rPr lang="sl-SI" sz="600" dirty="0" err="1">
                <a:solidFill>
                  <a:srgbClr val="000000"/>
                </a:solidFill>
                <a:latin typeface="Verdana Pro Light" panose="020B0304030504040204" pitchFamily="34" charset="0"/>
              </a:rPr>
              <a:t>heat</a:t>
            </a:r>
            <a:r>
              <a:rPr lang="sl-SI" sz="600" dirty="0">
                <a:solidFill>
                  <a:srgbClr val="000000"/>
                </a:solidFill>
                <a:latin typeface="Verdana Pro Light" panose="020B0304030504040204" pitchFamily="34" charset="0"/>
              </a:rPr>
              <a:t> </a:t>
            </a:r>
            <a:r>
              <a:rPr lang="sl-SI" sz="600" dirty="0" err="1">
                <a:solidFill>
                  <a:srgbClr val="000000"/>
                </a:solidFill>
                <a:latin typeface="Verdana Pro Light" panose="020B0304030504040204" pitchFamily="34" charset="0"/>
              </a:rPr>
              <a:t>exchanger</a:t>
            </a:r>
            <a:endParaRPr lang="en-US" sz="600" dirty="0">
              <a:solidFill>
                <a:srgbClr val="000000"/>
              </a:solidFill>
              <a:latin typeface="Verdana Pro Light" panose="020B0304030504040204" pitchFamily="34" charset="0"/>
            </a:endParaRPr>
          </a:p>
        </p:txBody>
      </p:sp>
      <p:sp>
        <p:nvSpPr>
          <p:cNvPr id="50" name="TextBox 9">
            <a:extLst>
              <a:ext uri="{FF2B5EF4-FFF2-40B4-BE49-F238E27FC236}">
                <a16:creationId xmlns:a16="http://schemas.microsoft.com/office/drawing/2014/main" id="{83732809-B918-2FD1-072D-D6B1199831D8}"/>
              </a:ext>
            </a:extLst>
          </p:cNvPr>
          <p:cNvSpPr txBox="1"/>
          <p:nvPr/>
        </p:nvSpPr>
        <p:spPr>
          <a:xfrm>
            <a:off x="6847033" y="1826821"/>
            <a:ext cx="793832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 defTabSz="685783">
              <a:spcAft>
                <a:spcPts val="300"/>
              </a:spcAft>
              <a:defRPr/>
            </a:pPr>
            <a:r>
              <a:rPr lang="sl-SI" sz="600" dirty="0" err="1">
                <a:solidFill>
                  <a:srgbClr val="000000"/>
                </a:solidFill>
                <a:latin typeface="Verdana Pro Light" panose="020B0304030504040204" pitchFamily="34" charset="0"/>
              </a:rPr>
              <a:t>Sono</a:t>
            </a:r>
            <a:r>
              <a:rPr lang="sl-SI" sz="600" baseline="30000" dirty="0">
                <a:solidFill>
                  <a:srgbClr val="000000"/>
                </a:solidFill>
                <a:latin typeface="Verdana Pro Light" panose="020B0304030504040204" pitchFamily="34" charset="0"/>
              </a:rPr>
              <a:t>®</a:t>
            </a:r>
            <a:r>
              <a:rPr lang="sl-SI" sz="600" dirty="0">
                <a:solidFill>
                  <a:srgbClr val="000000"/>
                </a:solidFill>
                <a:latin typeface="Verdana Pro Light" panose="020B0304030504040204" pitchFamily="34" charset="0"/>
              </a:rPr>
              <a:t> </a:t>
            </a:r>
            <a:r>
              <a:rPr lang="sl-SI" sz="600" dirty="0" err="1">
                <a:solidFill>
                  <a:srgbClr val="000000"/>
                </a:solidFill>
                <a:latin typeface="Verdana Pro Light" panose="020B0304030504040204" pitchFamily="34" charset="0"/>
              </a:rPr>
              <a:t>ultrasonic</a:t>
            </a:r>
            <a:br>
              <a:rPr lang="sl-SI" sz="600" dirty="0">
                <a:solidFill>
                  <a:srgbClr val="000000"/>
                </a:solidFill>
                <a:latin typeface="Verdana Pro Light" panose="020B0304030504040204" pitchFamily="34" charset="0"/>
              </a:rPr>
            </a:br>
            <a:r>
              <a:rPr lang="sl-SI" sz="600" dirty="0" err="1">
                <a:solidFill>
                  <a:srgbClr val="000000"/>
                </a:solidFill>
                <a:latin typeface="Verdana Pro Light" panose="020B0304030504040204" pitchFamily="34" charset="0"/>
              </a:rPr>
              <a:t>energy</a:t>
            </a:r>
            <a:r>
              <a:rPr lang="sl-SI" sz="600" dirty="0">
                <a:solidFill>
                  <a:srgbClr val="000000"/>
                </a:solidFill>
                <a:latin typeface="Verdana Pro Light" panose="020B0304030504040204" pitchFamily="34" charset="0"/>
              </a:rPr>
              <a:t> meter</a:t>
            </a:r>
            <a:endParaRPr lang="en-US" sz="600" dirty="0">
              <a:solidFill>
                <a:srgbClr val="000000"/>
              </a:solidFill>
              <a:latin typeface="Verdana Pro Light" panose="020B0304030504040204" pitchFamily="34" charset="0"/>
            </a:endParaRPr>
          </a:p>
        </p:txBody>
      </p:sp>
      <p:sp>
        <p:nvSpPr>
          <p:cNvPr id="51" name="TextBox 9">
            <a:extLst>
              <a:ext uri="{FF2B5EF4-FFF2-40B4-BE49-F238E27FC236}">
                <a16:creationId xmlns:a16="http://schemas.microsoft.com/office/drawing/2014/main" id="{5E363C27-F422-B8B9-2F25-58E676E3338D}"/>
              </a:ext>
            </a:extLst>
          </p:cNvPr>
          <p:cNvSpPr txBox="1"/>
          <p:nvPr/>
        </p:nvSpPr>
        <p:spPr>
          <a:xfrm>
            <a:off x="6847033" y="2625142"/>
            <a:ext cx="793832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 defTabSz="685783">
              <a:spcAft>
                <a:spcPts val="300"/>
              </a:spcAft>
              <a:defRPr/>
            </a:pPr>
            <a:r>
              <a:rPr lang="sl-SI" sz="600" dirty="0" err="1">
                <a:solidFill>
                  <a:srgbClr val="000000"/>
                </a:solidFill>
                <a:latin typeface="Verdana Pro Light" panose="020B0304030504040204" pitchFamily="34" charset="0"/>
              </a:rPr>
              <a:t>Commercial</a:t>
            </a:r>
            <a:r>
              <a:rPr lang="sl-SI" sz="600" dirty="0">
                <a:solidFill>
                  <a:srgbClr val="000000"/>
                </a:solidFill>
                <a:latin typeface="Verdana Pro Light" panose="020B0304030504040204" pitchFamily="34" charset="0"/>
              </a:rPr>
              <a:t> </a:t>
            </a:r>
            <a:br>
              <a:rPr lang="sl-SI" sz="600" dirty="0">
                <a:solidFill>
                  <a:srgbClr val="000000"/>
                </a:solidFill>
                <a:latin typeface="Verdana Pro Light" panose="020B0304030504040204" pitchFamily="34" charset="0"/>
              </a:rPr>
            </a:br>
            <a:r>
              <a:rPr lang="sl-SI" sz="600" dirty="0" err="1">
                <a:solidFill>
                  <a:srgbClr val="000000"/>
                </a:solidFill>
                <a:latin typeface="Verdana Pro Light" panose="020B0304030504040204" pitchFamily="34" charset="0"/>
              </a:rPr>
              <a:t>building</a:t>
            </a:r>
            <a:r>
              <a:rPr lang="sl-SI" sz="600" dirty="0">
                <a:solidFill>
                  <a:srgbClr val="000000"/>
                </a:solidFill>
                <a:latin typeface="Verdana Pro Light" panose="020B0304030504040204" pitchFamily="34" charset="0"/>
              </a:rPr>
              <a:t> </a:t>
            </a:r>
            <a:r>
              <a:rPr lang="sl-SI" sz="600" dirty="0" err="1">
                <a:solidFill>
                  <a:srgbClr val="000000"/>
                </a:solidFill>
                <a:latin typeface="Verdana Pro Light" panose="020B0304030504040204" pitchFamily="34" charset="0"/>
              </a:rPr>
              <a:t>substation</a:t>
            </a:r>
            <a:endParaRPr lang="en-US" sz="600" dirty="0">
              <a:solidFill>
                <a:srgbClr val="000000"/>
              </a:solidFill>
              <a:latin typeface="Verdana Pro Light" panose="020B0304030504040204" pitchFamily="34" charset="0"/>
            </a:endParaRPr>
          </a:p>
        </p:txBody>
      </p:sp>
      <p:sp>
        <p:nvSpPr>
          <p:cNvPr id="53" name="TextBox 9">
            <a:extLst>
              <a:ext uri="{FF2B5EF4-FFF2-40B4-BE49-F238E27FC236}">
                <a16:creationId xmlns:a16="http://schemas.microsoft.com/office/drawing/2014/main" id="{2D5B3691-9A4F-6513-D02B-620977B3A4FE}"/>
              </a:ext>
            </a:extLst>
          </p:cNvPr>
          <p:cNvSpPr txBox="1"/>
          <p:nvPr/>
        </p:nvSpPr>
        <p:spPr>
          <a:xfrm>
            <a:off x="6847033" y="1037478"/>
            <a:ext cx="793832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 defTabSz="685783">
              <a:spcAft>
                <a:spcPts val="300"/>
              </a:spcAft>
              <a:defRPr/>
            </a:pPr>
            <a:r>
              <a:rPr lang="sl-SI" sz="600" dirty="0">
                <a:solidFill>
                  <a:srgbClr val="000000"/>
                </a:solidFill>
                <a:latin typeface="Verdana Pro Light" panose="020B0304030504040204" pitchFamily="34" charset="0"/>
              </a:rPr>
              <a:t>ECL </a:t>
            </a:r>
            <a:r>
              <a:rPr lang="sl-SI" sz="600" dirty="0" err="1">
                <a:solidFill>
                  <a:srgbClr val="000000"/>
                </a:solidFill>
                <a:latin typeface="Verdana Pro Light" panose="020B0304030504040204" pitchFamily="34" charset="0"/>
              </a:rPr>
              <a:t>Comfort</a:t>
            </a:r>
            <a:r>
              <a:rPr lang="sl-SI" sz="600" dirty="0">
                <a:solidFill>
                  <a:srgbClr val="000000"/>
                </a:solidFill>
                <a:latin typeface="Verdana Pro Light" panose="020B0304030504040204" pitchFamily="34" charset="0"/>
              </a:rPr>
              <a:t> </a:t>
            </a:r>
            <a:br>
              <a:rPr lang="sl-SI" sz="600" dirty="0">
                <a:solidFill>
                  <a:srgbClr val="000000"/>
                </a:solidFill>
                <a:latin typeface="Verdana Pro Light" panose="020B0304030504040204" pitchFamily="34" charset="0"/>
              </a:rPr>
            </a:br>
            <a:r>
              <a:rPr lang="sl-SI" sz="600" dirty="0" err="1">
                <a:solidFill>
                  <a:srgbClr val="000000"/>
                </a:solidFill>
                <a:latin typeface="Verdana Pro Light" panose="020B0304030504040204" pitchFamily="34" charset="0"/>
              </a:rPr>
              <a:t>controller</a:t>
            </a:r>
            <a:endParaRPr lang="en-US" sz="600" dirty="0">
              <a:solidFill>
                <a:srgbClr val="000000"/>
              </a:solidFill>
              <a:latin typeface="Verdana Pro Light" panose="020B0304030504040204" pitchFamily="34" charset="0"/>
            </a:endParaRPr>
          </a:p>
        </p:txBody>
      </p:sp>
      <p:sp>
        <p:nvSpPr>
          <p:cNvPr id="54" name="TextBox 9">
            <a:extLst>
              <a:ext uri="{FF2B5EF4-FFF2-40B4-BE49-F238E27FC236}">
                <a16:creationId xmlns:a16="http://schemas.microsoft.com/office/drawing/2014/main" id="{A1C1A740-7197-7C96-2F0F-897DE573C86D}"/>
              </a:ext>
            </a:extLst>
          </p:cNvPr>
          <p:cNvSpPr txBox="1"/>
          <p:nvPr/>
        </p:nvSpPr>
        <p:spPr>
          <a:xfrm>
            <a:off x="6847033" y="243645"/>
            <a:ext cx="793832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 defTabSz="685783">
              <a:spcAft>
                <a:spcPts val="300"/>
              </a:spcAft>
              <a:defRPr/>
            </a:pPr>
            <a:r>
              <a:rPr lang="sl-SI" sz="600" dirty="0" err="1">
                <a:solidFill>
                  <a:srgbClr val="000000"/>
                </a:solidFill>
                <a:latin typeface="Verdana Pro Light" panose="020B0304030504040204" pitchFamily="34" charset="0"/>
              </a:rPr>
              <a:t>Leanheat</a:t>
            </a:r>
            <a:r>
              <a:rPr lang="sl-SI" sz="600" baseline="30000" dirty="0">
                <a:solidFill>
                  <a:srgbClr val="000000"/>
                </a:solidFill>
                <a:latin typeface="Verdana Pro Light" panose="020B0304030504040204" pitchFamily="34" charset="0"/>
              </a:rPr>
              <a:t>®</a:t>
            </a:r>
            <a:r>
              <a:rPr lang="sl-SI" sz="600" dirty="0">
                <a:solidFill>
                  <a:srgbClr val="000000"/>
                </a:solidFill>
                <a:latin typeface="Verdana Pro Light" panose="020B0304030504040204" pitchFamily="34" charset="0"/>
              </a:rPr>
              <a:t> </a:t>
            </a:r>
            <a:br>
              <a:rPr lang="sl-SI" sz="600" dirty="0">
                <a:solidFill>
                  <a:srgbClr val="000000"/>
                </a:solidFill>
                <a:latin typeface="Verdana Pro Light" panose="020B0304030504040204" pitchFamily="34" charset="0"/>
              </a:rPr>
            </a:br>
            <a:r>
              <a:rPr lang="sl-SI" sz="600" dirty="0">
                <a:solidFill>
                  <a:srgbClr val="000000"/>
                </a:solidFill>
                <a:latin typeface="Verdana Pro Light" panose="020B0304030504040204" pitchFamily="34" charset="0"/>
              </a:rPr>
              <a:t>Monitor</a:t>
            </a:r>
            <a:endParaRPr lang="en-US" sz="600" dirty="0">
              <a:solidFill>
                <a:srgbClr val="000000"/>
              </a:solidFill>
              <a:latin typeface="Verdana Pro Light" panose="020B0304030504040204" pitchFamily="34" charset="0"/>
            </a:endParaRPr>
          </a:p>
        </p:txBody>
      </p:sp>
      <p:sp>
        <p:nvSpPr>
          <p:cNvPr id="55" name="TextBox 9">
            <a:extLst>
              <a:ext uri="{FF2B5EF4-FFF2-40B4-BE49-F238E27FC236}">
                <a16:creationId xmlns:a16="http://schemas.microsoft.com/office/drawing/2014/main" id="{11E081C9-8A66-1936-0424-331E6F542391}"/>
              </a:ext>
            </a:extLst>
          </p:cNvPr>
          <p:cNvSpPr txBox="1"/>
          <p:nvPr/>
        </p:nvSpPr>
        <p:spPr>
          <a:xfrm>
            <a:off x="7640865" y="1814679"/>
            <a:ext cx="793832" cy="2769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 defTabSz="685783">
              <a:spcAft>
                <a:spcPts val="300"/>
              </a:spcAft>
              <a:defRPr/>
            </a:pPr>
            <a:r>
              <a:rPr lang="en-GB" sz="600" dirty="0">
                <a:solidFill>
                  <a:srgbClr val="000000"/>
                </a:solidFill>
                <a:latin typeface="Verdana Pro Light" panose="020B0304030504040204" pitchFamily="34" charset="0"/>
              </a:rPr>
              <a:t>Virtus heavy-duty pressure and flow controller</a:t>
            </a:r>
            <a:endParaRPr lang="en-US" sz="600" dirty="0">
              <a:solidFill>
                <a:srgbClr val="000000"/>
              </a:solidFill>
              <a:latin typeface="Verdana Pro Light" panose="020B0304030504040204" pitchFamily="34" charset="0"/>
            </a:endParaRPr>
          </a:p>
        </p:txBody>
      </p:sp>
      <p:pic>
        <p:nvPicPr>
          <p:cNvPr id="61" name="Picture 60">
            <a:extLst>
              <a:ext uri="{FF2B5EF4-FFF2-40B4-BE49-F238E27FC236}">
                <a16:creationId xmlns:a16="http://schemas.microsoft.com/office/drawing/2014/main" id="{9D781765-AE25-4F3B-37E3-19622A5AFA3F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929" b="22422"/>
          <a:stretch/>
        </p:blipFill>
        <p:spPr>
          <a:xfrm>
            <a:off x="300731" y="2045584"/>
            <a:ext cx="1426257" cy="526166"/>
          </a:xfrm>
          <a:prstGeom prst="rect">
            <a:avLst/>
          </a:prstGeom>
        </p:spPr>
      </p:pic>
      <p:pic>
        <p:nvPicPr>
          <p:cNvPr id="63" name="Picture 62">
            <a:extLst>
              <a:ext uri="{FF2B5EF4-FFF2-40B4-BE49-F238E27FC236}">
                <a16:creationId xmlns:a16="http://schemas.microsoft.com/office/drawing/2014/main" id="{605E1984-15CA-7725-4FA9-79E6B08C9107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102" b="22586"/>
          <a:stretch/>
        </p:blipFill>
        <p:spPr>
          <a:xfrm>
            <a:off x="1085201" y="2839417"/>
            <a:ext cx="1435620" cy="526166"/>
          </a:xfrm>
          <a:prstGeom prst="rect">
            <a:avLst/>
          </a:prstGeom>
        </p:spPr>
      </p:pic>
      <p:pic>
        <p:nvPicPr>
          <p:cNvPr id="65" name="Graphic 64">
            <a:extLst>
              <a:ext uri="{FF2B5EF4-FFF2-40B4-BE49-F238E27FC236}">
                <a16:creationId xmlns:a16="http://schemas.microsoft.com/office/drawing/2014/main" id="{53AAEF62-6F0C-0042-D58E-6C6305D79CF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547480" y="2049474"/>
            <a:ext cx="503290" cy="472601"/>
          </a:xfrm>
          <a:prstGeom prst="rect">
            <a:avLst/>
          </a:prstGeom>
        </p:spPr>
      </p:pic>
      <p:pic>
        <p:nvPicPr>
          <p:cNvPr id="67" name="Graphic 66">
            <a:extLst>
              <a:ext uri="{FF2B5EF4-FFF2-40B4-BE49-F238E27FC236}">
                <a16:creationId xmlns:a16="http://schemas.microsoft.com/office/drawing/2014/main" id="{6E6E6CA8-9FCA-F0E6-4E16-6440C54F2D9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70001" y="2916919"/>
            <a:ext cx="693663" cy="369521"/>
          </a:xfrm>
          <a:prstGeom prst="rect">
            <a:avLst/>
          </a:prstGeom>
        </p:spPr>
      </p:pic>
      <p:pic>
        <p:nvPicPr>
          <p:cNvPr id="71" name="Picture 70">
            <a:extLst>
              <a:ext uri="{FF2B5EF4-FFF2-40B4-BE49-F238E27FC236}">
                <a16:creationId xmlns:a16="http://schemas.microsoft.com/office/drawing/2014/main" id="{C2334A3A-497E-FBEC-E9BB-C5F4B5121F3F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2603" y="2752638"/>
            <a:ext cx="962082" cy="641388"/>
          </a:xfrm>
          <a:prstGeom prst="rect">
            <a:avLst/>
          </a:prstGeom>
        </p:spPr>
      </p:pic>
      <p:pic>
        <p:nvPicPr>
          <p:cNvPr id="73" name="Picture 72">
            <a:extLst>
              <a:ext uri="{FF2B5EF4-FFF2-40B4-BE49-F238E27FC236}">
                <a16:creationId xmlns:a16="http://schemas.microsoft.com/office/drawing/2014/main" id="{F3B9F5A0-0FD2-532F-E15B-D597D7A3C730}"/>
              </a:ext>
            </a:extLst>
          </p:cNvPr>
          <p:cNvPicPr>
            <a:picLocks noChangeAspect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531"/>
          <a:stretch/>
        </p:blipFill>
        <p:spPr>
          <a:xfrm>
            <a:off x="6653340" y="457878"/>
            <a:ext cx="1193777" cy="652046"/>
          </a:xfrm>
          <a:prstGeom prst="rect">
            <a:avLst/>
          </a:prstGeom>
        </p:spPr>
      </p:pic>
      <p:pic>
        <p:nvPicPr>
          <p:cNvPr id="75" name="Picture 74">
            <a:extLst>
              <a:ext uri="{FF2B5EF4-FFF2-40B4-BE49-F238E27FC236}">
                <a16:creationId xmlns:a16="http://schemas.microsoft.com/office/drawing/2014/main" id="{8156DB72-FC6A-E534-54BB-C021CB1C7E6D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65056" y="2066905"/>
            <a:ext cx="757784" cy="463145"/>
          </a:xfrm>
          <a:prstGeom prst="rect">
            <a:avLst/>
          </a:prstGeom>
        </p:spPr>
      </p:pic>
      <p:pic>
        <p:nvPicPr>
          <p:cNvPr id="77" name="Picture 76">
            <a:extLst>
              <a:ext uri="{FF2B5EF4-FFF2-40B4-BE49-F238E27FC236}">
                <a16:creationId xmlns:a16="http://schemas.microsoft.com/office/drawing/2014/main" id="{CA6FC200-D1EE-C47C-13D6-95C9F30F89D7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5016" y="2084817"/>
            <a:ext cx="365528" cy="523187"/>
          </a:xfrm>
          <a:prstGeom prst="rect">
            <a:avLst/>
          </a:prstGeom>
        </p:spPr>
      </p:pic>
      <p:pic>
        <p:nvPicPr>
          <p:cNvPr id="79" name="Picture 78">
            <a:extLst>
              <a:ext uri="{FF2B5EF4-FFF2-40B4-BE49-F238E27FC236}">
                <a16:creationId xmlns:a16="http://schemas.microsoft.com/office/drawing/2014/main" id="{A62FE81E-B56A-43F4-0DAF-EF92D539162B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17120" y="2814343"/>
            <a:ext cx="878326" cy="584714"/>
          </a:xfrm>
          <a:prstGeom prst="rect">
            <a:avLst/>
          </a:prstGeom>
        </p:spPr>
      </p:pic>
      <p:pic>
        <p:nvPicPr>
          <p:cNvPr id="83" name="Picture 82">
            <a:extLst>
              <a:ext uri="{FF2B5EF4-FFF2-40B4-BE49-F238E27FC236}">
                <a16:creationId xmlns:a16="http://schemas.microsoft.com/office/drawing/2014/main" id="{93E9D672-DF15-819F-7760-8C68CC03F68A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77484" y="2045585"/>
            <a:ext cx="158375" cy="505786"/>
          </a:xfrm>
          <a:prstGeom prst="rect">
            <a:avLst/>
          </a:prstGeom>
        </p:spPr>
      </p:pic>
      <p:pic>
        <p:nvPicPr>
          <p:cNvPr id="89" name="Graphic 88">
            <a:extLst>
              <a:ext uri="{FF2B5EF4-FFF2-40B4-BE49-F238E27FC236}">
                <a16:creationId xmlns:a16="http://schemas.microsoft.com/office/drawing/2014/main" id="{4BD95B40-BC64-008D-9D91-0F2723A69539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6735179" y="2819373"/>
            <a:ext cx="1017539" cy="574653"/>
          </a:xfrm>
          <a:prstGeom prst="rect">
            <a:avLst/>
          </a:prstGeom>
        </p:spPr>
      </p:pic>
      <p:sp>
        <p:nvSpPr>
          <p:cNvPr id="90" name="TextBox 9">
            <a:extLst>
              <a:ext uri="{FF2B5EF4-FFF2-40B4-BE49-F238E27FC236}">
                <a16:creationId xmlns:a16="http://schemas.microsoft.com/office/drawing/2014/main" id="{4B4839CC-2CC9-55A3-31EC-D6AC536CB8B8}"/>
              </a:ext>
            </a:extLst>
          </p:cNvPr>
          <p:cNvSpPr txBox="1"/>
          <p:nvPr/>
        </p:nvSpPr>
        <p:spPr>
          <a:xfrm>
            <a:off x="7640865" y="817913"/>
            <a:ext cx="793832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 defTabSz="685783">
              <a:spcAft>
                <a:spcPts val="300"/>
              </a:spcAft>
              <a:defRPr/>
            </a:pPr>
            <a:r>
              <a:rPr lang="en-GB" sz="450" dirty="0">
                <a:solidFill>
                  <a:prstClr val="white"/>
                </a:solidFill>
                <a:latin typeface="Verdana Pro" panose="020B0604030504040204" pitchFamily="34" charset="0"/>
              </a:rPr>
              <a:t>Scan to visit</a:t>
            </a:r>
            <a:br>
              <a:rPr lang="sl-SI" sz="450" dirty="0">
                <a:solidFill>
                  <a:prstClr val="white"/>
                </a:solidFill>
                <a:latin typeface="Verdana Pro" panose="020B0604030504040204" pitchFamily="34" charset="0"/>
              </a:rPr>
            </a:br>
            <a:r>
              <a:rPr lang="en-GB" sz="450" dirty="0">
                <a:solidFill>
                  <a:prstClr val="white"/>
                </a:solidFill>
                <a:latin typeface="Verdana Pro" panose="020B0604030504040204" pitchFamily="34" charset="0"/>
              </a:rPr>
              <a:t>Leanheat.danfoss.com</a:t>
            </a:r>
            <a:endParaRPr lang="en-US" sz="450" dirty="0">
              <a:solidFill>
                <a:prstClr val="white"/>
              </a:solidFill>
              <a:latin typeface="Verdana Pro" panose="020B0604030504040204" pitchFamily="34" charset="0"/>
            </a:endParaRPr>
          </a:p>
        </p:txBody>
      </p:sp>
      <p:sp>
        <p:nvSpPr>
          <p:cNvPr id="91" name="TextBox 9">
            <a:extLst>
              <a:ext uri="{FF2B5EF4-FFF2-40B4-BE49-F238E27FC236}">
                <a16:creationId xmlns:a16="http://schemas.microsoft.com/office/drawing/2014/main" id="{31F2996E-849E-1705-5FA9-0D7D7F3BDE54}"/>
              </a:ext>
            </a:extLst>
          </p:cNvPr>
          <p:cNvSpPr txBox="1"/>
          <p:nvPr/>
        </p:nvSpPr>
        <p:spPr>
          <a:xfrm>
            <a:off x="6053200" y="1610804"/>
            <a:ext cx="793832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 defTabSz="685783">
              <a:spcAft>
                <a:spcPts val="300"/>
              </a:spcAft>
              <a:defRPr/>
            </a:pPr>
            <a:r>
              <a:rPr lang="en-GB" sz="450" dirty="0">
                <a:solidFill>
                  <a:prstClr val="white"/>
                </a:solidFill>
                <a:latin typeface="Verdana Pro" panose="020B0604030504040204" pitchFamily="34" charset="0"/>
              </a:rPr>
              <a:t>Scan to visit</a:t>
            </a:r>
            <a:br>
              <a:rPr lang="sl-SI" sz="450" dirty="0">
                <a:solidFill>
                  <a:prstClr val="white"/>
                </a:solidFill>
                <a:latin typeface="Verdana Pro" panose="020B0604030504040204" pitchFamily="34" charset="0"/>
              </a:rPr>
            </a:br>
            <a:r>
              <a:rPr lang="en-GB" sz="450" dirty="0">
                <a:solidFill>
                  <a:prstClr val="white"/>
                </a:solidFill>
                <a:latin typeface="Verdana Pro" panose="020B0604030504040204" pitchFamily="34" charset="0"/>
              </a:rPr>
              <a:t>ECL.danfoss.com</a:t>
            </a:r>
            <a:endParaRPr lang="en-US" sz="450" dirty="0">
              <a:solidFill>
                <a:prstClr val="white"/>
              </a:solidFill>
              <a:latin typeface="Verdana Pro" panose="020B0604030504040204" pitchFamily="34" charset="0"/>
            </a:endParaRPr>
          </a:p>
        </p:txBody>
      </p:sp>
      <p:sp>
        <p:nvSpPr>
          <p:cNvPr id="92" name="TextBox 9">
            <a:extLst>
              <a:ext uri="{FF2B5EF4-FFF2-40B4-BE49-F238E27FC236}">
                <a16:creationId xmlns:a16="http://schemas.microsoft.com/office/drawing/2014/main" id="{E85EF8CF-5200-BCC1-4E01-69C3998B3522}"/>
              </a:ext>
            </a:extLst>
          </p:cNvPr>
          <p:cNvSpPr txBox="1"/>
          <p:nvPr/>
        </p:nvSpPr>
        <p:spPr>
          <a:xfrm>
            <a:off x="6053200" y="3199281"/>
            <a:ext cx="793832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 defTabSz="685783">
              <a:spcAft>
                <a:spcPts val="300"/>
              </a:spcAft>
              <a:defRPr/>
            </a:pPr>
            <a:r>
              <a:rPr lang="en-GB" sz="450" dirty="0">
                <a:solidFill>
                  <a:prstClr val="white"/>
                </a:solidFill>
                <a:latin typeface="Verdana Pro" panose="020B0604030504040204" pitchFamily="34" charset="0"/>
              </a:rPr>
              <a:t>Scan to visit</a:t>
            </a:r>
            <a:br>
              <a:rPr lang="sl-SI" sz="450" dirty="0">
                <a:solidFill>
                  <a:prstClr val="white"/>
                </a:solidFill>
                <a:latin typeface="Verdana Pro" panose="020B0604030504040204" pitchFamily="34" charset="0"/>
              </a:rPr>
            </a:br>
            <a:r>
              <a:rPr lang="en-GB" sz="450" dirty="0">
                <a:solidFill>
                  <a:prstClr val="white"/>
                </a:solidFill>
                <a:latin typeface="Verdana Pro" panose="020B0604030504040204" pitchFamily="34" charset="0"/>
              </a:rPr>
              <a:t>substations.danfoss.com</a:t>
            </a:r>
            <a:endParaRPr lang="en-US" sz="450" dirty="0">
              <a:solidFill>
                <a:prstClr val="white"/>
              </a:solidFill>
              <a:latin typeface="Verdana Pro" panose="020B0604030504040204" pitchFamily="34" charset="0"/>
            </a:endParaRPr>
          </a:p>
        </p:txBody>
      </p:sp>
      <p:pic>
        <p:nvPicPr>
          <p:cNvPr id="94" name="Graphic 93">
            <a:extLst>
              <a:ext uri="{FF2B5EF4-FFF2-40B4-BE49-F238E27FC236}">
                <a16:creationId xmlns:a16="http://schemas.microsoft.com/office/drawing/2014/main" id="{E4E1A78A-18DA-C2CE-35A1-09C07C2E1745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7796798" y="291032"/>
            <a:ext cx="484061" cy="484061"/>
          </a:xfrm>
          <a:prstGeom prst="rect">
            <a:avLst/>
          </a:prstGeom>
        </p:spPr>
      </p:pic>
      <p:pic>
        <p:nvPicPr>
          <p:cNvPr id="96" name="Graphic 95">
            <a:extLst>
              <a:ext uri="{FF2B5EF4-FFF2-40B4-BE49-F238E27FC236}">
                <a16:creationId xmlns:a16="http://schemas.microsoft.com/office/drawing/2014/main" id="{104CF84A-DD55-FEAF-5139-6BBA979EFFA4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6216729" y="1089305"/>
            <a:ext cx="466773" cy="466773"/>
          </a:xfrm>
          <a:prstGeom prst="rect">
            <a:avLst/>
          </a:prstGeom>
        </p:spPr>
      </p:pic>
      <p:pic>
        <p:nvPicPr>
          <p:cNvPr id="98" name="Graphic 97">
            <a:extLst>
              <a:ext uri="{FF2B5EF4-FFF2-40B4-BE49-F238E27FC236}">
                <a16:creationId xmlns:a16="http://schemas.microsoft.com/office/drawing/2014/main" id="{DBA009DA-6179-A29F-973E-2CC9C3CA5EEE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6204481" y="2684320"/>
            <a:ext cx="484061" cy="484061"/>
          </a:xfrm>
          <a:prstGeom prst="rect">
            <a:avLst/>
          </a:prstGeom>
        </p:spPr>
      </p:pic>
      <p:cxnSp>
        <p:nvCxnSpPr>
          <p:cNvPr id="102" name="Straight Connector 101">
            <a:extLst>
              <a:ext uri="{FF2B5EF4-FFF2-40B4-BE49-F238E27FC236}">
                <a16:creationId xmlns:a16="http://schemas.microsoft.com/office/drawing/2014/main" id="{E50BD7D2-A2F8-AB66-7E1C-5A3AF70F56EC}"/>
              </a:ext>
            </a:extLst>
          </p:cNvPr>
          <p:cNvCxnSpPr/>
          <p:nvPr/>
        </p:nvCxnSpPr>
        <p:spPr>
          <a:xfrm flipH="1">
            <a:off x="6847032" y="4176712"/>
            <a:ext cx="653906" cy="0"/>
          </a:xfrm>
          <a:prstGeom prst="line">
            <a:avLst/>
          </a:prstGeom>
          <a:ln w="12700">
            <a:solidFill>
              <a:srgbClr val="E2000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Straight Connector 102">
            <a:extLst>
              <a:ext uri="{FF2B5EF4-FFF2-40B4-BE49-F238E27FC236}">
                <a16:creationId xmlns:a16="http://schemas.microsoft.com/office/drawing/2014/main" id="{62CB06AC-E003-CEC7-5D6B-C32828F59D0A}"/>
              </a:ext>
            </a:extLst>
          </p:cNvPr>
          <p:cNvCxnSpPr>
            <a:cxnSpLocks/>
          </p:cNvCxnSpPr>
          <p:nvPr/>
        </p:nvCxnSpPr>
        <p:spPr>
          <a:xfrm flipH="1">
            <a:off x="6847033" y="3382880"/>
            <a:ext cx="793832" cy="0"/>
          </a:xfrm>
          <a:prstGeom prst="line">
            <a:avLst/>
          </a:prstGeom>
          <a:ln w="12700">
            <a:solidFill>
              <a:srgbClr val="E2000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Connector 110">
            <a:extLst>
              <a:ext uri="{FF2B5EF4-FFF2-40B4-BE49-F238E27FC236}">
                <a16:creationId xmlns:a16="http://schemas.microsoft.com/office/drawing/2014/main" id="{F803D4FE-26C1-DCBD-EDD2-C9A03FB7BC30}"/>
              </a:ext>
            </a:extLst>
          </p:cNvPr>
          <p:cNvCxnSpPr>
            <a:cxnSpLocks/>
          </p:cNvCxnSpPr>
          <p:nvPr/>
        </p:nvCxnSpPr>
        <p:spPr>
          <a:xfrm flipV="1">
            <a:off x="6847032" y="1001383"/>
            <a:ext cx="0" cy="3175329"/>
          </a:xfrm>
          <a:prstGeom prst="line">
            <a:avLst/>
          </a:prstGeom>
          <a:ln w="12700">
            <a:solidFill>
              <a:srgbClr val="E2000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Straight Connector 118">
            <a:extLst>
              <a:ext uri="{FF2B5EF4-FFF2-40B4-BE49-F238E27FC236}">
                <a16:creationId xmlns:a16="http://schemas.microsoft.com/office/drawing/2014/main" id="{CFA53684-0DEB-8B51-1B3F-1433287519DD}"/>
              </a:ext>
            </a:extLst>
          </p:cNvPr>
          <p:cNvCxnSpPr>
            <a:cxnSpLocks/>
          </p:cNvCxnSpPr>
          <p:nvPr/>
        </p:nvCxnSpPr>
        <p:spPr>
          <a:xfrm flipH="1">
            <a:off x="6847032" y="1001383"/>
            <a:ext cx="1587665" cy="0"/>
          </a:xfrm>
          <a:prstGeom prst="line">
            <a:avLst/>
          </a:prstGeom>
          <a:ln w="12700">
            <a:solidFill>
              <a:srgbClr val="E2000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Straight Connector 123">
            <a:extLst>
              <a:ext uri="{FF2B5EF4-FFF2-40B4-BE49-F238E27FC236}">
                <a16:creationId xmlns:a16="http://schemas.microsoft.com/office/drawing/2014/main" id="{497EEB6F-44D3-BE75-0397-EB2BFEDB6A2A}"/>
              </a:ext>
            </a:extLst>
          </p:cNvPr>
          <p:cNvCxnSpPr>
            <a:cxnSpLocks/>
          </p:cNvCxnSpPr>
          <p:nvPr/>
        </p:nvCxnSpPr>
        <p:spPr>
          <a:xfrm flipH="1">
            <a:off x="6847032" y="2590305"/>
            <a:ext cx="1587665" cy="0"/>
          </a:xfrm>
          <a:prstGeom prst="line">
            <a:avLst/>
          </a:prstGeom>
          <a:ln w="12700">
            <a:solidFill>
              <a:srgbClr val="E2000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3" name="Picture 132">
            <a:extLst>
              <a:ext uri="{FF2B5EF4-FFF2-40B4-BE49-F238E27FC236}">
                <a16:creationId xmlns:a16="http://schemas.microsoft.com/office/drawing/2014/main" id="{D263DF6B-3A78-A919-03FF-EE2464F5F2B3}"/>
              </a:ext>
            </a:extLst>
          </p:cNvPr>
          <p:cNvPicPr>
            <a:picLocks noChangeAspect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24713" y="1241359"/>
            <a:ext cx="673906" cy="448628"/>
          </a:xfrm>
          <a:prstGeom prst="rect">
            <a:avLst/>
          </a:prstGeom>
        </p:spPr>
      </p:pic>
      <p:pic>
        <p:nvPicPr>
          <p:cNvPr id="21" name="Grafik 20">
            <a:extLst>
              <a:ext uri="{FF2B5EF4-FFF2-40B4-BE49-F238E27FC236}">
                <a16:creationId xmlns:a16="http://schemas.microsoft.com/office/drawing/2014/main" id="{B507D04F-D631-798C-5F7C-F2E4182E8C6C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1059720" y="4025864"/>
            <a:ext cx="6604254" cy="586359"/>
          </a:xfrm>
          <a:prstGeom prst="rect">
            <a:avLst/>
          </a:prstGeom>
        </p:spPr>
      </p:pic>
      <p:pic>
        <p:nvPicPr>
          <p:cNvPr id="24" name="Grafik 23">
            <a:extLst>
              <a:ext uri="{FF2B5EF4-FFF2-40B4-BE49-F238E27FC236}">
                <a16:creationId xmlns:a16="http://schemas.microsoft.com/office/drawing/2014/main" id="{3C5D5C65-E595-C8DA-47D5-A4576ACC6101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950564" y="4023843"/>
            <a:ext cx="6721479" cy="699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75676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Box 28">
            <a:extLst>
              <a:ext uri="{FF2B5EF4-FFF2-40B4-BE49-F238E27FC236}">
                <a16:creationId xmlns:a16="http://schemas.microsoft.com/office/drawing/2014/main" id="{EB9A42A7-D4D8-D1F0-31BB-214091E8C449}"/>
              </a:ext>
            </a:extLst>
          </p:cNvPr>
          <p:cNvSpPr txBox="1"/>
          <p:nvPr/>
        </p:nvSpPr>
        <p:spPr>
          <a:xfrm>
            <a:off x="2623874" y="1214097"/>
            <a:ext cx="1940635" cy="106182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685766">
              <a:defRPr/>
            </a:pPr>
            <a:r>
              <a:rPr lang="sl-SI" sz="1200" dirty="0">
                <a:solidFill>
                  <a:srgbClr val="000000"/>
                </a:solidFill>
                <a:latin typeface="Verdana"/>
              </a:rPr>
              <a:t>Svetovna prodaja </a:t>
            </a:r>
          </a:p>
          <a:p>
            <a:pPr algn="ctr" defTabSz="685766">
              <a:defRPr/>
            </a:pPr>
            <a:r>
              <a:rPr lang="sl-SI" sz="1200" dirty="0">
                <a:solidFill>
                  <a:srgbClr val="000000"/>
                </a:solidFill>
                <a:latin typeface="Verdana"/>
              </a:rPr>
              <a:t>v več kot</a:t>
            </a:r>
            <a:r>
              <a:rPr lang="en-US" sz="1200" dirty="0">
                <a:solidFill>
                  <a:srgbClr val="000000"/>
                </a:solidFill>
                <a:latin typeface="Verdana"/>
              </a:rPr>
              <a:t> </a:t>
            </a:r>
            <a:br>
              <a:rPr lang="en-US" sz="2100" dirty="0">
                <a:solidFill>
                  <a:srgbClr val="000000"/>
                </a:solidFill>
                <a:latin typeface="Verdana"/>
              </a:rPr>
            </a:br>
            <a:r>
              <a:rPr lang="en-US" sz="3300" dirty="0">
                <a:solidFill>
                  <a:srgbClr val="E60A11"/>
                </a:solidFill>
                <a:latin typeface="Verdana"/>
              </a:rPr>
              <a:t>100 </a:t>
            </a:r>
          </a:p>
          <a:p>
            <a:pPr algn="ctr" defTabSz="685766">
              <a:defRPr/>
            </a:pPr>
            <a:r>
              <a:rPr lang="sl-SI" sz="1200" dirty="0">
                <a:solidFill>
                  <a:srgbClr val="000000"/>
                </a:solidFill>
                <a:latin typeface="Verdana"/>
              </a:rPr>
              <a:t>državah</a:t>
            </a:r>
            <a:endParaRPr lang="en-US" sz="1200" dirty="0">
              <a:solidFill>
                <a:srgbClr val="000000"/>
              </a:solidFill>
              <a:latin typeface="Verdana"/>
            </a:endParaRPr>
          </a:p>
        </p:txBody>
      </p:sp>
      <p:sp>
        <p:nvSpPr>
          <p:cNvPr id="26" name="TextBox 28">
            <a:extLst>
              <a:ext uri="{FF2B5EF4-FFF2-40B4-BE49-F238E27FC236}">
                <a16:creationId xmlns:a16="http://schemas.microsoft.com/office/drawing/2014/main" id="{600BDFC5-E9C5-B05A-B121-EFB183910FCB}"/>
              </a:ext>
            </a:extLst>
          </p:cNvPr>
          <p:cNvSpPr txBox="1"/>
          <p:nvPr/>
        </p:nvSpPr>
        <p:spPr>
          <a:xfrm>
            <a:off x="4686974" y="1216312"/>
            <a:ext cx="1898158" cy="11541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685766">
              <a:defRPr/>
            </a:pPr>
            <a:r>
              <a:rPr lang="en-US" sz="900" dirty="0">
                <a:solidFill>
                  <a:srgbClr val="000000"/>
                </a:solidFill>
                <a:latin typeface="Verdana"/>
              </a:rPr>
              <a:t>T</a:t>
            </a:r>
            <a:r>
              <a:rPr lang="sl-SI" sz="900" dirty="0">
                <a:solidFill>
                  <a:srgbClr val="000000"/>
                </a:solidFill>
                <a:latin typeface="Verdana"/>
              </a:rPr>
              <a:t>rije močni poslovni segmenti z vodilnim položajem na trgu</a:t>
            </a:r>
            <a:endParaRPr lang="en-US" sz="900" dirty="0">
              <a:solidFill>
                <a:srgbClr val="000000"/>
              </a:solidFill>
              <a:latin typeface="Verdana"/>
            </a:endParaRPr>
          </a:p>
          <a:p>
            <a:pPr algn="ctr" defTabSz="685766">
              <a:defRPr/>
            </a:pPr>
            <a:endParaRPr lang="en-US" sz="1200" dirty="0">
              <a:solidFill>
                <a:srgbClr val="000000"/>
              </a:solidFill>
              <a:latin typeface="Verdana"/>
            </a:endParaRPr>
          </a:p>
          <a:p>
            <a:pPr algn="ctr" defTabSz="685766">
              <a:defRPr/>
            </a:pPr>
            <a:r>
              <a:rPr lang="en-US" sz="900" b="1" dirty="0">
                <a:solidFill>
                  <a:srgbClr val="E60A11"/>
                </a:solidFill>
                <a:latin typeface="Verdana"/>
              </a:rPr>
              <a:t>Power Solutions</a:t>
            </a:r>
          </a:p>
          <a:p>
            <a:pPr algn="ctr" defTabSz="685766">
              <a:defRPr/>
            </a:pPr>
            <a:endParaRPr lang="en-US" sz="900" b="1" dirty="0">
              <a:solidFill>
                <a:srgbClr val="E60A11"/>
              </a:solidFill>
              <a:latin typeface="Verdana"/>
            </a:endParaRPr>
          </a:p>
          <a:p>
            <a:pPr algn="ctr" defTabSz="685766">
              <a:defRPr/>
            </a:pPr>
            <a:r>
              <a:rPr lang="en-US" sz="900" b="1" dirty="0">
                <a:solidFill>
                  <a:srgbClr val="E60A11"/>
                </a:solidFill>
                <a:latin typeface="Verdana"/>
              </a:rPr>
              <a:t>Climate Solutions</a:t>
            </a:r>
          </a:p>
          <a:p>
            <a:pPr algn="ctr" defTabSz="685766">
              <a:defRPr/>
            </a:pPr>
            <a:endParaRPr lang="en-US" sz="900" b="1" dirty="0">
              <a:solidFill>
                <a:srgbClr val="E60A11"/>
              </a:solidFill>
              <a:latin typeface="Verdana"/>
            </a:endParaRPr>
          </a:p>
          <a:p>
            <a:pPr algn="ctr" defTabSz="685766">
              <a:defRPr/>
            </a:pPr>
            <a:r>
              <a:rPr lang="en-US" sz="900" b="1" dirty="0">
                <a:solidFill>
                  <a:srgbClr val="E60A11"/>
                </a:solidFill>
                <a:latin typeface="Verdana"/>
              </a:rPr>
              <a:t>Power Electronics and Drives</a:t>
            </a:r>
          </a:p>
        </p:txBody>
      </p:sp>
      <p:sp>
        <p:nvSpPr>
          <p:cNvPr id="27" name="TextBox 28">
            <a:extLst>
              <a:ext uri="{FF2B5EF4-FFF2-40B4-BE49-F238E27FC236}">
                <a16:creationId xmlns:a16="http://schemas.microsoft.com/office/drawing/2014/main" id="{876CE386-FBEE-9EB4-0BE9-5E9ECFFF62CC}"/>
              </a:ext>
            </a:extLst>
          </p:cNvPr>
          <p:cNvSpPr txBox="1"/>
          <p:nvPr/>
        </p:nvSpPr>
        <p:spPr>
          <a:xfrm>
            <a:off x="7114511" y="1217532"/>
            <a:ext cx="1440527" cy="1107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685766">
              <a:defRPr/>
            </a:pPr>
            <a:r>
              <a:rPr lang="sl-SI" sz="900" dirty="0">
                <a:solidFill>
                  <a:srgbClr val="000000"/>
                </a:solidFill>
                <a:latin typeface="Verdana"/>
              </a:rPr>
              <a:t>Vodilni tehnološki partner za naše stranke, ki želijo razogljičiti svoje poslovanje z energetsko učinkovitostjo, produktivnostjo strojev, nizkimi emisijami in elektrifikacijo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A226030-F191-4690-ADD4-96A19628D1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solidFill>
                  <a:schemeClr val="tx1"/>
                </a:solidFill>
              </a:rPr>
              <a:t>Danfoss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sl-SI" dirty="0"/>
              <a:t>kdo smo?</a:t>
            </a:r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EE1748F9-EE48-0D96-C2CB-601D9BD13C8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55482" y="944503"/>
            <a:ext cx="1940635" cy="1940635"/>
          </a:xfrm>
          <a:prstGeom prst="rect">
            <a:avLst/>
          </a:prstGeom>
        </p:spPr>
      </p:pic>
      <p:sp>
        <p:nvSpPr>
          <p:cNvPr id="18" name="TextBox 53">
            <a:extLst>
              <a:ext uri="{FF2B5EF4-FFF2-40B4-BE49-F238E27FC236}">
                <a16:creationId xmlns:a16="http://schemas.microsoft.com/office/drawing/2014/main" id="{CD56BAAC-340C-9941-FB2A-3C257F5DA82F}"/>
              </a:ext>
            </a:extLst>
          </p:cNvPr>
          <p:cNvSpPr txBox="1"/>
          <p:nvPr/>
        </p:nvSpPr>
        <p:spPr>
          <a:xfrm>
            <a:off x="290723" y="3316277"/>
            <a:ext cx="2209109" cy="5078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685766">
              <a:defRPr/>
            </a:pPr>
            <a:r>
              <a:rPr lang="en-US" sz="3300" dirty="0">
                <a:solidFill>
                  <a:srgbClr val="E60A11"/>
                </a:solidFill>
                <a:latin typeface="Verdana"/>
              </a:rPr>
              <a:t>+42,000</a:t>
            </a:r>
          </a:p>
        </p:txBody>
      </p:sp>
      <p:sp>
        <p:nvSpPr>
          <p:cNvPr id="19" name="TextBox 28">
            <a:extLst>
              <a:ext uri="{FF2B5EF4-FFF2-40B4-BE49-F238E27FC236}">
                <a16:creationId xmlns:a16="http://schemas.microsoft.com/office/drawing/2014/main" id="{B76AA3F2-A375-A3D0-8E29-16AF3FFE2291}"/>
              </a:ext>
            </a:extLst>
          </p:cNvPr>
          <p:cNvSpPr txBox="1"/>
          <p:nvPr/>
        </p:nvSpPr>
        <p:spPr>
          <a:xfrm>
            <a:off x="674237" y="3873340"/>
            <a:ext cx="1520771" cy="4154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685766">
              <a:defRPr/>
            </a:pPr>
            <a:r>
              <a:rPr lang="sl-SI" sz="900">
                <a:solidFill>
                  <a:srgbClr val="000000"/>
                </a:solidFill>
                <a:latin typeface="Verdana"/>
              </a:rPr>
              <a:t>Zaposleni po vsem svetu.</a:t>
            </a:r>
          </a:p>
          <a:p>
            <a:pPr algn="ctr" defTabSz="685766">
              <a:defRPr/>
            </a:pPr>
            <a:r>
              <a:rPr lang="sl-SI" sz="900" dirty="0">
                <a:solidFill>
                  <a:srgbClr val="000000"/>
                </a:solidFill>
                <a:latin typeface="Verdana"/>
              </a:rPr>
              <a:t>Ljudje so temelj našega poslovanja</a:t>
            </a:r>
          </a:p>
        </p:txBody>
      </p:sp>
      <p:cxnSp>
        <p:nvCxnSpPr>
          <p:cNvPr id="21" name="Straight Connector 33">
            <a:extLst>
              <a:ext uri="{FF2B5EF4-FFF2-40B4-BE49-F238E27FC236}">
                <a16:creationId xmlns:a16="http://schemas.microsoft.com/office/drawing/2014/main" id="{317E346C-A623-86CB-70F2-98D2D543D023}"/>
              </a:ext>
            </a:extLst>
          </p:cNvPr>
          <p:cNvCxnSpPr>
            <a:cxnSpLocks/>
          </p:cNvCxnSpPr>
          <p:nvPr/>
        </p:nvCxnSpPr>
        <p:spPr>
          <a:xfrm flipV="1">
            <a:off x="2499831" y="3039911"/>
            <a:ext cx="0" cy="137700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33">
            <a:extLst>
              <a:ext uri="{FF2B5EF4-FFF2-40B4-BE49-F238E27FC236}">
                <a16:creationId xmlns:a16="http://schemas.microsoft.com/office/drawing/2014/main" id="{837741BB-1A2D-C17F-DE01-858210CCA0F3}"/>
              </a:ext>
            </a:extLst>
          </p:cNvPr>
          <p:cNvCxnSpPr>
            <a:cxnSpLocks/>
          </p:cNvCxnSpPr>
          <p:nvPr/>
        </p:nvCxnSpPr>
        <p:spPr>
          <a:xfrm flipV="1">
            <a:off x="4564508" y="3039911"/>
            <a:ext cx="0" cy="137700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33">
            <a:extLst>
              <a:ext uri="{FF2B5EF4-FFF2-40B4-BE49-F238E27FC236}">
                <a16:creationId xmlns:a16="http://schemas.microsoft.com/office/drawing/2014/main" id="{F3EEBBB2-21ED-9DAE-2B3B-2D90EF49A71B}"/>
              </a:ext>
            </a:extLst>
          </p:cNvPr>
          <p:cNvCxnSpPr>
            <a:cxnSpLocks/>
          </p:cNvCxnSpPr>
          <p:nvPr/>
        </p:nvCxnSpPr>
        <p:spPr>
          <a:xfrm flipV="1">
            <a:off x="6694928" y="3039911"/>
            <a:ext cx="0" cy="137700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33">
            <a:extLst>
              <a:ext uri="{FF2B5EF4-FFF2-40B4-BE49-F238E27FC236}">
                <a16:creationId xmlns:a16="http://schemas.microsoft.com/office/drawing/2014/main" id="{53C60848-2A29-131A-DB75-94C71F61DB51}"/>
              </a:ext>
            </a:extLst>
          </p:cNvPr>
          <p:cNvCxnSpPr>
            <a:cxnSpLocks/>
          </p:cNvCxnSpPr>
          <p:nvPr/>
        </p:nvCxnSpPr>
        <p:spPr>
          <a:xfrm flipV="1">
            <a:off x="4564508" y="1126502"/>
            <a:ext cx="0" cy="137700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33">
            <a:extLst>
              <a:ext uri="{FF2B5EF4-FFF2-40B4-BE49-F238E27FC236}">
                <a16:creationId xmlns:a16="http://schemas.microsoft.com/office/drawing/2014/main" id="{E275926D-A169-4D23-075B-A2B6B3BC9BFD}"/>
              </a:ext>
            </a:extLst>
          </p:cNvPr>
          <p:cNvCxnSpPr>
            <a:cxnSpLocks/>
          </p:cNvCxnSpPr>
          <p:nvPr/>
        </p:nvCxnSpPr>
        <p:spPr>
          <a:xfrm flipV="1">
            <a:off x="6694928" y="1126502"/>
            <a:ext cx="0" cy="137700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8">
            <a:extLst>
              <a:ext uri="{FF2B5EF4-FFF2-40B4-BE49-F238E27FC236}">
                <a16:creationId xmlns:a16="http://schemas.microsoft.com/office/drawing/2014/main" id="{646C455C-DC5B-B219-55A1-84AF76B76B70}"/>
              </a:ext>
            </a:extLst>
          </p:cNvPr>
          <p:cNvSpPr txBox="1"/>
          <p:nvPr/>
        </p:nvSpPr>
        <p:spPr>
          <a:xfrm>
            <a:off x="2620328" y="3876111"/>
            <a:ext cx="183882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685766">
              <a:defRPr/>
            </a:pPr>
            <a:r>
              <a:rPr lang="sl-SI" sz="900" dirty="0">
                <a:solidFill>
                  <a:srgbClr val="000000"/>
                </a:solidFill>
                <a:latin typeface="Verdana"/>
              </a:rPr>
              <a:t>Na dobri poti do ogljične nevtralnosti do leta </a:t>
            </a:r>
            <a:r>
              <a:rPr lang="en-US" sz="900" dirty="0">
                <a:solidFill>
                  <a:srgbClr val="000000"/>
                </a:solidFill>
                <a:latin typeface="Verdana"/>
              </a:rPr>
              <a:t>2030</a:t>
            </a:r>
          </a:p>
        </p:txBody>
      </p:sp>
      <p:pic>
        <p:nvPicPr>
          <p:cNvPr id="34" name="Graphic 33">
            <a:extLst>
              <a:ext uri="{FF2B5EF4-FFF2-40B4-BE49-F238E27FC236}">
                <a16:creationId xmlns:a16="http://schemas.microsoft.com/office/drawing/2014/main" id="{8027FA6E-3502-6B27-3CED-9FA53C4BE46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093313" y="3105227"/>
            <a:ext cx="877715" cy="660645"/>
          </a:xfrm>
          <a:prstGeom prst="rect">
            <a:avLst/>
          </a:prstGeom>
        </p:spPr>
      </p:pic>
      <p:sp>
        <p:nvSpPr>
          <p:cNvPr id="43" name="TextBox 53">
            <a:extLst>
              <a:ext uri="{FF2B5EF4-FFF2-40B4-BE49-F238E27FC236}">
                <a16:creationId xmlns:a16="http://schemas.microsoft.com/office/drawing/2014/main" id="{E30493CC-78B7-7072-9DC5-76F9A415C789}"/>
              </a:ext>
            </a:extLst>
          </p:cNvPr>
          <p:cNvSpPr txBox="1"/>
          <p:nvPr/>
        </p:nvSpPr>
        <p:spPr>
          <a:xfrm>
            <a:off x="4869333" y="3316276"/>
            <a:ext cx="845216" cy="5078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685766">
              <a:defRPr/>
            </a:pPr>
            <a:r>
              <a:rPr lang="en-US" sz="3300" dirty="0">
                <a:solidFill>
                  <a:srgbClr val="E60A11"/>
                </a:solidFill>
                <a:latin typeface="Verdana"/>
              </a:rPr>
              <a:t>97</a:t>
            </a:r>
          </a:p>
        </p:txBody>
      </p:sp>
      <p:pic>
        <p:nvPicPr>
          <p:cNvPr id="46" name="Graphic 45">
            <a:extLst>
              <a:ext uri="{FF2B5EF4-FFF2-40B4-BE49-F238E27FC236}">
                <a16:creationId xmlns:a16="http://schemas.microsoft.com/office/drawing/2014/main" id="{C2976218-FCCF-271D-A0DD-E1FD354BC01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714547" y="3401013"/>
            <a:ext cx="642310" cy="365452"/>
          </a:xfrm>
          <a:prstGeom prst="rect">
            <a:avLst/>
          </a:prstGeom>
        </p:spPr>
      </p:pic>
      <p:sp>
        <p:nvSpPr>
          <p:cNvPr id="47" name="TextBox 28">
            <a:extLst>
              <a:ext uri="{FF2B5EF4-FFF2-40B4-BE49-F238E27FC236}">
                <a16:creationId xmlns:a16="http://schemas.microsoft.com/office/drawing/2014/main" id="{5CE33259-BC06-A559-B688-576FED4CABF9}"/>
              </a:ext>
            </a:extLst>
          </p:cNvPr>
          <p:cNvSpPr txBox="1"/>
          <p:nvPr/>
        </p:nvSpPr>
        <p:spPr>
          <a:xfrm>
            <a:off x="4710307" y="3876111"/>
            <a:ext cx="183882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685766">
              <a:defRPr/>
            </a:pPr>
            <a:r>
              <a:rPr lang="sl-SI" sz="900" dirty="0">
                <a:solidFill>
                  <a:srgbClr val="000000"/>
                </a:solidFill>
                <a:latin typeface="Verdana"/>
              </a:rPr>
              <a:t>Proizvodnih enot</a:t>
            </a:r>
            <a:r>
              <a:rPr lang="en-US" sz="900" dirty="0">
                <a:solidFill>
                  <a:srgbClr val="000000"/>
                </a:solidFill>
                <a:latin typeface="Verdana"/>
              </a:rPr>
              <a:t> </a:t>
            </a:r>
            <a:r>
              <a:rPr lang="sl-SI" sz="900" dirty="0">
                <a:solidFill>
                  <a:srgbClr val="000000"/>
                </a:solidFill>
                <a:latin typeface="Verdana"/>
              </a:rPr>
              <a:t>v več kot 20 državah</a:t>
            </a:r>
            <a:endParaRPr lang="en-US" sz="900" dirty="0">
              <a:solidFill>
                <a:srgbClr val="000000"/>
              </a:solidFill>
              <a:latin typeface="Verdana"/>
            </a:endParaRPr>
          </a:p>
        </p:txBody>
      </p:sp>
      <p:sp>
        <p:nvSpPr>
          <p:cNvPr id="48" name="TextBox 53">
            <a:extLst>
              <a:ext uri="{FF2B5EF4-FFF2-40B4-BE49-F238E27FC236}">
                <a16:creationId xmlns:a16="http://schemas.microsoft.com/office/drawing/2014/main" id="{C472E325-8ABA-439E-7F43-45FBC9C35A06}"/>
              </a:ext>
            </a:extLst>
          </p:cNvPr>
          <p:cNvSpPr txBox="1"/>
          <p:nvPr/>
        </p:nvSpPr>
        <p:spPr>
          <a:xfrm>
            <a:off x="7081856" y="3316276"/>
            <a:ext cx="1520771" cy="5078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685766">
              <a:defRPr/>
            </a:pPr>
            <a:r>
              <a:rPr lang="en-US" sz="3300" dirty="0">
                <a:solidFill>
                  <a:srgbClr val="E60A11"/>
                </a:solidFill>
                <a:latin typeface="Verdana"/>
              </a:rPr>
              <a:t>1933</a:t>
            </a:r>
          </a:p>
        </p:txBody>
      </p:sp>
      <p:sp>
        <p:nvSpPr>
          <p:cNvPr id="49" name="TextBox 28">
            <a:extLst>
              <a:ext uri="{FF2B5EF4-FFF2-40B4-BE49-F238E27FC236}">
                <a16:creationId xmlns:a16="http://schemas.microsoft.com/office/drawing/2014/main" id="{897FE556-B43E-CE4A-47EA-4455D76DF294}"/>
              </a:ext>
            </a:extLst>
          </p:cNvPr>
          <p:cNvSpPr txBox="1"/>
          <p:nvPr/>
        </p:nvSpPr>
        <p:spPr>
          <a:xfrm>
            <a:off x="6903373" y="3876111"/>
            <a:ext cx="1877735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685766">
              <a:defRPr/>
            </a:pPr>
            <a:r>
              <a:rPr lang="sl-SI" sz="900" dirty="0">
                <a:solidFill>
                  <a:srgbClr val="000000"/>
                </a:solidFill>
                <a:latin typeface="Verdana"/>
              </a:rPr>
              <a:t>Dolge izkušnje na področju inovacij in inženiringa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FC31CAE-8350-0870-1766-CCCB0CF2DE9B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 b="6888"/>
          <a:stretch/>
        </p:blipFill>
        <p:spPr>
          <a:xfrm>
            <a:off x="31166" y="2143"/>
            <a:ext cx="9066684" cy="4736662"/>
          </a:xfrm>
          <a:prstGeom prst="rect">
            <a:avLst/>
          </a:prstGeom>
        </p:spPr>
      </p:pic>
      <p:pic>
        <p:nvPicPr>
          <p:cNvPr id="2" name="Picture 1" descr="A red sign with white text&#10;&#10;AI-generated content may be incorrect.">
            <a:extLst>
              <a:ext uri="{FF2B5EF4-FFF2-40B4-BE49-F238E27FC236}">
                <a16:creationId xmlns:a16="http://schemas.microsoft.com/office/drawing/2014/main" id="{0A51145F-0DA8-3522-056A-371E1F9C1902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51833" y="140938"/>
            <a:ext cx="1203205" cy="527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082543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>
          <a:extLst>
            <a:ext uri="{FF2B5EF4-FFF2-40B4-BE49-F238E27FC236}">
              <a16:creationId xmlns:a16="http://schemas.microsoft.com/office/drawing/2014/main" id="{BD420AA1-8DEF-68C9-3EF7-2B0C659981B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Billede 27" descr="Et billede, der indeholder sky, udendørs, vej/gade, træ&#10;&#10;Indhold genereret af kunstig intelligens kan være forkert.">
            <a:extLst>
              <a:ext uri="{FF2B5EF4-FFF2-40B4-BE49-F238E27FC236}">
                <a16:creationId xmlns:a16="http://schemas.microsoft.com/office/drawing/2014/main" id="{57A83C89-310E-531E-CD4A-68877CF0AB84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01" t="26736" b="19378"/>
          <a:stretch/>
        </p:blipFill>
        <p:spPr>
          <a:xfrm>
            <a:off x="0" y="0"/>
            <a:ext cx="9144000" cy="4323804"/>
          </a:xfrm>
          <a:prstGeom prst="rect">
            <a:avLst/>
          </a:prstGeom>
        </p:spPr>
      </p:pic>
      <p:sp>
        <p:nvSpPr>
          <p:cNvPr id="52" name="TextBox 51">
            <a:extLst>
              <a:ext uri="{FF2B5EF4-FFF2-40B4-BE49-F238E27FC236}">
                <a16:creationId xmlns:a16="http://schemas.microsoft.com/office/drawing/2014/main" id="{20AFE61D-91B9-D761-3270-0CDD3EB58B57}"/>
              </a:ext>
            </a:extLst>
          </p:cNvPr>
          <p:cNvSpPr txBox="1"/>
          <p:nvPr/>
        </p:nvSpPr>
        <p:spPr>
          <a:xfrm>
            <a:off x="2386720" y="6426671"/>
            <a:ext cx="761894" cy="1731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5783">
              <a:spcAft>
                <a:spcPts val="300"/>
              </a:spcAft>
              <a:defRPr/>
            </a:pPr>
            <a:endParaRPr lang="sl-SI" sz="525" b="1" dirty="0">
              <a:solidFill>
                <a:prstClr val="white"/>
              </a:solidFill>
              <a:latin typeface="Verdana"/>
            </a:endParaRPr>
          </a:p>
        </p:txBody>
      </p:sp>
      <p:sp>
        <p:nvSpPr>
          <p:cNvPr id="790" name="PoljeZBesedilom 19">
            <a:extLst>
              <a:ext uri="{FF2B5EF4-FFF2-40B4-BE49-F238E27FC236}">
                <a16:creationId xmlns:a16="http://schemas.microsoft.com/office/drawing/2014/main" id="{A7AF659D-0861-8F50-10DF-395D790D29B8}"/>
              </a:ext>
            </a:extLst>
          </p:cNvPr>
          <p:cNvSpPr txBox="1"/>
          <p:nvPr/>
        </p:nvSpPr>
        <p:spPr>
          <a:xfrm>
            <a:off x="3148614" y="1352892"/>
            <a:ext cx="2888215" cy="30777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r-Latn-RS" sz="1400" b="1" dirty="0">
                <a:solidFill>
                  <a:srgbClr val="E60A11"/>
                </a:solidFill>
                <a:latin typeface="Verdana"/>
              </a:rPr>
              <a:t>ECL 310 Comfort</a:t>
            </a:r>
            <a:endParaRPr kumimoji="0" lang="da-DK" sz="1400" b="1" i="0" u="none" strike="noStrike" kern="1200" cap="none" spc="0" normalizeH="0" baseline="0" noProof="0" dirty="0">
              <a:ln>
                <a:noFill/>
              </a:ln>
              <a:solidFill>
                <a:srgbClr val="E60A11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800" name="Skupina 15">
            <a:extLst>
              <a:ext uri="{FF2B5EF4-FFF2-40B4-BE49-F238E27FC236}">
                <a16:creationId xmlns:a16="http://schemas.microsoft.com/office/drawing/2014/main" id="{9F17B760-9075-FB58-9354-4B6D9741D96C}"/>
              </a:ext>
            </a:extLst>
          </p:cNvPr>
          <p:cNvGrpSpPr/>
          <p:nvPr/>
        </p:nvGrpSpPr>
        <p:grpSpPr>
          <a:xfrm>
            <a:off x="3342984" y="1602255"/>
            <a:ext cx="2831620" cy="1083017"/>
            <a:chOff x="488789" y="1983976"/>
            <a:chExt cx="1604657" cy="1083017"/>
          </a:xfrm>
        </p:grpSpPr>
        <p:sp>
          <p:nvSpPr>
            <p:cNvPr id="801" name="PoljeZBesedilom 31">
              <a:extLst>
                <a:ext uri="{FF2B5EF4-FFF2-40B4-BE49-F238E27FC236}">
                  <a16:creationId xmlns:a16="http://schemas.microsoft.com/office/drawing/2014/main" id="{366A8649-5B9E-55E6-9BAD-A3ADF8063A80}"/>
                </a:ext>
              </a:extLst>
            </p:cNvPr>
            <p:cNvSpPr txBox="1"/>
            <p:nvPr/>
          </p:nvSpPr>
          <p:spPr>
            <a:xfrm>
              <a:off x="488789" y="1983976"/>
              <a:ext cx="1440000" cy="24622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02" name="TextBox 20">
              <a:extLst>
                <a:ext uri="{FF2B5EF4-FFF2-40B4-BE49-F238E27FC236}">
                  <a16:creationId xmlns:a16="http://schemas.microsoft.com/office/drawing/2014/main" id="{AD3AA2FC-2D9A-A6B7-6B76-D9A68966BFB5}"/>
                </a:ext>
              </a:extLst>
            </p:cNvPr>
            <p:cNvSpPr txBox="1"/>
            <p:nvPr/>
          </p:nvSpPr>
          <p:spPr>
            <a:xfrm>
              <a:off x="653446" y="2212913"/>
              <a:ext cx="1440000" cy="85408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r-Latn-BA" sz="12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Verdana Pro Light" panose="020B0304030504040204" pitchFamily="34" charset="0"/>
                </a:rPr>
                <a:t>Smart Weather Compensation</a:t>
              </a:r>
            </a:p>
            <a:p>
              <a:pPr marL="0" marR="0" lvl="0" indent="0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sr-Latn-BA" sz="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/>
                <a:ea typeface="+mn-ea"/>
                <a:cs typeface="+mn-cs"/>
              </a:endParaRPr>
            </a:p>
            <a:p>
              <a:pPr marL="0" marR="0" lvl="0" indent="0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lang="sr-Latn-RS" sz="850" dirty="0">
                  <a:latin typeface="Verdana"/>
                </a:rPr>
                <a:t>O</a:t>
              </a:r>
              <a:r>
                <a:rPr kumimoji="0" lang="sr-Latn-RS" sz="85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Verdana"/>
                  <a:ea typeface="+mn-ea"/>
                  <a:cs typeface="+mn-cs"/>
                </a:rPr>
                <a:t>ptimizacija grejanja u zgradama optimizovanjem grejne krive korišćenjem veštačke inteligencije</a:t>
              </a:r>
              <a:endParaRPr kumimoji="0" lang="da-DK" sz="85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2258" name="TextBox 9">
            <a:extLst>
              <a:ext uri="{FF2B5EF4-FFF2-40B4-BE49-F238E27FC236}">
                <a16:creationId xmlns:a16="http://schemas.microsoft.com/office/drawing/2014/main" id="{60171DEC-968C-0EEE-EF3C-AEDD26C94E38}"/>
              </a:ext>
            </a:extLst>
          </p:cNvPr>
          <p:cNvSpPr txBox="1"/>
          <p:nvPr/>
        </p:nvSpPr>
        <p:spPr>
          <a:xfrm>
            <a:off x="2615601" y="6727"/>
            <a:ext cx="3912797" cy="3077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 defTabSz="685783">
              <a:spcAft>
                <a:spcPts val="300"/>
              </a:spcAft>
              <a:defRPr/>
            </a:pPr>
            <a:r>
              <a:rPr lang="sl-SI" sz="2000" dirty="0">
                <a:solidFill>
                  <a:srgbClr val="000000"/>
                </a:solidFill>
                <a:latin typeface="Verdana Pro Light" panose="020B0304030504040204" pitchFamily="34" charset="0"/>
              </a:rPr>
              <a:t>Smart Weather Compensation</a:t>
            </a:r>
            <a:endParaRPr lang="en-US" sz="2000" dirty="0">
              <a:solidFill>
                <a:srgbClr val="000000"/>
              </a:solidFill>
              <a:latin typeface="Verdana Pro Light" panose="020B0304030504040204" pitchFamily="34" charset="0"/>
            </a:endParaRPr>
          </a:p>
        </p:txBody>
      </p:sp>
      <p:cxnSp>
        <p:nvCxnSpPr>
          <p:cNvPr id="2261" name="Straight Connector 2260">
            <a:extLst>
              <a:ext uri="{FF2B5EF4-FFF2-40B4-BE49-F238E27FC236}">
                <a16:creationId xmlns:a16="http://schemas.microsoft.com/office/drawing/2014/main" id="{1C4D6A5D-39EC-B6DB-DB43-C00C7EED256E}"/>
              </a:ext>
            </a:extLst>
          </p:cNvPr>
          <p:cNvCxnSpPr/>
          <p:nvPr/>
        </p:nvCxnSpPr>
        <p:spPr>
          <a:xfrm flipH="1">
            <a:off x="6847032" y="4176712"/>
            <a:ext cx="653906" cy="0"/>
          </a:xfrm>
          <a:prstGeom prst="line">
            <a:avLst/>
          </a:prstGeom>
          <a:ln w="12700">
            <a:solidFill>
              <a:srgbClr val="E2000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62" name="Grafik 20">
            <a:extLst>
              <a:ext uri="{FF2B5EF4-FFF2-40B4-BE49-F238E27FC236}">
                <a16:creationId xmlns:a16="http://schemas.microsoft.com/office/drawing/2014/main" id="{DD253B1D-BE6E-8DEC-933E-03D992B95B9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59720" y="4025864"/>
            <a:ext cx="6604254" cy="586359"/>
          </a:xfrm>
          <a:prstGeom prst="rect">
            <a:avLst/>
          </a:prstGeom>
        </p:spPr>
      </p:pic>
      <p:pic>
        <p:nvPicPr>
          <p:cNvPr id="2263" name="Grafik 23">
            <a:extLst>
              <a:ext uri="{FF2B5EF4-FFF2-40B4-BE49-F238E27FC236}">
                <a16:creationId xmlns:a16="http://schemas.microsoft.com/office/drawing/2014/main" id="{D6DE0B59-BCB2-4FCB-99C4-EE0FB503D79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50564" y="4023843"/>
            <a:ext cx="6721479" cy="69994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D3440867-854C-69E4-9681-629CDD140232}"/>
              </a:ext>
            </a:extLst>
          </p:cNvPr>
          <p:cNvSpPr/>
          <p:nvPr/>
        </p:nvSpPr>
        <p:spPr>
          <a:xfrm>
            <a:off x="4319488" y="362972"/>
            <a:ext cx="793832" cy="793832"/>
          </a:xfrm>
          <a:prstGeom prst="rect">
            <a:avLst/>
          </a:prstGeom>
          <a:solidFill>
            <a:schemeClr val="bg1">
              <a:alpha val="60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GB" sz="1350" dirty="0" err="1">
              <a:solidFill>
                <a:prstClr val="white"/>
              </a:solidFill>
              <a:latin typeface="Verdana"/>
            </a:endParaRPr>
          </a:p>
        </p:txBody>
      </p:sp>
      <p:sp>
        <p:nvSpPr>
          <p:cNvPr id="3" name="TextBox 9">
            <a:extLst>
              <a:ext uri="{FF2B5EF4-FFF2-40B4-BE49-F238E27FC236}">
                <a16:creationId xmlns:a16="http://schemas.microsoft.com/office/drawing/2014/main" id="{4552DC02-3F2D-6781-F96D-AF79AEBF56B1}"/>
              </a:ext>
            </a:extLst>
          </p:cNvPr>
          <p:cNvSpPr txBox="1"/>
          <p:nvPr/>
        </p:nvSpPr>
        <p:spPr>
          <a:xfrm>
            <a:off x="4319488" y="399067"/>
            <a:ext cx="793832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 defTabSz="685783">
              <a:spcAft>
                <a:spcPts val="300"/>
              </a:spcAft>
              <a:defRPr/>
            </a:pPr>
            <a:r>
              <a:rPr lang="sl-SI" sz="600" dirty="0">
                <a:solidFill>
                  <a:srgbClr val="000000"/>
                </a:solidFill>
                <a:latin typeface="Verdana Pro Light" panose="020B0304030504040204" pitchFamily="34" charset="0"/>
              </a:rPr>
              <a:t>ECL </a:t>
            </a:r>
            <a:r>
              <a:rPr lang="sl-SI" sz="600" dirty="0" err="1">
                <a:solidFill>
                  <a:srgbClr val="000000"/>
                </a:solidFill>
                <a:latin typeface="Verdana Pro Light" panose="020B0304030504040204" pitchFamily="34" charset="0"/>
              </a:rPr>
              <a:t>Comfort</a:t>
            </a:r>
            <a:r>
              <a:rPr lang="sl-SI" sz="600" dirty="0">
                <a:solidFill>
                  <a:srgbClr val="000000"/>
                </a:solidFill>
                <a:latin typeface="Verdana Pro Light" panose="020B0304030504040204" pitchFamily="34" charset="0"/>
              </a:rPr>
              <a:t> </a:t>
            </a:r>
            <a:br>
              <a:rPr lang="sl-SI" sz="600" dirty="0">
                <a:solidFill>
                  <a:srgbClr val="000000"/>
                </a:solidFill>
                <a:latin typeface="Verdana Pro Light" panose="020B0304030504040204" pitchFamily="34" charset="0"/>
              </a:rPr>
            </a:br>
            <a:r>
              <a:rPr lang="sl-SI" sz="600" dirty="0" err="1">
                <a:solidFill>
                  <a:srgbClr val="000000"/>
                </a:solidFill>
                <a:latin typeface="Verdana Pro Light" panose="020B0304030504040204" pitchFamily="34" charset="0"/>
              </a:rPr>
              <a:t>controller</a:t>
            </a:r>
            <a:endParaRPr lang="en-US" sz="600" dirty="0">
              <a:solidFill>
                <a:srgbClr val="000000"/>
              </a:solidFill>
              <a:latin typeface="Verdana Pro Light" panose="020B0304030504040204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1A7A85F-4F4B-7800-A09E-E857C9F21D10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97168" y="602948"/>
            <a:ext cx="673906" cy="4486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77288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5000615" y="821909"/>
            <a:ext cx="3818047" cy="3944963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3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480771" y="1882773"/>
            <a:ext cx="3882453" cy="1726274"/>
          </a:xfrm>
          <a:prstGeom prst="rect">
            <a:avLst/>
          </a:prstGeom>
        </p:spPr>
        <p:txBody>
          <a:bodyPr vert="horz" wrap="square" lIns="0" tIns="9049" rIns="0" bIns="0" rtlCol="0">
            <a:spAutoFit/>
          </a:bodyPr>
          <a:lstStyle/>
          <a:p>
            <a:pPr marL="10001" marR="3810" lvl="0" indent="0" algn="l" defTabSz="914400" rtl="0" eaLnBrk="1" fontAlgn="auto" latinLnBrk="0" hangingPunct="1">
              <a:lnSpc>
                <a:spcPct val="100000"/>
              </a:lnSpc>
              <a:spcBef>
                <a:spcPts val="75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0" i="0" u="none" strike="noStrike" kern="1200" cap="none" spc="-4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Verdana"/>
              </a:rPr>
              <a:t>ECL Comfort </a:t>
            </a:r>
            <a:r>
              <a:rPr kumimoji="0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Verdana"/>
              </a:rPr>
              <a:t>310 </a:t>
            </a:r>
            <a:r>
              <a:rPr kumimoji="0" sz="1200" b="0" i="0" u="none" strike="noStrike" kern="1200" cap="none" spc="-4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Verdana"/>
              </a:rPr>
              <a:t>nudi najsavremenije opcije </a:t>
            </a:r>
            <a:r>
              <a:rPr kumimoji="0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Verdana"/>
              </a:rPr>
              <a:t>za  </a:t>
            </a:r>
            <a:r>
              <a:rPr kumimoji="0" sz="1200" b="0" i="0" u="none" strike="noStrike" kern="1200" cap="none" spc="-4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Verdana"/>
              </a:rPr>
              <a:t>komunikacione</a:t>
            </a:r>
            <a:r>
              <a:rPr kumimoji="0" sz="1200" b="0" i="0" u="none" strike="noStrike" kern="1200" cap="none" spc="-34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Verdana"/>
              </a:rPr>
              <a:t> </a:t>
            </a:r>
            <a:r>
              <a:rPr kumimoji="0" sz="1200" b="0" i="0" u="none" strike="noStrike" kern="1200" cap="none" spc="-4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Verdana"/>
              </a:rPr>
              <a:t>interfejse.</a:t>
            </a:r>
            <a:endParaRPr kumimoji="0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Verdana"/>
            </a:endParaRPr>
          </a:p>
          <a:p>
            <a:pPr marL="10001" marR="60960" lvl="0" indent="0" algn="l" defTabSz="914400" rtl="0" eaLnBrk="1" fontAlgn="auto" latinLnBrk="0" hangingPunct="1">
              <a:lnSpc>
                <a:spcPct val="141700"/>
              </a:lnSpc>
              <a:spcBef>
                <a:spcPts val="1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0" i="0" u="none" strike="noStrike" kern="1200" cap="none" spc="-4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Verdana"/>
              </a:rPr>
              <a:t>Opseg opcija, dostupnih </a:t>
            </a:r>
            <a:r>
              <a:rPr kumimoji="0" sz="1200" b="0" i="0" u="none" strike="noStrike" kern="1200" cap="none" spc="-8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Verdana"/>
              </a:rPr>
              <a:t>ili </a:t>
            </a:r>
            <a:r>
              <a:rPr kumimoji="0" sz="1200" b="0" i="0" u="none" strike="noStrike" kern="1200" cap="none" spc="-4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Verdana"/>
              </a:rPr>
              <a:t>putem </a:t>
            </a:r>
            <a:r>
              <a:rPr kumimoji="0" sz="1200" b="0" i="0" u="none" strike="noStrike" kern="1200" cap="none" spc="-8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Verdana"/>
              </a:rPr>
              <a:t>ugrađenih ili  </a:t>
            </a:r>
            <a:r>
              <a:rPr kumimoji="0" sz="1200" b="0" i="0" u="none" strike="noStrike" kern="1200" cap="none" spc="-4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Verdana"/>
              </a:rPr>
              <a:t>spoljašnjih modula</a:t>
            </a:r>
            <a:r>
              <a:rPr kumimoji="0" sz="1200" b="0" i="0" u="none" strike="noStrike" kern="1200" cap="none" spc="-45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Verdana"/>
              </a:rPr>
              <a:t> </a:t>
            </a:r>
            <a:r>
              <a:rPr kumimoji="0" sz="1200" b="0" i="0" u="none" strike="noStrike" kern="1200" cap="none" spc="-4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Verdana"/>
              </a:rPr>
              <a:t>uključuje</a:t>
            </a:r>
            <a:endParaRPr kumimoji="0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Verdana"/>
            </a:endParaRPr>
          </a:p>
          <a:p>
            <a:pPr marL="135731" marR="0" lvl="0" indent="-125730" algn="l" defTabSz="914400" rtl="0" eaLnBrk="1" fontAlgn="auto" latinLnBrk="0" hangingPunct="1">
              <a:lnSpc>
                <a:spcPct val="100000"/>
              </a:lnSpc>
              <a:spcBef>
                <a:spcPts val="689"/>
              </a:spcBef>
              <a:spcAft>
                <a:spcPts val="0"/>
              </a:spcAft>
              <a:buClr>
                <a:srgbClr val="808080"/>
              </a:buClr>
              <a:buSzTx/>
              <a:buFont typeface="Wingdings"/>
              <a:buChar char=""/>
              <a:tabLst>
                <a:tab pos="136208" algn="l"/>
              </a:tabLst>
              <a:defRPr/>
            </a:pPr>
            <a:r>
              <a:rPr kumimoji="0" sz="1200" b="0" i="0" u="none" strike="noStrike" kern="1200" cap="none" spc="-4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Verdana"/>
              </a:rPr>
              <a:t>Modbus</a:t>
            </a:r>
            <a:endParaRPr kumimoji="0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Verdana"/>
            </a:endParaRPr>
          </a:p>
          <a:p>
            <a:pPr marL="135731" marR="0" lvl="0" indent="-125730" algn="l" defTabSz="914400" rtl="0" eaLnBrk="1" fontAlgn="auto" latinLnBrk="0" hangingPunct="1">
              <a:lnSpc>
                <a:spcPct val="100000"/>
              </a:lnSpc>
              <a:spcBef>
                <a:spcPts val="593"/>
              </a:spcBef>
              <a:spcAft>
                <a:spcPts val="0"/>
              </a:spcAft>
              <a:buClr>
                <a:srgbClr val="808080"/>
              </a:buClr>
              <a:buSzTx/>
              <a:buFont typeface="Wingdings"/>
              <a:buChar char=""/>
              <a:tabLst>
                <a:tab pos="136208" algn="l"/>
              </a:tabLst>
              <a:defRPr/>
            </a:pPr>
            <a:r>
              <a:rPr kumimoji="0" sz="1200" b="0" i="0" u="none" strike="noStrike" kern="1200" cap="none" spc="-4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Verdana"/>
              </a:rPr>
              <a:t>M-Bus</a:t>
            </a:r>
            <a:endParaRPr kumimoji="0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Verdana"/>
            </a:endParaRPr>
          </a:p>
          <a:p>
            <a:pPr marL="135731" marR="0" lvl="0" indent="-125730" algn="l" defTabSz="914400" rtl="0" eaLnBrk="1" fontAlgn="auto" latinLnBrk="0" hangingPunct="1">
              <a:lnSpc>
                <a:spcPct val="100000"/>
              </a:lnSpc>
              <a:spcBef>
                <a:spcPts val="604"/>
              </a:spcBef>
              <a:spcAft>
                <a:spcPts val="0"/>
              </a:spcAft>
              <a:buClr>
                <a:srgbClr val="808080"/>
              </a:buClr>
              <a:buSzTx/>
              <a:buFont typeface="Wingdings"/>
              <a:buChar char=""/>
              <a:tabLst>
                <a:tab pos="136208" algn="l"/>
              </a:tabLst>
              <a:defRPr/>
            </a:pPr>
            <a:r>
              <a:rPr kumimoji="0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Verdana"/>
              </a:rPr>
              <a:t>i </a:t>
            </a:r>
            <a:r>
              <a:rPr kumimoji="0" sz="1200" b="0" i="0" u="none" strike="noStrike" kern="1200" cap="none" spc="-4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Verdana"/>
              </a:rPr>
              <a:t>USB </a:t>
            </a:r>
            <a:r>
              <a:rPr kumimoji="0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Verdana"/>
              </a:rPr>
              <a:t>za </a:t>
            </a:r>
            <a:r>
              <a:rPr kumimoji="0" sz="1200" b="0" i="0" u="none" strike="noStrike" kern="1200" cap="none" spc="-4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Verdana"/>
              </a:rPr>
              <a:t>potrebe</a:t>
            </a:r>
            <a:r>
              <a:rPr kumimoji="0" sz="1200" b="0" i="0" u="none" strike="noStrike" kern="1200" cap="none" spc="-8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Verdana"/>
              </a:rPr>
              <a:t> održavanja</a:t>
            </a:r>
            <a:endParaRPr kumimoji="0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Verdana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5396819" y="1353301"/>
            <a:ext cx="3263570" cy="325250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3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" name="object 5"/>
          <p:cNvSpPr/>
          <p:nvPr/>
        </p:nvSpPr>
        <p:spPr>
          <a:xfrm>
            <a:off x="5257583" y="1223432"/>
            <a:ext cx="3402806" cy="3402806"/>
          </a:xfrm>
          <a:custGeom>
            <a:avLst/>
            <a:gdLst/>
            <a:ahLst/>
            <a:cxnLst/>
            <a:rect l="l" t="t" r="r" b="b"/>
            <a:pathLst>
              <a:path w="4537075" h="4537075">
                <a:moveTo>
                  <a:pt x="0" y="2268474"/>
                </a:moveTo>
                <a:lnTo>
                  <a:pt x="499" y="2220405"/>
                </a:lnTo>
                <a:lnTo>
                  <a:pt x="1990" y="2172581"/>
                </a:lnTo>
                <a:lnTo>
                  <a:pt x="4462" y="2125010"/>
                </a:lnTo>
                <a:lnTo>
                  <a:pt x="7907" y="2077703"/>
                </a:lnTo>
                <a:lnTo>
                  <a:pt x="12314" y="2030669"/>
                </a:lnTo>
                <a:lnTo>
                  <a:pt x="17674" y="1983919"/>
                </a:lnTo>
                <a:lnTo>
                  <a:pt x="23976" y="1937461"/>
                </a:lnTo>
                <a:lnTo>
                  <a:pt x="31211" y="1891306"/>
                </a:lnTo>
                <a:lnTo>
                  <a:pt x="39368" y="1845464"/>
                </a:lnTo>
                <a:lnTo>
                  <a:pt x="48439" y="1799944"/>
                </a:lnTo>
                <a:lnTo>
                  <a:pt x="58413" y="1754757"/>
                </a:lnTo>
                <a:lnTo>
                  <a:pt x="69280" y="1709912"/>
                </a:lnTo>
                <a:lnTo>
                  <a:pt x="81031" y="1665419"/>
                </a:lnTo>
                <a:lnTo>
                  <a:pt x="93655" y="1621288"/>
                </a:lnTo>
                <a:lnTo>
                  <a:pt x="107143" y="1577529"/>
                </a:lnTo>
                <a:lnTo>
                  <a:pt x="121485" y="1534151"/>
                </a:lnTo>
                <a:lnTo>
                  <a:pt x="136672" y="1491165"/>
                </a:lnTo>
                <a:lnTo>
                  <a:pt x="152692" y="1448580"/>
                </a:lnTo>
                <a:lnTo>
                  <a:pt x="169537" y="1406406"/>
                </a:lnTo>
                <a:lnTo>
                  <a:pt x="187197" y="1364653"/>
                </a:lnTo>
                <a:lnTo>
                  <a:pt x="205661" y="1323331"/>
                </a:lnTo>
                <a:lnTo>
                  <a:pt x="224921" y="1282449"/>
                </a:lnTo>
                <a:lnTo>
                  <a:pt x="244965" y="1242018"/>
                </a:lnTo>
                <a:lnTo>
                  <a:pt x="265785" y="1202047"/>
                </a:lnTo>
                <a:lnTo>
                  <a:pt x="287370" y="1162547"/>
                </a:lnTo>
                <a:lnTo>
                  <a:pt x="309710" y="1123526"/>
                </a:lnTo>
                <a:lnTo>
                  <a:pt x="332796" y="1084995"/>
                </a:lnTo>
                <a:lnTo>
                  <a:pt x="356619" y="1046964"/>
                </a:lnTo>
                <a:lnTo>
                  <a:pt x="381167" y="1009443"/>
                </a:lnTo>
                <a:lnTo>
                  <a:pt x="406431" y="972441"/>
                </a:lnTo>
                <a:lnTo>
                  <a:pt x="432402" y="935968"/>
                </a:lnTo>
                <a:lnTo>
                  <a:pt x="459069" y="900034"/>
                </a:lnTo>
                <a:lnTo>
                  <a:pt x="486423" y="864649"/>
                </a:lnTo>
                <a:lnTo>
                  <a:pt x="514454" y="829822"/>
                </a:lnTo>
                <a:lnTo>
                  <a:pt x="543152" y="795564"/>
                </a:lnTo>
                <a:lnTo>
                  <a:pt x="572507" y="761885"/>
                </a:lnTo>
                <a:lnTo>
                  <a:pt x="602509" y="728794"/>
                </a:lnTo>
                <a:lnTo>
                  <a:pt x="633149" y="696301"/>
                </a:lnTo>
                <a:lnTo>
                  <a:pt x="664416" y="664416"/>
                </a:lnTo>
                <a:lnTo>
                  <a:pt x="696301" y="633149"/>
                </a:lnTo>
                <a:lnTo>
                  <a:pt x="728794" y="602509"/>
                </a:lnTo>
                <a:lnTo>
                  <a:pt x="761885" y="572507"/>
                </a:lnTo>
                <a:lnTo>
                  <a:pt x="795564" y="543152"/>
                </a:lnTo>
                <a:lnTo>
                  <a:pt x="829822" y="514454"/>
                </a:lnTo>
                <a:lnTo>
                  <a:pt x="864649" y="486423"/>
                </a:lnTo>
                <a:lnTo>
                  <a:pt x="900034" y="459069"/>
                </a:lnTo>
                <a:lnTo>
                  <a:pt x="935968" y="432402"/>
                </a:lnTo>
                <a:lnTo>
                  <a:pt x="972441" y="406431"/>
                </a:lnTo>
                <a:lnTo>
                  <a:pt x="1009443" y="381167"/>
                </a:lnTo>
                <a:lnTo>
                  <a:pt x="1046964" y="356619"/>
                </a:lnTo>
                <a:lnTo>
                  <a:pt x="1084995" y="332796"/>
                </a:lnTo>
                <a:lnTo>
                  <a:pt x="1123526" y="309710"/>
                </a:lnTo>
                <a:lnTo>
                  <a:pt x="1162547" y="287370"/>
                </a:lnTo>
                <a:lnTo>
                  <a:pt x="1202047" y="265785"/>
                </a:lnTo>
                <a:lnTo>
                  <a:pt x="1242018" y="244965"/>
                </a:lnTo>
                <a:lnTo>
                  <a:pt x="1282449" y="224921"/>
                </a:lnTo>
                <a:lnTo>
                  <a:pt x="1323331" y="205661"/>
                </a:lnTo>
                <a:lnTo>
                  <a:pt x="1364653" y="187197"/>
                </a:lnTo>
                <a:lnTo>
                  <a:pt x="1406406" y="169537"/>
                </a:lnTo>
                <a:lnTo>
                  <a:pt x="1448580" y="152692"/>
                </a:lnTo>
                <a:lnTo>
                  <a:pt x="1491165" y="136672"/>
                </a:lnTo>
                <a:lnTo>
                  <a:pt x="1534151" y="121485"/>
                </a:lnTo>
                <a:lnTo>
                  <a:pt x="1577529" y="107143"/>
                </a:lnTo>
                <a:lnTo>
                  <a:pt x="1621288" y="93655"/>
                </a:lnTo>
                <a:lnTo>
                  <a:pt x="1665419" y="81031"/>
                </a:lnTo>
                <a:lnTo>
                  <a:pt x="1709912" y="69280"/>
                </a:lnTo>
                <a:lnTo>
                  <a:pt x="1754757" y="58413"/>
                </a:lnTo>
                <a:lnTo>
                  <a:pt x="1799944" y="48439"/>
                </a:lnTo>
                <a:lnTo>
                  <a:pt x="1845464" y="39368"/>
                </a:lnTo>
                <a:lnTo>
                  <a:pt x="1891306" y="31211"/>
                </a:lnTo>
                <a:lnTo>
                  <a:pt x="1937461" y="23976"/>
                </a:lnTo>
                <a:lnTo>
                  <a:pt x="1983919" y="17674"/>
                </a:lnTo>
                <a:lnTo>
                  <a:pt x="2030669" y="12314"/>
                </a:lnTo>
                <a:lnTo>
                  <a:pt x="2077703" y="7907"/>
                </a:lnTo>
                <a:lnTo>
                  <a:pt x="2125010" y="4462"/>
                </a:lnTo>
                <a:lnTo>
                  <a:pt x="2172581" y="1990"/>
                </a:lnTo>
                <a:lnTo>
                  <a:pt x="2220405" y="499"/>
                </a:lnTo>
                <a:lnTo>
                  <a:pt x="2268474" y="0"/>
                </a:lnTo>
                <a:lnTo>
                  <a:pt x="2316542" y="499"/>
                </a:lnTo>
                <a:lnTo>
                  <a:pt x="2364366" y="1990"/>
                </a:lnTo>
                <a:lnTo>
                  <a:pt x="2411937" y="4462"/>
                </a:lnTo>
                <a:lnTo>
                  <a:pt x="2459244" y="7907"/>
                </a:lnTo>
                <a:lnTo>
                  <a:pt x="2506278" y="12314"/>
                </a:lnTo>
                <a:lnTo>
                  <a:pt x="2553028" y="17674"/>
                </a:lnTo>
                <a:lnTo>
                  <a:pt x="2599486" y="23976"/>
                </a:lnTo>
                <a:lnTo>
                  <a:pt x="2645641" y="31211"/>
                </a:lnTo>
                <a:lnTo>
                  <a:pt x="2691483" y="39368"/>
                </a:lnTo>
                <a:lnTo>
                  <a:pt x="2737003" y="48439"/>
                </a:lnTo>
                <a:lnTo>
                  <a:pt x="2782190" y="58413"/>
                </a:lnTo>
                <a:lnTo>
                  <a:pt x="2827035" y="69280"/>
                </a:lnTo>
                <a:lnTo>
                  <a:pt x="2871528" y="81031"/>
                </a:lnTo>
                <a:lnTo>
                  <a:pt x="2915659" y="93655"/>
                </a:lnTo>
                <a:lnTo>
                  <a:pt x="2959418" y="107143"/>
                </a:lnTo>
                <a:lnTo>
                  <a:pt x="3002796" y="121485"/>
                </a:lnTo>
                <a:lnTo>
                  <a:pt x="3045782" y="136672"/>
                </a:lnTo>
                <a:lnTo>
                  <a:pt x="3088367" y="152692"/>
                </a:lnTo>
                <a:lnTo>
                  <a:pt x="3130541" y="169537"/>
                </a:lnTo>
                <a:lnTo>
                  <a:pt x="3172294" y="187197"/>
                </a:lnTo>
                <a:lnTo>
                  <a:pt x="3213616" y="205661"/>
                </a:lnTo>
                <a:lnTo>
                  <a:pt x="3254498" y="224921"/>
                </a:lnTo>
                <a:lnTo>
                  <a:pt x="3294929" y="244965"/>
                </a:lnTo>
                <a:lnTo>
                  <a:pt x="3334900" y="265785"/>
                </a:lnTo>
                <a:lnTo>
                  <a:pt x="3374400" y="287370"/>
                </a:lnTo>
                <a:lnTo>
                  <a:pt x="3413421" y="309710"/>
                </a:lnTo>
                <a:lnTo>
                  <a:pt x="3451952" y="332796"/>
                </a:lnTo>
                <a:lnTo>
                  <a:pt x="3489983" y="356619"/>
                </a:lnTo>
                <a:lnTo>
                  <a:pt x="3527504" y="381167"/>
                </a:lnTo>
                <a:lnTo>
                  <a:pt x="3564506" y="406431"/>
                </a:lnTo>
                <a:lnTo>
                  <a:pt x="3600979" y="432402"/>
                </a:lnTo>
                <a:lnTo>
                  <a:pt x="3636913" y="459069"/>
                </a:lnTo>
                <a:lnTo>
                  <a:pt x="3672298" y="486423"/>
                </a:lnTo>
                <a:lnTo>
                  <a:pt x="3707125" y="514454"/>
                </a:lnTo>
                <a:lnTo>
                  <a:pt x="3741383" y="543152"/>
                </a:lnTo>
                <a:lnTo>
                  <a:pt x="3775062" y="572507"/>
                </a:lnTo>
                <a:lnTo>
                  <a:pt x="3808153" y="602509"/>
                </a:lnTo>
                <a:lnTo>
                  <a:pt x="3840646" y="633149"/>
                </a:lnTo>
                <a:lnTo>
                  <a:pt x="3872531" y="664416"/>
                </a:lnTo>
                <a:lnTo>
                  <a:pt x="3903798" y="696301"/>
                </a:lnTo>
                <a:lnTo>
                  <a:pt x="3934438" y="728794"/>
                </a:lnTo>
                <a:lnTo>
                  <a:pt x="3964440" y="761885"/>
                </a:lnTo>
                <a:lnTo>
                  <a:pt x="3993795" y="795564"/>
                </a:lnTo>
                <a:lnTo>
                  <a:pt x="4022493" y="829822"/>
                </a:lnTo>
                <a:lnTo>
                  <a:pt x="4050524" y="864649"/>
                </a:lnTo>
                <a:lnTo>
                  <a:pt x="4077878" y="900034"/>
                </a:lnTo>
                <a:lnTo>
                  <a:pt x="4104545" y="935968"/>
                </a:lnTo>
                <a:lnTo>
                  <a:pt x="4130516" y="972441"/>
                </a:lnTo>
                <a:lnTo>
                  <a:pt x="4155780" y="1009443"/>
                </a:lnTo>
                <a:lnTo>
                  <a:pt x="4180328" y="1046964"/>
                </a:lnTo>
                <a:lnTo>
                  <a:pt x="4204151" y="1084995"/>
                </a:lnTo>
                <a:lnTo>
                  <a:pt x="4227237" y="1123526"/>
                </a:lnTo>
                <a:lnTo>
                  <a:pt x="4249577" y="1162547"/>
                </a:lnTo>
                <a:lnTo>
                  <a:pt x="4271162" y="1202047"/>
                </a:lnTo>
                <a:lnTo>
                  <a:pt x="4291982" y="1242018"/>
                </a:lnTo>
                <a:lnTo>
                  <a:pt x="4312026" y="1282449"/>
                </a:lnTo>
                <a:lnTo>
                  <a:pt x="4331286" y="1323331"/>
                </a:lnTo>
                <a:lnTo>
                  <a:pt x="4349750" y="1364653"/>
                </a:lnTo>
                <a:lnTo>
                  <a:pt x="4367410" y="1406406"/>
                </a:lnTo>
                <a:lnTo>
                  <a:pt x="4384255" y="1448580"/>
                </a:lnTo>
                <a:lnTo>
                  <a:pt x="4400275" y="1491165"/>
                </a:lnTo>
                <a:lnTo>
                  <a:pt x="4415462" y="1534151"/>
                </a:lnTo>
                <a:lnTo>
                  <a:pt x="4429804" y="1577529"/>
                </a:lnTo>
                <a:lnTo>
                  <a:pt x="4443292" y="1621288"/>
                </a:lnTo>
                <a:lnTo>
                  <a:pt x="4455916" y="1665419"/>
                </a:lnTo>
                <a:lnTo>
                  <a:pt x="4467667" y="1709912"/>
                </a:lnTo>
                <a:lnTo>
                  <a:pt x="4478534" y="1754757"/>
                </a:lnTo>
                <a:lnTo>
                  <a:pt x="4488508" y="1799944"/>
                </a:lnTo>
                <a:lnTo>
                  <a:pt x="4497579" y="1845464"/>
                </a:lnTo>
                <a:lnTo>
                  <a:pt x="4505736" y="1891306"/>
                </a:lnTo>
                <a:lnTo>
                  <a:pt x="4512971" y="1937461"/>
                </a:lnTo>
                <a:lnTo>
                  <a:pt x="4519273" y="1983919"/>
                </a:lnTo>
                <a:lnTo>
                  <a:pt x="4524633" y="2030669"/>
                </a:lnTo>
                <a:lnTo>
                  <a:pt x="4529040" y="2077703"/>
                </a:lnTo>
                <a:lnTo>
                  <a:pt x="4532485" y="2125010"/>
                </a:lnTo>
                <a:lnTo>
                  <a:pt x="4534957" y="2172581"/>
                </a:lnTo>
                <a:lnTo>
                  <a:pt x="4536448" y="2220405"/>
                </a:lnTo>
                <a:lnTo>
                  <a:pt x="4536948" y="2268474"/>
                </a:lnTo>
                <a:lnTo>
                  <a:pt x="4536448" y="2316542"/>
                </a:lnTo>
                <a:lnTo>
                  <a:pt x="4534957" y="2364366"/>
                </a:lnTo>
                <a:lnTo>
                  <a:pt x="4532485" y="2411937"/>
                </a:lnTo>
                <a:lnTo>
                  <a:pt x="4529040" y="2459244"/>
                </a:lnTo>
                <a:lnTo>
                  <a:pt x="4524633" y="2506278"/>
                </a:lnTo>
                <a:lnTo>
                  <a:pt x="4519273" y="2553028"/>
                </a:lnTo>
                <a:lnTo>
                  <a:pt x="4512971" y="2599486"/>
                </a:lnTo>
                <a:lnTo>
                  <a:pt x="4505736" y="2645641"/>
                </a:lnTo>
                <a:lnTo>
                  <a:pt x="4497579" y="2691483"/>
                </a:lnTo>
                <a:lnTo>
                  <a:pt x="4488508" y="2737003"/>
                </a:lnTo>
                <a:lnTo>
                  <a:pt x="4478534" y="2782190"/>
                </a:lnTo>
                <a:lnTo>
                  <a:pt x="4467667" y="2827035"/>
                </a:lnTo>
                <a:lnTo>
                  <a:pt x="4455916" y="2871528"/>
                </a:lnTo>
                <a:lnTo>
                  <a:pt x="4443292" y="2915659"/>
                </a:lnTo>
                <a:lnTo>
                  <a:pt x="4429804" y="2959418"/>
                </a:lnTo>
                <a:lnTo>
                  <a:pt x="4415462" y="3002796"/>
                </a:lnTo>
                <a:lnTo>
                  <a:pt x="4400275" y="3045782"/>
                </a:lnTo>
                <a:lnTo>
                  <a:pt x="4384255" y="3088367"/>
                </a:lnTo>
                <a:lnTo>
                  <a:pt x="4367410" y="3130541"/>
                </a:lnTo>
                <a:lnTo>
                  <a:pt x="4349750" y="3172294"/>
                </a:lnTo>
                <a:lnTo>
                  <a:pt x="4331286" y="3213616"/>
                </a:lnTo>
                <a:lnTo>
                  <a:pt x="4312026" y="3254498"/>
                </a:lnTo>
                <a:lnTo>
                  <a:pt x="4291982" y="3294929"/>
                </a:lnTo>
                <a:lnTo>
                  <a:pt x="4271162" y="3334900"/>
                </a:lnTo>
                <a:lnTo>
                  <a:pt x="4249577" y="3374400"/>
                </a:lnTo>
                <a:lnTo>
                  <a:pt x="4227237" y="3413421"/>
                </a:lnTo>
                <a:lnTo>
                  <a:pt x="4204151" y="3451952"/>
                </a:lnTo>
                <a:lnTo>
                  <a:pt x="4180328" y="3489983"/>
                </a:lnTo>
                <a:lnTo>
                  <a:pt x="4155780" y="3527504"/>
                </a:lnTo>
                <a:lnTo>
                  <a:pt x="4130516" y="3564506"/>
                </a:lnTo>
                <a:lnTo>
                  <a:pt x="4104545" y="3600979"/>
                </a:lnTo>
                <a:lnTo>
                  <a:pt x="4077878" y="3636913"/>
                </a:lnTo>
                <a:lnTo>
                  <a:pt x="4050524" y="3672298"/>
                </a:lnTo>
                <a:lnTo>
                  <a:pt x="4022493" y="3707125"/>
                </a:lnTo>
                <a:lnTo>
                  <a:pt x="3993795" y="3741383"/>
                </a:lnTo>
                <a:lnTo>
                  <a:pt x="3964440" y="3775062"/>
                </a:lnTo>
                <a:lnTo>
                  <a:pt x="3934438" y="3808153"/>
                </a:lnTo>
                <a:lnTo>
                  <a:pt x="3903798" y="3840646"/>
                </a:lnTo>
                <a:lnTo>
                  <a:pt x="3872531" y="3872531"/>
                </a:lnTo>
                <a:lnTo>
                  <a:pt x="3840646" y="3903798"/>
                </a:lnTo>
                <a:lnTo>
                  <a:pt x="3808153" y="3934438"/>
                </a:lnTo>
                <a:lnTo>
                  <a:pt x="3775062" y="3964440"/>
                </a:lnTo>
                <a:lnTo>
                  <a:pt x="3741383" y="3993795"/>
                </a:lnTo>
                <a:lnTo>
                  <a:pt x="3707125" y="4022493"/>
                </a:lnTo>
                <a:lnTo>
                  <a:pt x="3672298" y="4050524"/>
                </a:lnTo>
                <a:lnTo>
                  <a:pt x="3636913" y="4077878"/>
                </a:lnTo>
                <a:lnTo>
                  <a:pt x="3600979" y="4104545"/>
                </a:lnTo>
                <a:lnTo>
                  <a:pt x="3564506" y="4130516"/>
                </a:lnTo>
                <a:lnTo>
                  <a:pt x="3527504" y="4155780"/>
                </a:lnTo>
                <a:lnTo>
                  <a:pt x="3489983" y="4180328"/>
                </a:lnTo>
                <a:lnTo>
                  <a:pt x="3451952" y="4204151"/>
                </a:lnTo>
                <a:lnTo>
                  <a:pt x="3413421" y="4227237"/>
                </a:lnTo>
                <a:lnTo>
                  <a:pt x="3374400" y="4249577"/>
                </a:lnTo>
                <a:lnTo>
                  <a:pt x="3334900" y="4271162"/>
                </a:lnTo>
                <a:lnTo>
                  <a:pt x="3294929" y="4291982"/>
                </a:lnTo>
                <a:lnTo>
                  <a:pt x="3254498" y="4312026"/>
                </a:lnTo>
                <a:lnTo>
                  <a:pt x="3213616" y="4331286"/>
                </a:lnTo>
                <a:lnTo>
                  <a:pt x="3172294" y="4349750"/>
                </a:lnTo>
                <a:lnTo>
                  <a:pt x="3130541" y="4367410"/>
                </a:lnTo>
                <a:lnTo>
                  <a:pt x="3088367" y="4384255"/>
                </a:lnTo>
                <a:lnTo>
                  <a:pt x="3045782" y="4400275"/>
                </a:lnTo>
                <a:lnTo>
                  <a:pt x="3002796" y="4415462"/>
                </a:lnTo>
                <a:lnTo>
                  <a:pt x="2959418" y="4429804"/>
                </a:lnTo>
                <a:lnTo>
                  <a:pt x="2915659" y="4443292"/>
                </a:lnTo>
                <a:lnTo>
                  <a:pt x="2871528" y="4455916"/>
                </a:lnTo>
                <a:lnTo>
                  <a:pt x="2827035" y="4467667"/>
                </a:lnTo>
                <a:lnTo>
                  <a:pt x="2782190" y="4478534"/>
                </a:lnTo>
                <a:lnTo>
                  <a:pt x="2737003" y="4488508"/>
                </a:lnTo>
                <a:lnTo>
                  <a:pt x="2691483" y="4497579"/>
                </a:lnTo>
                <a:lnTo>
                  <a:pt x="2645641" y="4505736"/>
                </a:lnTo>
                <a:lnTo>
                  <a:pt x="2599486" y="4512971"/>
                </a:lnTo>
                <a:lnTo>
                  <a:pt x="2553028" y="4519273"/>
                </a:lnTo>
                <a:lnTo>
                  <a:pt x="2506278" y="4524633"/>
                </a:lnTo>
                <a:lnTo>
                  <a:pt x="2459244" y="4529040"/>
                </a:lnTo>
                <a:lnTo>
                  <a:pt x="2411937" y="4532485"/>
                </a:lnTo>
                <a:lnTo>
                  <a:pt x="2364366" y="4534957"/>
                </a:lnTo>
                <a:lnTo>
                  <a:pt x="2316542" y="4536448"/>
                </a:lnTo>
                <a:lnTo>
                  <a:pt x="2268474" y="4536948"/>
                </a:lnTo>
                <a:lnTo>
                  <a:pt x="2220405" y="4536448"/>
                </a:lnTo>
                <a:lnTo>
                  <a:pt x="2172581" y="4534957"/>
                </a:lnTo>
                <a:lnTo>
                  <a:pt x="2125010" y="4532485"/>
                </a:lnTo>
                <a:lnTo>
                  <a:pt x="2077703" y="4529040"/>
                </a:lnTo>
                <a:lnTo>
                  <a:pt x="2030669" y="4524633"/>
                </a:lnTo>
                <a:lnTo>
                  <a:pt x="1983919" y="4519273"/>
                </a:lnTo>
                <a:lnTo>
                  <a:pt x="1937461" y="4512971"/>
                </a:lnTo>
                <a:lnTo>
                  <a:pt x="1891306" y="4505736"/>
                </a:lnTo>
                <a:lnTo>
                  <a:pt x="1845464" y="4497579"/>
                </a:lnTo>
                <a:lnTo>
                  <a:pt x="1799944" y="4488508"/>
                </a:lnTo>
                <a:lnTo>
                  <a:pt x="1754757" y="4478534"/>
                </a:lnTo>
                <a:lnTo>
                  <a:pt x="1709912" y="4467667"/>
                </a:lnTo>
                <a:lnTo>
                  <a:pt x="1665419" y="4455916"/>
                </a:lnTo>
                <a:lnTo>
                  <a:pt x="1621288" y="4443292"/>
                </a:lnTo>
                <a:lnTo>
                  <a:pt x="1577529" y="4429804"/>
                </a:lnTo>
                <a:lnTo>
                  <a:pt x="1534151" y="4415462"/>
                </a:lnTo>
                <a:lnTo>
                  <a:pt x="1491165" y="4400275"/>
                </a:lnTo>
                <a:lnTo>
                  <a:pt x="1448580" y="4384255"/>
                </a:lnTo>
                <a:lnTo>
                  <a:pt x="1406406" y="4367410"/>
                </a:lnTo>
                <a:lnTo>
                  <a:pt x="1364653" y="4349750"/>
                </a:lnTo>
                <a:lnTo>
                  <a:pt x="1323331" y="4331286"/>
                </a:lnTo>
                <a:lnTo>
                  <a:pt x="1282449" y="4312026"/>
                </a:lnTo>
                <a:lnTo>
                  <a:pt x="1242018" y="4291982"/>
                </a:lnTo>
                <a:lnTo>
                  <a:pt x="1202047" y="4271162"/>
                </a:lnTo>
                <a:lnTo>
                  <a:pt x="1162547" y="4249577"/>
                </a:lnTo>
                <a:lnTo>
                  <a:pt x="1123526" y="4227237"/>
                </a:lnTo>
                <a:lnTo>
                  <a:pt x="1084995" y="4204151"/>
                </a:lnTo>
                <a:lnTo>
                  <a:pt x="1046964" y="4180328"/>
                </a:lnTo>
                <a:lnTo>
                  <a:pt x="1009443" y="4155780"/>
                </a:lnTo>
                <a:lnTo>
                  <a:pt x="972441" y="4130516"/>
                </a:lnTo>
                <a:lnTo>
                  <a:pt x="935968" y="4104545"/>
                </a:lnTo>
                <a:lnTo>
                  <a:pt x="900034" y="4077878"/>
                </a:lnTo>
                <a:lnTo>
                  <a:pt x="864649" y="4050524"/>
                </a:lnTo>
                <a:lnTo>
                  <a:pt x="829822" y="4022493"/>
                </a:lnTo>
                <a:lnTo>
                  <a:pt x="795564" y="3993795"/>
                </a:lnTo>
                <a:lnTo>
                  <a:pt x="761885" y="3964440"/>
                </a:lnTo>
                <a:lnTo>
                  <a:pt x="728794" y="3934438"/>
                </a:lnTo>
                <a:lnTo>
                  <a:pt x="696301" y="3903798"/>
                </a:lnTo>
                <a:lnTo>
                  <a:pt x="664416" y="3872531"/>
                </a:lnTo>
                <a:lnTo>
                  <a:pt x="633149" y="3840646"/>
                </a:lnTo>
                <a:lnTo>
                  <a:pt x="602509" y="3808153"/>
                </a:lnTo>
                <a:lnTo>
                  <a:pt x="572507" y="3775062"/>
                </a:lnTo>
                <a:lnTo>
                  <a:pt x="543152" y="3741383"/>
                </a:lnTo>
                <a:lnTo>
                  <a:pt x="514454" y="3707125"/>
                </a:lnTo>
                <a:lnTo>
                  <a:pt x="486423" y="3672298"/>
                </a:lnTo>
                <a:lnTo>
                  <a:pt x="459069" y="3636913"/>
                </a:lnTo>
                <a:lnTo>
                  <a:pt x="432402" y="3600979"/>
                </a:lnTo>
                <a:lnTo>
                  <a:pt x="406431" y="3564506"/>
                </a:lnTo>
                <a:lnTo>
                  <a:pt x="381167" y="3527504"/>
                </a:lnTo>
                <a:lnTo>
                  <a:pt x="356619" y="3489983"/>
                </a:lnTo>
                <a:lnTo>
                  <a:pt x="332796" y="3451952"/>
                </a:lnTo>
                <a:lnTo>
                  <a:pt x="309710" y="3413421"/>
                </a:lnTo>
                <a:lnTo>
                  <a:pt x="287370" y="3374400"/>
                </a:lnTo>
                <a:lnTo>
                  <a:pt x="265785" y="3334900"/>
                </a:lnTo>
                <a:lnTo>
                  <a:pt x="244965" y="3294929"/>
                </a:lnTo>
                <a:lnTo>
                  <a:pt x="224921" y="3254498"/>
                </a:lnTo>
                <a:lnTo>
                  <a:pt x="205661" y="3213616"/>
                </a:lnTo>
                <a:lnTo>
                  <a:pt x="187197" y="3172294"/>
                </a:lnTo>
                <a:lnTo>
                  <a:pt x="169537" y="3130541"/>
                </a:lnTo>
                <a:lnTo>
                  <a:pt x="152692" y="3088367"/>
                </a:lnTo>
                <a:lnTo>
                  <a:pt x="136672" y="3045782"/>
                </a:lnTo>
                <a:lnTo>
                  <a:pt x="121485" y="3002796"/>
                </a:lnTo>
                <a:lnTo>
                  <a:pt x="107143" y="2959418"/>
                </a:lnTo>
                <a:lnTo>
                  <a:pt x="93655" y="2915659"/>
                </a:lnTo>
                <a:lnTo>
                  <a:pt x="81031" y="2871528"/>
                </a:lnTo>
                <a:lnTo>
                  <a:pt x="69280" y="2827035"/>
                </a:lnTo>
                <a:lnTo>
                  <a:pt x="58413" y="2782190"/>
                </a:lnTo>
                <a:lnTo>
                  <a:pt x="48439" y="2737003"/>
                </a:lnTo>
                <a:lnTo>
                  <a:pt x="39368" y="2691483"/>
                </a:lnTo>
                <a:lnTo>
                  <a:pt x="31211" y="2645641"/>
                </a:lnTo>
                <a:lnTo>
                  <a:pt x="23976" y="2599486"/>
                </a:lnTo>
                <a:lnTo>
                  <a:pt x="17674" y="2553028"/>
                </a:lnTo>
                <a:lnTo>
                  <a:pt x="12314" y="2506278"/>
                </a:lnTo>
                <a:lnTo>
                  <a:pt x="7907" y="2459244"/>
                </a:lnTo>
                <a:lnTo>
                  <a:pt x="4462" y="2411937"/>
                </a:lnTo>
                <a:lnTo>
                  <a:pt x="1990" y="2364366"/>
                </a:lnTo>
                <a:lnTo>
                  <a:pt x="499" y="2316542"/>
                </a:lnTo>
                <a:lnTo>
                  <a:pt x="0" y="2268474"/>
                </a:lnTo>
                <a:close/>
              </a:path>
            </a:pathLst>
          </a:custGeom>
          <a:ln w="88392">
            <a:solidFill>
              <a:srgbClr val="002458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3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" name="object 6"/>
          <p:cNvSpPr txBox="1">
            <a:spLocks noGrp="1"/>
          </p:cNvSpPr>
          <p:nvPr>
            <p:ph type="title"/>
          </p:nvPr>
        </p:nvSpPr>
        <p:spPr>
          <a:xfrm>
            <a:off x="849543" y="133985"/>
            <a:ext cx="8643585" cy="901689"/>
          </a:xfrm>
          <a:prstGeom prst="rect">
            <a:avLst/>
          </a:prstGeom>
        </p:spPr>
        <p:txBody>
          <a:bodyPr vert="horz" wrap="square" lIns="0" tIns="9049" rIns="0" bIns="0" rtlCol="0">
            <a:spAutoFit/>
          </a:bodyPr>
          <a:lstStyle/>
          <a:p>
            <a:pPr marL="9525" marR="3810">
              <a:spcBef>
                <a:spcPts val="71"/>
              </a:spcBef>
            </a:pPr>
            <a:r>
              <a:rPr lang="sr-Latn-BA" b="0" spc="-8" dirty="0"/>
              <a:t>         </a:t>
            </a:r>
            <a:r>
              <a:rPr spc="-8" dirty="0"/>
              <a:t>ECL Comfort </a:t>
            </a:r>
            <a:r>
              <a:rPr spc="-4" dirty="0"/>
              <a:t>310</a:t>
            </a:r>
            <a:r>
              <a:rPr lang="sr-Latn-BA" spc="-4" dirty="0"/>
              <a:t>/296</a:t>
            </a:r>
            <a:br>
              <a:rPr lang="sr-Latn-BA" spc="-4" dirty="0"/>
            </a:br>
            <a:r>
              <a:rPr spc="-4" dirty="0"/>
              <a:t> </a:t>
            </a:r>
            <a:br>
              <a:rPr lang="sr-Latn-BA" b="0" spc="-4" dirty="0"/>
            </a:br>
            <a:endParaRPr sz="1600" spc="-8" dirty="0"/>
          </a:p>
        </p:txBody>
      </p:sp>
      <p:sp>
        <p:nvSpPr>
          <p:cNvPr id="7" name="object 7"/>
          <p:cNvSpPr txBox="1">
            <a:spLocks noGrp="1"/>
          </p:cNvSpPr>
          <p:nvPr>
            <p:ph type="sldNum" sz="quarter" idx="7"/>
          </p:nvPr>
        </p:nvSpPr>
        <p:spPr>
          <a:xfrm>
            <a:off x="1282141" y="3708348"/>
            <a:ext cx="1258253" cy="115416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9050" marR="0" lvl="0" indent="0" algn="l" defTabSz="914400" rtl="0" eaLnBrk="1" fontAlgn="auto" latinLnBrk="0" hangingPunct="1">
              <a:lnSpc>
                <a:spcPct val="100000"/>
              </a:lnSpc>
              <a:spcBef>
                <a:spcPts val="9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D60167-4931-47E6-BA6A-407CBD079E47}" type="slidenum">
              <a:rPr kumimoji="0" sz="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Verdana"/>
              </a:rPr>
              <a:pPr marL="1905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9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r>
              <a:rPr kumimoji="0" sz="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Verdana"/>
              </a:rPr>
              <a:t> </a:t>
            </a:r>
            <a:r>
              <a:rPr kumimoji="0" sz="675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</a:rPr>
              <a:t>| </a:t>
            </a:r>
            <a:r>
              <a:rPr kumimoji="0" sz="600" b="0" i="0" u="none" strike="noStrike" kern="1200" cap="none" spc="-4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</a:rPr>
              <a:t>Department (slide</a:t>
            </a:r>
            <a:r>
              <a:rPr kumimoji="0" sz="600" b="0" i="0" u="none" strike="noStrike" kern="1200" cap="none" spc="-19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</a:rPr>
              <a:t> </a:t>
            </a:r>
            <a:r>
              <a:rPr kumimoji="0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</a:rPr>
              <a:t>master)</a:t>
            </a:r>
            <a:endParaRPr kumimoji="0" sz="67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B1A7221-01B5-B6C2-9D26-FEDD7435EC1A}"/>
              </a:ext>
            </a:extLst>
          </p:cNvPr>
          <p:cNvSpPr txBox="1"/>
          <p:nvPr/>
        </p:nvSpPr>
        <p:spPr>
          <a:xfrm>
            <a:off x="480771" y="3919899"/>
            <a:ext cx="5071481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9525" marR="974884" lvl="0" indent="0" algn="l" defTabSz="914400" rtl="0" eaLnBrk="1" fontAlgn="auto" latinLnBrk="0" hangingPunct="1">
              <a:lnSpc>
                <a:spcPct val="100000"/>
              </a:lnSpc>
              <a:spcBef>
                <a:spcPts val="71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r-Latn-BA" sz="1600" b="1" i="0" u="none" strike="noStrike" kern="1200" cap="none" spc="-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Verdana"/>
              </a:rPr>
              <a:t>Komu</a:t>
            </a:r>
            <a:r>
              <a:rPr kumimoji="0" lang="sr-Latn-BA" sz="1600" b="1" i="0" u="none" strike="noStrike" kern="1200" cap="none" spc="-1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Verdana"/>
              </a:rPr>
              <a:t>n</a:t>
            </a:r>
            <a:r>
              <a:rPr kumimoji="0" lang="sr-Latn-BA" sz="1600" b="1" i="0" u="none" strike="noStrike" kern="1200" cap="none" spc="-8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Verdana"/>
              </a:rPr>
              <a:t>ikacija</a:t>
            </a:r>
            <a:r>
              <a:rPr kumimoji="0" lang="sr-Latn-BA" sz="1600" b="0" i="0" u="none" strike="noStrike" kern="1200" cap="none" spc="-8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Verdana"/>
              </a:rPr>
              <a:t> sa </a:t>
            </a:r>
            <a:r>
              <a:rPr kumimoji="0" lang="sr-Latn-BA" sz="1600" b="1" i="0" u="none" strike="noStrike" kern="1200" cap="none" spc="-8" normalizeH="0" baseline="0" noProof="0" dirty="0">
                <a:ln>
                  <a:noFill/>
                </a:ln>
                <a:solidFill>
                  <a:srgbClr val="E2000F"/>
                </a:solidFill>
                <a:effectLst/>
                <a:uLnTx/>
                <a:uFillTx/>
                <a:latin typeface="Verdana"/>
                <a:ea typeface="+mn-ea"/>
                <a:cs typeface="Verdana"/>
              </a:rPr>
              <a:t>SCADA</a:t>
            </a:r>
            <a:r>
              <a:rPr kumimoji="0" lang="sr-Latn-BA" sz="1600" b="0" i="0" u="none" strike="noStrike" kern="1200" cap="none" spc="-8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Verdana"/>
              </a:rPr>
              <a:t> sistemom </a:t>
            </a:r>
            <a:endParaRPr kumimoji="0" lang="sr-Latn-BA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Verdana"/>
            </a:endParaRPr>
          </a:p>
        </p:txBody>
      </p:sp>
      <p:sp>
        <p:nvSpPr>
          <p:cNvPr id="8" name="Rectangle 99">
            <a:extLst>
              <a:ext uri="{FF2B5EF4-FFF2-40B4-BE49-F238E27FC236}">
                <a16:creationId xmlns:a16="http://schemas.microsoft.com/office/drawing/2014/main" id="{3CA25B1D-AB12-18D1-4DE9-67BAA9B06264}"/>
              </a:ext>
            </a:extLst>
          </p:cNvPr>
          <p:cNvSpPr/>
          <p:nvPr/>
        </p:nvSpPr>
        <p:spPr>
          <a:xfrm>
            <a:off x="164240" y="86627"/>
            <a:ext cx="8815520" cy="640800"/>
          </a:xfrm>
          <a:custGeom>
            <a:avLst/>
            <a:gdLst>
              <a:gd name="connsiteX0" fmla="*/ 0 w 3590554"/>
              <a:gd name="connsiteY0" fmla="*/ 0 h 640800"/>
              <a:gd name="connsiteX1" fmla="*/ 3590554 w 3590554"/>
              <a:gd name="connsiteY1" fmla="*/ 0 h 640800"/>
              <a:gd name="connsiteX2" fmla="*/ 3590554 w 3590554"/>
              <a:gd name="connsiteY2" fmla="*/ 640800 h 640800"/>
              <a:gd name="connsiteX3" fmla="*/ 0 w 3590554"/>
              <a:gd name="connsiteY3" fmla="*/ 640800 h 640800"/>
              <a:gd name="connsiteX4" fmla="*/ 0 w 3590554"/>
              <a:gd name="connsiteY4" fmla="*/ 0 h 640800"/>
              <a:gd name="connsiteX0" fmla="*/ 0 w 3593306"/>
              <a:gd name="connsiteY0" fmla="*/ 302 h 641102"/>
              <a:gd name="connsiteX1" fmla="*/ 3590554 w 3593306"/>
              <a:gd name="connsiteY1" fmla="*/ 302 h 641102"/>
              <a:gd name="connsiteX2" fmla="*/ 3593306 w 3593306"/>
              <a:gd name="connsiteY2" fmla="*/ 0 h 641102"/>
              <a:gd name="connsiteX3" fmla="*/ 3590554 w 3593306"/>
              <a:gd name="connsiteY3" fmla="*/ 641102 h 641102"/>
              <a:gd name="connsiteX4" fmla="*/ 0 w 3593306"/>
              <a:gd name="connsiteY4" fmla="*/ 641102 h 641102"/>
              <a:gd name="connsiteX5" fmla="*/ 0 w 3593306"/>
              <a:gd name="connsiteY5" fmla="*/ 302 h 641102"/>
              <a:gd name="connsiteX0" fmla="*/ 0 w 3593675"/>
              <a:gd name="connsiteY0" fmla="*/ 302 h 641102"/>
              <a:gd name="connsiteX1" fmla="*/ 3590554 w 3593675"/>
              <a:gd name="connsiteY1" fmla="*/ 302 h 641102"/>
              <a:gd name="connsiteX2" fmla="*/ 3593306 w 3593675"/>
              <a:gd name="connsiteY2" fmla="*/ 0 h 641102"/>
              <a:gd name="connsiteX3" fmla="*/ 3590554 w 3593675"/>
              <a:gd name="connsiteY3" fmla="*/ 641102 h 641102"/>
              <a:gd name="connsiteX4" fmla="*/ 0 w 3593675"/>
              <a:gd name="connsiteY4" fmla="*/ 641102 h 641102"/>
              <a:gd name="connsiteX5" fmla="*/ 0 w 3593675"/>
              <a:gd name="connsiteY5" fmla="*/ 302 h 641102"/>
              <a:gd name="connsiteX0" fmla="*/ 0 w 3860011"/>
              <a:gd name="connsiteY0" fmla="*/ 0 h 640800"/>
              <a:gd name="connsiteX1" fmla="*/ 3590554 w 3860011"/>
              <a:gd name="connsiteY1" fmla="*/ 0 h 640800"/>
              <a:gd name="connsiteX2" fmla="*/ 3860006 w 3860011"/>
              <a:gd name="connsiteY2" fmla="*/ 485473 h 640800"/>
              <a:gd name="connsiteX3" fmla="*/ 3590554 w 3860011"/>
              <a:gd name="connsiteY3" fmla="*/ 640800 h 640800"/>
              <a:gd name="connsiteX4" fmla="*/ 0 w 3860011"/>
              <a:gd name="connsiteY4" fmla="*/ 640800 h 640800"/>
              <a:gd name="connsiteX5" fmla="*/ 0 w 3860011"/>
              <a:gd name="connsiteY5" fmla="*/ 0 h 640800"/>
              <a:gd name="connsiteX0" fmla="*/ 0 w 3733810"/>
              <a:gd name="connsiteY0" fmla="*/ 0 h 640800"/>
              <a:gd name="connsiteX1" fmla="*/ 3590554 w 3733810"/>
              <a:gd name="connsiteY1" fmla="*/ 0 h 640800"/>
              <a:gd name="connsiteX2" fmla="*/ 3733799 w 3733810"/>
              <a:gd name="connsiteY2" fmla="*/ 335454 h 640800"/>
              <a:gd name="connsiteX3" fmla="*/ 3590554 w 3733810"/>
              <a:gd name="connsiteY3" fmla="*/ 640800 h 640800"/>
              <a:gd name="connsiteX4" fmla="*/ 0 w 3733810"/>
              <a:gd name="connsiteY4" fmla="*/ 640800 h 640800"/>
              <a:gd name="connsiteX5" fmla="*/ 0 w 3733810"/>
              <a:gd name="connsiteY5" fmla="*/ 0 h 640800"/>
              <a:gd name="connsiteX0" fmla="*/ 0 w 3762383"/>
              <a:gd name="connsiteY0" fmla="*/ 0 h 640800"/>
              <a:gd name="connsiteX1" fmla="*/ 3590554 w 3762383"/>
              <a:gd name="connsiteY1" fmla="*/ 0 h 640800"/>
              <a:gd name="connsiteX2" fmla="*/ 3762374 w 3762383"/>
              <a:gd name="connsiteY2" fmla="*/ 314023 h 640800"/>
              <a:gd name="connsiteX3" fmla="*/ 3590554 w 3762383"/>
              <a:gd name="connsiteY3" fmla="*/ 640800 h 640800"/>
              <a:gd name="connsiteX4" fmla="*/ 0 w 3762383"/>
              <a:gd name="connsiteY4" fmla="*/ 640800 h 640800"/>
              <a:gd name="connsiteX5" fmla="*/ 0 w 3762383"/>
              <a:gd name="connsiteY5" fmla="*/ 0 h 640800"/>
              <a:gd name="connsiteX0" fmla="*/ 0 w 3762374"/>
              <a:gd name="connsiteY0" fmla="*/ 0 h 640800"/>
              <a:gd name="connsiteX1" fmla="*/ 3590554 w 3762374"/>
              <a:gd name="connsiteY1" fmla="*/ 0 h 640800"/>
              <a:gd name="connsiteX2" fmla="*/ 3762374 w 3762374"/>
              <a:gd name="connsiteY2" fmla="*/ 314023 h 640800"/>
              <a:gd name="connsiteX3" fmla="*/ 3590554 w 3762374"/>
              <a:gd name="connsiteY3" fmla="*/ 640800 h 640800"/>
              <a:gd name="connsiteX4" fmla="*/ 0 w 3762374"/>
              <a:gd name="connsiteY4" fmla="*/ 640800 h 640800"/>
              <a:gd name="connsiteX5" fmla="*/ 0 w 3762374"/>
              <a:gd name="connsiteY5" fmla="*/ 0 h 640800"/>
              <a:gd name="connsiteX0" fmla="*/ 0 w 3762374"/>
              <a:gd name="connsiteY0" fmla="*/ 0 h 640800"/>
              <a:gd name="connsiteX1" fmla="*/ 3590554 w 3762374"/>
              <a:gd name="connsiteY1" fmla="*/ 0 h 640800"/>
              <a:gd name="connsiteX2" fmla="*/ 3762374 w 3762374"/>
              <a:gd name="connsiteY2" fmla="*/ 314023 h 640800"/>
              <a:gd name="connsiteX3" fmla="*/ 3590554 w 3762374"/>
              <a:gd name="connsiteY3" fmla="*/ 640800 h 640800"/>
              <a:gd name="connsiteX4" fmla="*/ 0 w 3762374"/>
              <a:gd name="connsiteY4" fmla="*/ 640800 h 640800"/>
              <a:gd name="connsiteX5" fmla="*/ 0 w 3762374"/>
              <a:gd name="connsiteY5" fmla="*/ 0 h 640800"/>
              <a:gd name="connsiteX0" fmla="*/ 0 w 3762374"/>
              <a:gd name="connsiteY0" fmla="*/ 0 h 640800"/>
              <a:gd name="connsiteX1" fmla="*/ 3590554 w 3762374"/>
              <a:gd name="connsiteY1" fmla="*/ 0 h 640800"/>
              <a:gd name="connsiteX2" fmla="*/ 3762374 w 3762374"/>
              <a:gd name="connsiteY2" fmla="*/ 314023 h 640800"/>
              <a:gd name="connsiteX3" fmla="*/ 3590554 w 3762374"/>
              <a:gd name="connsiteY3" fmla="*/ 640800 h 640800"/>
              <a:gd name="connsiteX4" fmla="*/ 0 w 3762374"/>
              <a:gd name="connsiteY4" fmla="*/ 640800 h 640800"/>
              <a:gd name="connsiteX5" fmla="*/ 0 w 3762374"/>
              <a:gd name="connsiteY5" fmla="*/ 0 h 640800"/>
              <a:gd name="connsiteX0" fmla="*/ 0 w 3762374"/>
              <a:gd name="connsiteY0" fmla="*/ 0 h 640800"/>
              <a:gd name="connsiteX1" fmla="*/ 3590554 w 3762374"/>
              <a:gd name="connsiteY1" fmla="*/ 0 h 640800"/>
              <a:gd name="connsiteX2" fmla="*/ 3762374 w 3762374"/>
              <a:gd name="connsiteY2" fmla="*/ 314023 h 640800"/>
              <a:gd name="connsiteX3" fmla="*/ 3590554 w 3762374"/>
              <a:gd name="connsiteY3" fmla="*/ 640800 h 640800"/>
              <a:gd name="connsiteX4" fmla="*/ 0 w 3762374"/>
              <a:gd name="connsiteY4" fmla="*/ 640800 h 640800"/>
              <a:gd name="connsiteX5" fmla="*/ 0 w 3762374"/>
              <a:gd name="connsiteY5" fmla="*/ 0 h 640800"/>
              <a:gd name="connsiteX0" fmla="*/ 0 w 3767136"/>
              <a:gd name="connsiteY0" fmla="*/ 0 h 640800"/>
              <a:gd name="connsiteX1" fmla="*/ 3590554 w 3767136"/>
              <a:gd name="connsiteY1" fmla="*/ 0 h 640800"/>
              <a:gd name="connsiteX2" fmla="*/ 3767136 w 3767136"/>
              <a:gd name="connsiteY2" fmla="*/ 323548 h 640800"/>
              <a:gd name="connsiteX3" fmla="*/ 3590554 w 3767136"/>
              <a:gd name="connsiteY3" fmla="*/ 640800 h 640800"/>
              <a:gd name="connsiteX4" fmla="*/ 0 w 3767136"/>
              <a:gd name="connsiteY4" fmla="*/ 640800 h 640800"/>
              <a:gd name="connsiteX5" fmla="*/ 0 w 3767136"/>
              <a:gd name="connsiteY5" fmla="*/ 0 h 640800"/>
              <a:gd name="connsiteX0" fmla="*/ 0 w 3767136"/>
              <a:gd name="connsiteY0" fmla="*/ 0 h 640800"/>
              <a:gd name="connsiteX1" fmla="*/ 3590554 w 3767136"/>
              <a:gd name="connsiteY1" fmla="*/ 0 h 640800"/>
              <a:gd name="connsiteX2" fmla="*/ 3767136 w 3767136"/>
              <a:gd name="connsiteY2" fmla="*/ 323548 h 640800"/>
              <a:gd name="connsiteX3" fmla="*/ 3590554 w 3767136"/>
              <a:gd name="connsiteY3" fmla="*/ 640800 h 640800"/>
              <a:gd name="connsiteX4" fmla="*/ 0 w 3767136"/>
              <a:gd name="connsiteY4" fmla="*/ 640800 h 640800"/>
              <a:gd name="connsiteX5" fmla="*/ 0 w 3767136"/>
              <a:gd name="connsiteY5" fmla="*/ 0 h 640800"/>
              <a:gd name="connsiteX0" fmla="*/ 0 w 3767136"/>
              <a:gd name="connsiteY0" fmla="*/ 0 h 640800"/>
              <a:gd name="connsiteX1" fmla="*/ 3590554 w 3767136"/>
              <a:gd name="connsiteY1" fmla="*/ 0 h 640800"/>
              <a:gd name="connsiteX2" fmla="*/ 3767136 w 3767136"/>
              <a:gd name="connsiteY2" fmla="*/ 323548 h 640800"/>
              <a:gd name="connsiteX3" fmla="*/ 3590554 w 3767136"/>
              <a:gd name="connsiteY3" fmla="*/ 640800 h 640800"/>
              <a:gd name="connsiteX4" fmla="*/ 0 w 3767136"/>
              <a:gd name="connsiteY4" fmla="*/ 640800 h 640800"/>
              <a:gd name="connsiteX5" fmla="*/ 0 w 3767136"/>
              <a:gd name="connsiteY5" fmla="*/ 0 h 640800"/>
              <a:gd name="connsiteX0" fmla="*/ 0 w 3590554"/>
              <a:gd name="connsiteY0" fmla="*/ 0 h 640800"/>
              <a:gd name="connsiteX1" fmla="*/ 3590554 w 3590554"/>
              <a:gd name="connsiteY1" fmla="*/ 0 h 640800"/>
              <a:gd name="connsiteX2" fmla="*/ 3590554 w 3590554"/>
              <a:gd name="connsiteY2" fmla="*/ 640800 h 640800"/>
              <a:gd name="connsiteX3" fmla="*/ 0 w 3590554"/>
              <a:gd name="connsiteY3" fmla="*/ 640800 h 640800"/>
              <a:gd name="connsiteX4" fmla="*/ 0 w 3590554"/>
              <a:gd name="connsiteY4" fmla="*/ 0 h 640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90554" h="640800">
                <a:moveTo>
                  <a:pt x="0" y="0"/>
                </a:moveTo>
                <a:lnTo>
                  <a:pt x="3590554" y="0"/>
                </a:lnTo>
                <a:lnTo>
                  <a:pt x="3590554" y="640800"/>
                </a:lnTo>
                <a:lnTo>
                  <a:pt x="0" y="640800"/>
                </a:lnTo>
                <a:lnTo>
                  <a:pt x="0" y="0"/>
                </a:lnTo>
                <a:close/>
              </a:path>
            </a:pathLst>
          </a:custGeom>
          <a:solidFill>
            <a:schemeClr val="bg2">
              <a:lumMod val="60000"/>
              <a:lumOff val="40000"/>
              <a:alpha val="32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" name="Arrow: Right 100">
            <a:extLst>
              <a:ext uri="{FF2B5EF4-FFF2-40B4-BE49-F238E27FC236}">
                <a16:creationId xmlns:a16="http://schemas.microsoft.com/office/drawing/2014/main" id="{F33449AE-EE2D-3436-254F-825B985A42ED}"/>
              </a:ext>
            </a:extLst>
          </p:cNvPr>
          <p:cNvSpPr/>
          <p:nvPr/>
        </p:nvSpPr>
        <p:spPr>
          <a:xfrm>
            <a:off x="36171" y="29354"/>
            <a:ext cx="889200" cy="640800"/>
          </a:xfrm>
          <a:prstGeom prst="rightArrow">
            <a:avLst>
              <a:gd name="adj1" fmla="val 100000"/>
              <a:gd name="adj2" fmla="val 27281"/>
            </a:avLst>
          </a:prstGeom>
          <a:gradFill flip="none" rotWithShape="1">
            <a:gsLst>
              <a:gs pos="0">
                <a:schemeClr val="accent2">
                  <a:shade val="30000"/>
                  <a:satMod val="115000"/>
                  <a:lumMod val="85000"/>
                  <a:lumOff val="15000"/>
                </a:schemeClr>
              </a:gs>
              <a:gs pos="10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0" scaled="1"/>
            <a:tileRect/>
          </a:gradFill>
          <a:ln w="9525">
            <a:noFill/>
          </a:ln>
          <a:effectLst>
            <a:outerShdw blurRad="127000" dist="38100" algn="l" rotWithShape="0">
              <a:prstClr val="black">
                <a:alpha val="5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7FE29DA-BC6F-9ACC-5EE2-A07115018821}"/>
              </a:ext>
            </a:extLst>
          </p:cNvPr>
          <p:cNvSpPr txBox="1"/>
          <p:nvPr/>
        </p:nvSpPr>
        <p:spPr>
          <a:xfrm>
            <a:off x="365964" y="1190707"/>
            <a:ext cx="5632166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9525" marR="974884" lvl="0" indent="0" algn="l" defTabSz="914400" rtl="0" eaLnBrk="1" fontAlgn="auto" latinLnBrk="0" hangingPunct="1">
              <a:lnSpc>
                <a:spcPct val="100000"/>
              </a:lnSpc>
              <a:spcBef>
                <a:spcPts val="71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r-Latn-BA" sz="1600" b="1" i="0" u="none" strike="noStrike" kern="1200" cap="none" spc="-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Verdana"/>
              </a:rPr>
              <a:t>Namenski </a:t>
            </a:r>
            <a:r>
              <a:rPr kumimoji="0" lang="sr-Latn-BA" sz="1600" b="0" i="0" u="none" strike="noStrike" kern="1200" cap="none" spc="-4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Verdana"/>
              </a:rPr>
              <a:t>kontroler za daljinsko grejanje</a:t>
            </a:r>
            <a:endParaRPr kumimoji="0" lang="sr-Latn-BA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Verdana"/>
            </a:endParaRPr>
          </a:p>
        </p:txBody>
      </p:sp>
      <p:pic>
        <p:nvPicPr>
          <p:cNvPr id="10" name="Picture 9" descr="A red sign with white text&#10;&#10;AI-generated content may be incorrect.">
            <a:extLst>
              <a:ext uri="{FF2B5EF4-FFF2-40B4-BE49-F238E27FC236}">
                <a16:creationId xmlns:a16="http://schemas.microsoft.com/office/drawing/2014/main" id="{1F6AD8BE-A9B4-02C7-5D45-3186F0D04DE6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4100" y="113595"/>
            <a:ext cx="1203205" cy="527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31293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7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11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E3A3D40-12A0-B5D2-1457-FBA9085ADEB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5" hidden="1">
            <a:extLst>
              <a:ext uri="{FF2B5EF4-FFF2-40B4-BE49-F238E27FC236}">
                <a16:creationId xmlns:a16="http://schemas.microsoft.com/office/drawing/2014/main" id="{1A538DB9-3379-18E0-A02B-8116BE659858}"/>
              </a:ext>
            </a:extLst>
          </p:cNvPr>
          <p:cNvSpPr>
            <a:spLocks/>
          </p:cNvSpPr>
          <p:nvPr/>
        </p:nvSpPr>
        <p:spPr bwMode="auto">
          <a:xfrm>
            <a:off x="4214814" y="1633539"/>
            <a:ext cx="576262" cy="2641600"/>
          </a:xfrm>
          <a:custGeom>
            <a:avLst/>
            <a:gdLst>
              <a:gd name="T0" fmla="*/ 175 w 363"/>
              <a:gd name="T1" fmla="*/ 0 h 1664"/>
              <a:gd name="T2" fmla="*/ 175 w 363"/>
              <a:gd name="T3" fmla="*/ 157 h 1664"/>
              <a:gd name="T4" fmla="*/ 351 w 363"/>
              <a:gd name="T5" fmla="*/ 157 h 1664"/>
              <a:gd name="T6" fmla="*/ 351 w 363"/>
              <a:gd name="T7" fmla="*/ 334 h 1664"/>
              <a:gd name="T8" fmla="*/ 175 w 363"/>
              <a:gd name="T9" fmla="*/ 334 h 1664"/>
              <a:gd name="T10" fmla="*/ 175 w 363"/>
              <a:gd name="T11" fmla="*/ 523 h 1664"/>
              <a:gd name="T12" fmla="*/ 0 w 363"/>
              <a:gd name="T13" fmla="*/ 523 h 1664"/>
              <a:gd name="T14" fmla="*/ 0 w 363"/>
              <a:gd name="T15" fmla="*/ 724 h 1664"/>
              <a:gd name="T16" fmla="*/ 175 w 363"/>
              <a:gd name="T17" fmla="*/ 724 h 1664"/>
              <a:gd name="T18" fmla="*/ 175 w 363"/>
              <a:gd name="T19" fmla="*/ 914 h 1664"/>
              <a:gd name="T20" fmla="*/ 351 w 363"/>
              <a:gd name="T21" fmla="*/ 914 h 1664"/>
              <a:gd name="T22" fmla="*/ 351 w 363"/>
              <a:gd name="T23" fmla="*/ 1092 h 1664"/>
              <a:gd name="T24" fmla="*/ 175 w 363"/>
              <a:gd name="T25" fmla="*/ 1092 h 1664"/>
              <a:gd name="T26" fmla="*/ 175 w 363"/>
              <a:gd name="T27" fmla="*/ 1281 h 1664"/>
              <a:gd name="T28" fmla="*/ 0 w 363"/>
              <a:gd name="T29" fmla="*/ 1281 h 1664"/>
              <a:gd name="T30" fmla="*/ 0 w 363"/>
              <a:gd name="T31" fmla="*/ 1481 h 1664"/>
              <a:gd name="T32" fmla="*/ 175 w 363"/>
              <a:gd name="T33" fmla="*/ 1481 h 1664"/>
              <a:gd name="T34" fmla="*/ 175 w 363"/>
              <a:gd name="T35" fmla="*/ 1664 h 1664"/>
              <a:gd name="T36" fmla="*/ 188 w 363"/>
              <a:gd name="T37" fmla="*/ 1664 h 1664"/>
              <a:gd name="T38" fmla="*/ 188 w 363"/>
              <a:gd name="T39" fmla="*/ 1469 h 1664"/>
              <a:gd name="T40" fmla="*/ 12 w 363"/>
              <a:gd name="T41" fmla="*/ 1469 h 1664"/>
              <a:gd name="T42" fmla="*/ 12 w 363"/>
              <a:gd name="T43" fmla="*/ 1293 h 1664"/>
              <a:gd name="T44" fmla="*/ 187 w 363"/>
              <a:gd name="T45" fmla="*/ 1293 h 1664"/>
              <a:gd name="T46" fmla="*/ 187 w 363"/>
              <a:gd name="T47" fmla="*/ 1104 h 1664"/>
              <a:gd name="T48" fmla="*/ 363 w 363"/>
              <a:gd name="T49" fmla="*/ 1104 h 1664"/>
              <a:gd name="T50" fmla="*/ 363 w 363"/>
              <a:gd name="T51" fmla="*/ 902 h 1664"/>
              <a:gd name="T52" fmla="*/ 187 w 363"/>
              <a:gd name="T53" fmla="*/ 902 h 1664"/>
              <a:gd name="T54" fmla="*/ 187 w 363"/>
              <a:gd name="T55" fmla="*/ 712 h 1664"/>
              <a:gd name="T56" fmla="*/ 12 w 363"/>
              <a:gd name="T57" fmla="*/ 712 h 1664"/>
              <a:gd name="T58" fmla="*/ 12 w 363"/>
              <a:gd name="T59" fmla="*/ 535 h 1664"/>
              <a:gd name="T60" fmla="*/ 187 w 363"/>
              <a:gd name="T61" fmla="*/ 535 h 1664"/>
              <a:gd name="T62" fmla="*/ 187 w 363"/>
              <a:gd name="T63" fmla="*/ 346 h 1664"/>
              <a:gd name="T64" fmla="*/ 363 w 363"/>
              <a:gd name="T65" fmla="*/ 346 h 1664"/>
              <a:gd name="T66" fmla="*/ 363 w 363"/>
              <a:gd name="T67" fmla="*/ 145 h 1664"/>
              <a:gd name="T68" fmla="*/ 187 w 363"/>
              <a:gd name="T69" fmla="*/ 145 h 1664"/>
              <a:gd name="T70" fmla="*/ 187 w 363"/>
              <a:gd name="T71" fmla="*/ 0 h 1664"/>
              <a:gd name="T72" fmla="*/ 175 w 363"/>
              <a:gd name="T73" fmla="*/ 0 h 1664"/>
              <a:gd name="T74" fmla="*/ 175 w 363"/>
              <a:gd name="T75" fmla="*/ 0 h 16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363" h="1664">
                <a:moveTo>
                  <a:pt x="175" y="0"/>
                </a:moveTo>
                <a:lnTo>
                  <a:pt x="175" y="157"/>
                </a:lnTo>
                <a:lnTo>
                  <a:pt x="351" y="157"/>
                </a:lnTo>
                <a:lnTo>
                  <a:pt x="351" y="334"/>
                </a:lnTo>
                <a:lnTo>
                  <a:pt x="175" y="334"/>
                </a:lnTo>
                <a:lnTo>
                  <a:pt x="175" y="523"/>
                </a:lnTo>
                <a:lnTo>
                  <a:pt x="0" y="523"/>
                </a:lnTo>
                <a:lnTo>
                  <a:pt x="0" y="724"/>
                </a:lnTo>
                <a:lnTo>
                  <a:pt x="175" y="724"/>
                </a:lnTo>
                <a:lnTo>
                  <a:pt x="175" y="914"/>
                </a:lnTo>
                <a:lnTo>
                  <a:pt x="351" y="914"/>
                </a:lnTo>
                <a:lnTo>
                  <a:pt x="351" y="1092"/>
                </a:lnTo>
                <a:lnTo>
                  <a:pt x="175" y="1092"/>
                </a:lnTo>
                <a:lnTo>
                  <a:pt x="175" y="1281"/>
                </a:lnTo>
                <a:lnTo>
                  <a:pt x="0" y="1281"/>
                </a:lnTo>
                <a:lnTo>
                  <a:pt x="0" y="1481"/>
                </a:lnTo>
                <a:lnTo>
                  <a:pt x="175" y="1481"/>
                </a:lnTo>
                <a:lnTo>
                  <a:pt x="175" y="1664"/>
                </a:lnTo>
                <a:lnTo>
                  <a:pt x="188" y="1664"/>
                </a:lnTo>
                <a:lnTo>
                  <a:pt x="188" y="1469"/>
                </a:lnTo>
                <a:lnTo>
                  <a:pt x="12" y="1469"/>
                </a:lnTo>
                <a:lnTo>
                  <a:pt x="12" y="1293"/>
                </a:lnTo>
                <a:lnTo>
                  <a:pt x="187" y="1293"/>
                </a:lnTo>
                <a:lnTo>
                  <a:pt x="187" y="1104"/>
                </a:lnTo>
                <a:lnTo>
                  <a:pt x="363" y="1104"/>
                </a:lnTo>
                <a:lnTo>
                  <a:pt x="363" y="902"/>
                </a:lnTo>
                <a:lnTo>
                  <a:pt x="187" y="902"/>
                </a:lnTo>
                <a:lnTo>
                  <a:pt x="187" y="712"/>
                </a:lnTo>
                <a:lnTo>
                  <a:pt x="12" y="712"/>
                </a:lnTo>
                <a:lnTo>
                  <a:pt x="12" y="535"/>
                </a:lnTo>
                <a:lnTo>
                  <a:pt x="187" y="535"/>
                </a:lnTo>
                <a:lnTo>
                  <a:pt x="187" y="346"/>
                </a:lnTo>
                <a:lnTo>
                  <a:pt x="363" y="346"/>
                </a:lnTo>
                <a:lnTo>
                  <a:pt x="363" y="145"/>
                </a:lnTo>
                <a:lnTo>
                  <a:pt x="187" y="145"/>
                </a:lnTo>
                <a:lnTo>
                  <a:pt x="187" y="0"/>
                </a:lnTo>
                <a:lnTo>
                  <a:pt x="175" y="0"/>
                </a:lnTo>
                <a:lnTo>
                  <a:pt x="175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378"/>
            <a:endParaRPr lang="en-US">
              <a:solidFill>
                <a:srgbClr val="000000"/>
              </a:solidFill>
              <a:latin typeface="Verdana"/>
            </a:endParaRPr>
          </a:p>
        </p:txBody>
      </p:sp>
      <p:sp>
        <p:nvSpPr>
          <p:cNvPr id="86" name="Rectangle: Rounded Corners 1" hidden="1">
            <a:extLst>
              <a:ext uri="{FF2B5EF4-FFF2-40B4-BE49-F238E27FC236}">
                <a16:creationId xmlns:a16="http://schemas.microsoft.com/office/drawing/2014/main" id="{2821F170-7504-85BE-5805-2EC45F8EEF58}"/>
              </a:ext>
            </a:extLst>
          </p:cNvPr>
          <p:cNvSpPr/>
          <p:nvPr/>
        </p:nvSpPr>
        <p:spPr>
          <a:xfrm>
            <a:off x="2273176" y="1635293"/>
            <a:ext cx="4433922" cy="2641572"/>
          </a:xfrm>
          <a:prstGeom prst="rect">
            <a:avLst/>
          </a:prstGeom>
          <a:solidFill>
            <a:schemeClr val="bg2">
              <a:lumMod val="60000"/>
              <a:lumOff val="40000"/>
              <a:alpha val="70000"/>
            </a:schemeClr>
          </a:solidFill>
          <a:ln w="9525">
            <a:solidFill>
              <a:schemeClr val="bg2"/>
            </a:solidFill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5">
              <a:defRPr/>
            </a:pPr>
            <a:endParaRPr lang="da-DK" dirty="0" err="1">
              <a:solidFill>
                <a:prstClr val="white"/>
              </a:solidFill>
              <a:latin typeface="Verdana"/>
            </a:endParaRPr>
          </a:p>
        </p:txBody>
      </p:sp>
      <p:pic>
        <p:nvPicPr>
          <p:cNvPr id="6" name="Slika 5" hidden="1">
            <a:extLst>
              <a:ext uri="{FF2B5EF4-FFF2-40B4-BE49-F238E27FC236}">
                <a16:creationId xmlns:a16="http://schemas.microsoft.com/office/drawing/2014/main" id="{D06E98EB-856F-CC1A-32C2-D788C6B0175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50460" y="1948443"/>
            <a:ext cx="4486934" cy="2673298"/>
          </a:xfrm>
          <a:prstGeom prst="rect">
            <a:avLst/>
          </a:prstGeom>
        </p:spPr>
      </p:pic>
      <p:sp>
        <p:nvSpPr>
          <p:cNvPr id="2" name="Rectangle 99">
            <a:extLst>
              <a:ext uri="{FF2B5EF4-FFF2-40B4-BE49-F238E27FC236}">
                <a16:creationId xmlns:a16="http://schemas.microsoft.com/office/drawing/2014/main" id="{9CCB520E-2D24-8311-CF34-3E4D6FEC385D}"/>
              </a:ext>
            </a:extLst>
          </p:cNvPr>
          <p:cNvSpPr/>
          <p:nvPr/>
        </p:nvSpPr>
        <p:spPr>
          <a:xfrm>
            <a:off x="0" y="-2366"/>
            <a:ext cx="9143997" cy="380141"/>
          </a:xfrm>
          <a:custGeom>
            <a:avLst/>
            <a:gdLst>
              <a:gd name="f0" fmla="val 10800000"/>
              <a:gd name="f1" fmla="val 5400000"/>
              <a:gd name="f2" fmla="val 180"/>
              <a:gd name="f3" fmla="val w"/>
              <a:gd name="f4" fmla="val h"/>
              <a:gd name="f5" fmla="val 0"/>
              <a:gd name="f6" fmla="val 3590554"/>
              <a:gd name="f7" fmla="val 640800"/>
              <a:gd name="f8" fmla="+- 0 0 -90"/>
              <a:gd name="f9" fmla="*/ f3 1 3590554"/>
              <a:gd name="f10" fmla="*/ f4 1 640800"/>
              <a:gd name="f11" fmla="val f5"/>
              <a:gd name="f12" fmla="val f6"/>
              <a:gd name="f13" fmla="val f7"/>
              <a:gd name="f14" fmla="*/ f8 f0 1"/>
              <a:gd name="f15" fmla="+- f13 0 f11"/>
              <a:gd name="f16" fmla="+- f12 0 f11"/>
              <a:gd name="f17" fmla="*/ f14 1 f2"/>
              <a:gd name="f18" fmla="*/ f16 1 3590554"/>
              <a:gd name="f19" fmla="*/ f15 1 640800"/>
              <a:gd name="f20" fmla="*/ 0 f16 1"/>
              <a:gd name="f21" fmla="*/ 0 f15 1"/>
              <a:gd name="f22" fmla="*/ 3590554 f16 1"/>
              <a:gd name="f23" fmla="*/ 640800 f15 1"/>
              <a:gd name="f24" fmla="+- f17 0 f1"/>
              <a:gd name="f25" fmla="*/ f20 1 3590554"/>
              <a:gd name="f26" fmla="*/ f21 1 640800"/>
              <a:gd name="f27" fmla="*/ f22 1 3590554"/>
              <a:gd name="f28" fmla="*/ f23 1 640800"/>
              <a:gd name="f29" fmla="*/ f11 1 f18"/>
              <a:gd name="f30" fmla="*/ f12 1 f18"/>
              <a:gd name="f31" fmla="*/ f11 1 f19"/>
              <a:gd name="f32" fmla="*/ f13 1 f19"/>
              <a:gd name="f33" fmla="*/ f25 1 f18"/>
              <a:gd name="f34" fmla="*/ f26 1 f19"/>
              <a:gd name="f35" fmla="*/ f27 1 f18"/>
              <a:gd name="f36" fmla="*/ f28 1 f19"/>
              <a:gd name="f37" fmla="*/ f29 f9 1"/>
              <a:gd name="f38" fmla="*/ f30 f9 1"/>
              <a:gd name="f39" fmla="*/ f32 f10 1"/>
              <a:gd name="f40" fmla="*/ f31 f10 1"/>
              <a:gd name="f41" fmla="*/ f33 f9 1"/>
              <a:gd name="f42" fmla="*/ f34 f10 1"/>
              <a:gd name="f43" fmla="*/ f35 f9 1"/>
              <a:gd name="f44" fmla="*/ f36 f10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24">
                <a:pos x="f41" y="f42"/>
              </a:cxn>
              <a:cxn ang="f24">
                <a:pos x="f43" y="f42"/>
              </a:cxn>
              <a:cxn ang="f24">
                <a:pos x="f43" y="f44"/>
              </a:cxn>
              <a:cxn ang="f24">
                <a:pos x="f41" y="f44"/>
              </a:cxn>
              <a:cxn ang="f24">
                <a:pos x="f41" y="f42"/>
              </a:cxn>
            </a:cxnLst>
            <a:rect l="f37" t="f40" r="f38" b="f39"/>
            <a:pathLst>
              <a:path w="3590554" h="640800">
                <a:moveTo>
                  <a:pt x="f5" y="f5"/>
                </a:moveTo>
                <a:lnTo>
                  <a:pt x="f6" y="f5"/>
                </a:lnTo>
                <a:lnTo>
                  <a:pt x="f6" y="f7"/>
                </a:lnTo>
                <a:lnTo>
                  <a:pt x="f5" y="f7"/>
                </a:lnTo>
                <a:lnTo>
                  <a:pt x="f5" y="f5"/>
                </a:lnTo>
                <a:close/>
              </a:path>
            </a:pathLst>
          </a:custGeom>
          <a:solidFill>
            <a:srgbClr val="D2D7DB">
              <a:alpha val="32000"/>
            </a:srgbClr>
          </a:solidFill>
          <a:ln cap="flat">
            <a:noFill/>
            <a:prstDash val="solid"/>
          </a:ln>
        </p:spPr>
        <p:txBody>
          <a:bodyPr vert="horz" wrap="square" lIns="68580" tIns="34290" rIns="68580" bIns="34290" anchor="ctr" anchorCtr="1" compatLnSpc="1">
            <a:noAutofit/>
          </a:bodyPr>
          <a:lstStyle/>
          <a:p>
            <a:pPr algn="ctr" defTabSz="685779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2400">
              <a:solidFill>
                <a:srgbClr val="000000"/>
              </a:solidFill>
              <a:latin typeface="Verdana"/>
            </a:endParaRPr>
          </a:p>
        </p:txBody>
      </p:sp>
      <p:sp>
        <p:nvSpPr>
          <p:cNvPr id="3" name="Titel 4">
            <a:extLst>
              <a:ext uri="{FF2B5EF4-FFF2-40B4-BE49-F238E27FC236}">
                <a16:creationId xmlns:a16="http://schemas.microsoft.com/office/drawing/2014/main" id="{B653755E-3D25-9AB4-F8B7-1AE7B8CB9A4F}"/>
              </a:ext>
            </a:extLst>
          </p:cNvPr>
          <p:cNvSpPr txBox="1">
            <a:spLocks/>
          </p:cNvSpPr>
          <p:nvPr/>
        </p:nvSpPr>
        <p:spPr>
          <a:xfrm>
            <a:off x="80802" y="22867"/>
            <a:ext cx="8893592" cy="354908"/>
          </a:xfrm>
          <a:prstGeom prst="rect">
            <a:avLst/>
          </a:prstGeom>
        </p:spPr>
        <p:txBody>
          <a:bodyPr anchor="ctr"/>
          <a:lstStyle>
            <a:lvl1pPr algn="l" defTabSz="1219170" rtl="0" eaLnBrk="1" latinLnBrk="0" hangingPunct="1">
              <a:spcBef>
                <a:spcPct val="0"/>
              </a:spcBef>
              <a:buNone/>
              <a:defRPr sz="2133" kern="120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GB" sz="1500" b="1" dirty="0">
                <a:latin typeface="Poppins" panose="00000500000000000000" pitchFamily="2" charset="-18"/>
                <a:cs typeface="Poppins" panose="00000500000000000000" pitchFamily="2" charset="-18"/>
              </a:rPr>
              <a:t>Are you a Danfoss ECL Comfort 310 user?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9FA68D0-DE70-607F-AE68-83B7564DCAA3}"/>
              </a:ext>
            </a:extLst>
          </p:cNvPr>
          <p:cNvSpPr txBox="1"/>
          <p:nvPr/>
        </p:nvSpPr>
        <p:spPr>
          <a:xfrm>
            <a:off x="446139" y="487672"/>
            <a:ext cx="8515644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342900">
              <a:defRPr/>
            </a:pPr>
            <a:r>
              <a:rPr lang="en-GB" sz="1200" dirty="0">
                <a:solidFill>
                  <a:srgbClr val="E7E6E6">
                    <a:lumMod val="25000"/>
                  </a:srgbClr>
                </a:solidFill>
                <a:latin typeface="Poppins" panose="00000500000000000000" pitchFamily="2" charset="-18"/>
                <a:ea typeface="Tahoma" panose="020B0604030504040204" pitchFamily="34" charset="0"/>
                <a:cs typeface="Poppins" panose="00000500000000000000" pitchFamily="2" charset="-18"/>
              </a:rPr>
              <a:t>Connecting</a:t>
            </a:r>
            <a:r>
              <a:rPr lang="en-US" sz="1200" dirty="0">
                <a:solidFill>
                  <a:srgbClr val="E7E6E6">
                    <a:lumMod val="25000"/>
                  </a:srgbClr>
                </a:solidFill>
                <a:latin typeface="Poppins" panose="00000500000000000000" pitchFamily="2" charset="-18"/>
                <a:ea typeface="Tahoma" panose="020B0604030504040204" pitchFamily="34" charset="0"/>
                <a:cs typeface="Poppins" panose="00000500000000000000" pitchFamily="2" charset="-18"/>
              </a:rPr>
              <a:t> </a:t>
            </a:r>
            <a:r>
              <a:rPr lang="en-GB" sz="1200" dirty="0">
                <a:solidFill>
                  <a:srgbClr val="E7E6E6">
                    <a:lumMod val="25000"/>
                  </a:srgbClr>
                </a:solidFill>
                <a:latin typeface="Poppins" panose="00000500000000000000" pitchFamily="2" charset="-18"/>
                <a:ea typeface="Tahoma" panose="020B0604030504040204" pitchFamily="34" charset="0"/>
                <a:cs typeface="Poppins" panose="00000500000000000000" pitchFamily="2" charset="-18"/>
              </a:rPr>
              <a:t>your ECL Comfort 310 to Leanheat</a:t>
            </a:r>
            <a:r>
              <a:rPr lang="en-GB" sz="1200" baseline="30000" dirty="0">
                <a:solidFill>
                  <a:srgbClr val="E7E6E6">
                    <a:lumMod val="25000"/>
                  </a:srgbClr>
                </a:solidFill>
                <a:latin typeface="Poppins" panose="00000500000000000000" pitchFamily="2" charset="-18"/>
                <a:ea typeface="Tahoma" panose="020B0604030504040204" pitchFamily="34" charset="0"/>
                <a:cs typeface="Poppins" panose="00000500000000000000" pitchFamily="2" charset="-18"/>
              </a:rPr>
              <a:t>®</a:t>
            </a:r>
            <a:r>
              <a:rPr lang="en-GB" sz="1200" dirty="0">
                <a:solidFill>
                  <a:srgbClr val="E7E6E6">
                    <a:lumMod val="25000"/>
                  </a:srgbClr>
                </a:solidFill>
                <a:latin typeface="Poppins" panose="00000500000000000000" pitchFamily="2" charset="-18"/>
                <a:ea typeface="Tahoma" panose="020B0604030504040204" pitchFamily="34" charset="0"/>
                <a:cs typeface="Poppins" panose="00000500000000000000" pitchFamily="2" charset="-18"/>
              </a:rPr>
              <a:t> Monitor you can get access to </a:t>
            </a:r>
            <a:r>
              <a:rPr lang="en-GB" sz="1200" b="1" dirty="0">
                <a:solidFill>
                  <a:srgbClr val="E7E6E6">
                    <a:lumMod val="25000"/>
                  </a:srgbClr>
                </a:solidFill>
                <a:latin typeface="Poppins" panose="00000500000000000000" pitchFamily="2" charset="-18"/>
                <a:ea typeface="Tahoma" panose="020B0604030504040204" pitchFamily="34" charset="0"/>
                <a:cs typeface="Poppins" panose="00000500000000000000" pitchFamily="2" charset="-18"/>
              </a:rPr>
              <a:t>Smart Weather Compensation</a:t>
            </a:r>
            <a:r>
              <a:rPr lang="en-GB" sz="1200" dirty="0">
                <a:solidFill>
                  <a:srgbClr val="E7E6E6">
                    <a:lumMod val="25000"/>
                  </a:srgbClr>
                </a:solidFill>
                <a:latin typeface="Poppins" panose="00000500000000000000" pitchFamily="2" charset="-18"/>
                <a:ea typeface="Tahoma" panose="020B0604030504040204" pitchFamily="34" charset="0"/>
                <a:cs typeface="Poppins" panose="00000500000000000000" pitchFamily="2" charset="-18"/>
              </a:rPr>
              <a:t>.</a:t>
            </a:r>
            <a:endParaRPr lang="en-GB" sz="1200" b="1" dirty="0">
              <a:solidFill>
                <a:srgbClr val="E7E6E6">
                  <a:lumMod val="25000"/>
                </a:srgbClr>
              </a:solidFill>
              <a:latin typeface="Poppins" panose="00000500000000000000" pitchFamily="2" charset="-18"/>
              <a:ea typeface="Tahoma" panose="020B0604030504040204" pitchFamily="34" charset="0"/>
              <a:cs typeface="Poppins" panose="00000500000000000000" pitchFamily="2" charset="-18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C0BCF2BB-C5C6-5666-CDC5-1EE3AE290085}"/>
              </a:ext>
            </a:extLst>
          </p:cNvPr>
          <p:cNvSpPr/>
          <p:nvPr/>
        </p:nvSpPr>
        <p:spPr>
          <a:xfrm>
            <a:off x="446140" y="1043380"/>
            <a:ext cx="5901320" cy="3095624"/>
          </a:xfrm>
          <a:prstGeom prst="rect">
            <a:avLst/>
          </a:prstGeom>
          <a:solidFill>
            <a:srgbClr val="EDF1F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FI" sz="1350">
              <a:latin typeface="Poppins" panose="00000500000000000000" pitchFamily="2" charset="-18"/>
              <a:cs typeface="Poppins" panose="00000500000000000000" pitchFamily="2" charset="-18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333582D1-9CF4-6B09-8CE5-63488F95EB0C}"/>
              </a:ext>
            </a:extLst>
          </p:cNvPr>
          <p:cNvSpPr txBox="1"/>
          <p:nvPr/>
        </p:nvSpPr>
        <p:spPr>
          <a:xfrm>
            <a:off x="680515" y="1145893"/>
            <a:ext cx="5424746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378"/>
            <a:r>
              <a:rPr lang="en-US" sz="750" b="1" dirty="0">
                <a:solidFill>
                  <a:schemeClr val="bg2">
                    <a:lumMod val="25000"/>
                  </a:schemeClr>
                </a:solidFill>
                <a:latin typeface="Poppins" panose="00000500000000000000" pitchFamily="2" charset="-18"/>
                <a:ea typeface="Tahoma" panose="020B0604030504040204" pitchFamily="34" charset="0"/>
                <a:cs typeface="Poppins" panose="00000500000000000000" pitchFamily="2" charset="-18"/>
              </a:rPr>
              <a:t>ECL </a:t>
            </a:r>
            <a:r>
              <a:rPr lang="sr-Latn-RS" sz="750" b="1" dirty="0">
                <a:solidFill>
                  <a:schemeClr val="bg2">
                    <a:lumMod val="25000"/>
                  </a:schemeClr>
                </a:solidFill>
                <a:latin typeface="Poppins" panose="00000500000000000000" pitchFamily="2" charset="-18"/>
                <a:ea typeface="Tahoma" panose="020B0604030504040204" pitchFamily="34" charset="0"/>
                <a:cs typeface="Poppins" panose="00000500000000000000" pitchFamily="2" charset="-18"/>
              </a:rPr>
              <a:t>regulator</a:t>
            </a:r>
            <a:r>
              <a:rPr lang="en-US" sz="750" b="1" dirty="0">
                <a:solidFill>
                  <a:schemeClr val="bg2">
                    <a:lumMod val="25000"/>
                  </a:schemeClr>
                </a:solidFill>
                <a:latin typeface="Poppins" panose="00000500000000000000" pitchFamily="2" charset="-18"/>
                <a:ea typeface="Tahoma" panose="020B0604030504040204" pitchFamily="34" charset="0"/>
                <a:cs typeface="Poppins" panose="00000500000000000000" pitchFamily="2" charset="-18"/>
              </a:rPr>
              <a:t> </a:t>
            </a:r>
            <a:r>
              <a:rPr lang="sr-Latn-RS" sz="750" b="1" dirty="0">
                <a:solidFill>
                  <a:srgbClr val="E2000F"/>
                </a:solidFill>
                <a:latin typeface="Poppins" panose="00000500000000000000" pitchFamily="2" charset="-18"/>
                <a:ea typeface="Tahoma" panose="020B0604030504040204" pitchFamily="34" charset="0"/>
                <a:cs typeface="Poppins" panose="00000500000000000000" pitchFamily="2" charset="-18"/>
              </a:rPr>
              <a:t>sa</a:t>
            </a:r>
            <a:r>
              <a:rPr lang="en-US" sz="750" b="1" dirty="0">
                <a:solidFill>
                  <a:srgbClr val="E2000F"/>
                </a:solidFill>
                <a:latin typeface="Poppins" panose="00000500000000000000" pitchFamily="2" charset="-18"/>
                <a:ea typeface="Tahoma" panose="020B0604030504040204" pitchFamily="34" charset="0"/>
                <a:cs typeface="Poppins" panose="00000500000000000000" pitchFamily="2" charset="-18"/>
              </a:rPr>
              <a:t> Smart Weather Compensation</a:t>
            </a:r>
            <a:r>
              <a:rPr lang="en-US" sz="750" b="1" dirty="0">
                <a:solidFill>
                  <a:schemeClr val="bg2">
                    <a:lumMod val="25000"/>
                  </a:schemeClr>
                </a:solidFill>
                <a:latin typeface="Poppins" panose="00000500000000000000" pitchFamily="2" charset="-18"/>
                <a:ea typeface="Tahoma" panose="020B0604030504040204" pitchFamily="34" charset="0"/>
                <a:cs typeface="Poppins" panose="00000500000000000000" pitchFamily="2" charset="-18"/>
              </a:rPr>
              <a:t> </a:t>
            </a:r>
            <a:r>
              <a:rPr lang="en-US" sz="750" dirty="0">
                <a:solidFill>
                  <a:schemeClr val="bg2">
                    <a:lumMod val="25000"/>
                  </a:schemeClr>
                </a:solidFill>
                <a:latin typeface="Poppins" panose="00000500000000000000" pitchFamily="2" charset="-18"/>
                <a:ea typeface="Tahoma" panose="020B0604030504040204" pitchFamily="34" charset="0"/>
                <a:cs typeface="Poppins" panose="00000500000000000000" pitchFamily="2" charset="-18"/>
              </a:rPr>
              <a:t>(</a:t>
            </a:r>
            <a:r>
              <a:rPr lang="sr-Latn-RS" sz="750" dirty="0">
                <a:solidFill>
                  <a:schemeClr val="bg2">
                    <a:lumMod val="25000"/>
                  </a:schemeClr>
                </a:solidFill>
                <a:latin typeface="Poppins" panose="00000500000000000000" pitchFamily="2" charset="-18"/>
                <a:ea typeface="Tahoma" panose="020B0604030504040204" pitchFamily="34" charset="0"/>
                <a:cs typeface="Poppins" panose="00000500000000000000" pitchFamily="2" charset="-18"/>
              </a:rPr>
              <a:t>spoljašnja temperatura</a:t>
            </a:r>
            <a:r>
              <a:rPr lang="en-US" sz="750" dirty="0">
                <a:solidFill>
                  <a:schemeClr val="bg2">
                    <a:lumMod val="25000"/>
                  </a:schemeClr>
                </a:solidFill>
                <a:latin typeface="Poppins" panose="00000500000000000000" pitchFamily="2" charset="-18"/>
                <a:ea typeface="Tahoma" panose="020B0604030504040204" pitchFamily="34" charset="0"/>
                <a:cs typeface="Poppins" panose="00000500000000000000" pitchFamily="2" charset="-18"/>
              </a:rPr>
              <a:t>, </a:t>
            </a:r>
            <a:r>
              <a:rPr lang="sr-Latn-RS" sz="750" dirty="0">
                <a:solidFill>
                  <a:schemeClr val="bg2">
                    <a:lumMod val="25000"/>
                  </a:schemeClr>
                </a:solidFill>
                <a:latin typeface="Poppins" panose="00000500000000000000" pitchFamily="2" charset="-18"/>
                <a:ea typeface="Tahoma" panose="020B0604030504040204" pitchFamily="34" charset="0"/>
                <a:cs typeface="Poppins" panose="00000500000000000000" pitchFamily="2" charset="-18"/>
              </a:rPr>
              <a:t>kompenzacija osunčanosti i uticaja vetra</a:t>
            </a:r>
            <a:r>
              <a:rPr lang="en-US" sz="750" dirty="0">
                <a:solidFill>
                  <a:schemeClr val="bg2">
                    <a:lumMod val="25000"/>
                  </a:schemeClr>
                </a:solidFill>
                <a:latin typeface="Poppins" panose="00000500000000000000" pitchFamily="2" charset="-18"/>
                <a:ea typeface="Tahoma" panose="020B0604030504040204" pitchFamily="34" charset="0"/>
                <a:cs typeface="Poppins" panose="00000500000000000000" pitchFamily="2" charset="-18"/>
              </a:rPr>
              <a:t>):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57636086-CB9A-02D7-F522-6C0D8FA60590}"/>
              </a:ext>
            </a:extLst>
          </p:cNvPr>
          <p:cNvSpPr/>
          <p:nvPr/>
        </p:nvSpPr>
        <p:spPr>
          <a:xfrm>
            <a:off x="446140" y="1460087"/>
            <a:ext cx="5901322" cy="196206"/>
          </a:xfrm>
          <a:prstGeom prst="rect">
            <a:avLst/>
          </a:prstGeom>
          <a:solidFill>
            <a:srgbClr val="DDE3E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FI" sz="1350">
              <a:latin typeface="Poppins" panose="00000500000000000000" pitchFamily="2" charset="-18"/>
              <a:cs typeface="Poppins" panose="00000500000000000000" pitchFamily="2" charset="-18"/>
            </a:endParaRPr>
          </a:p>
        </p:txBody>
      </p:sp>
      <p:pic>
        <p:nvPicPr>
          <p:cNvPr id="54" name="Picture 23" descr="ECL-säätimet | Danfoss">
            <a:extLst>
              <a:ext uri="{FF2B5EF4-FFF2-40B4-BE49-F238E27FC236}">
                <a16:creationId xmlns:a16="http://schemas.microsoft.com/office/drawing/2014/main" id="{AD075836-C68E-21E3-CF9D-15B00A00CBB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68" t="10869" r="4926" b="10200"/>
          <a:stretch/>
        </p:blipFill>
        <p:spPr bwMode="auto">
          <a:xfrm>
            <a:off x="2317560" y="1873201"/>
            <a:ext cx="1146353" cy="6813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5" name="Graphic 24" descr="Thermometer with solid fill">
            <a:extLst>
              <a:ext uri="{FF2B5EF4-FFF2-40B4-BE49-F238E27FC236}">
                <a16:creationId xmlns:a16="http://schemas.microsoft.com/office/drawing/2014/main" id="{CF900E51-582F-F3BE-A261-E7987E4D488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32989" y="1737919"/>
            <a:ext cx="786299" cy="786299"/>
          </a:xfrm>
          <a:prstGeom prst="rect">
            <a:avLst/>
          </a:prstGeom>
        </p:spPr>
      </p:pic>
      <p:pic>
        <p:nvPicPr>
          <p:cNvPr id="56" name="Picture 34">
            <a:extLst>
              <a:ext uri="{FF2B5EF4-FFF2-40B4-BE49-F238E27FC236}">
                <a16:creationId xmlns:a16="http://schemas.microsoft.com/office/drawing/2014/main" id="{8F40399C-AADE-FB8F-DCE7-9F33C7B46A58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duotone>
              <a:srgbClr val="E60A11">
                <a:shade val="45000"/>
                <a:satMod val="135000"/>
              </a:srgb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400000"/>
                    </a14:imgEffect>
                    <a14:imgEffect>
                      <a14:brightnessContrast bright="-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6084" y="3009337"/>
            <a:ext cx="840107" cy="743750"/>
          </a:xfrm>
          <a:prstGeom prst="rect">
            <a:avLst/>
          </a:prstGeom>
        </p:spPr>
      </p:pic>
      <p:pic>
        <p:nvPicPr>
          <p:cNvPr id="57" name="Picture 41">
            <a:extLst>
              <a:ext uri="{FF2B5EF4-FFF2-40B4-BE49-F238E27FC236}">
                <a16:creationId xmlns:a16="http://schemas.microsoft.com/office/drawing/2014/main" id="{F1234E6D-E084-73B2-D497-0DFDAE86DF21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4414" t="22200" r="4218" b="21770"/>
          <a:stretch/>
        </p:blipFill>
        <p:spPr>
          <a:xfrm>
            <a:off x="2448321" y="3128426"/>
            <a:ext cx="884830" cy="568072"/>
          </a:xfrm>
          <a:prstGeom prst="rect">
            <a:avLst/>
          </a:prstGeom>
        </p:spPr>
      </p:pic>
      <p:sp>
        <p:nvSpPr>
          <p:cNvPr id="58" name="TextBox 57">
            <a:extLst>
              <a:ext uri="{FF2B5EF4-FFF2-40B4-BE49-F238E27FC236}">
                <a16:creationId xmlns:a16="http://schemas.microsoft.com/office/drawing/2014/main" id="{916514AF-B6DF-6449-05E6-D08BE5B7632B}"/>
              </a:ext>
            </a:extLst>
          </p:cNvPr>
          <p:cNvSpPr txBox="1"/>
          <p:nvPr/>
        </p:nvSpPr>
        <p:spPr>
          <a:xfrm>
            <a:off x="680515" y="1469617"/>
            <a:ext cx="5529785" cy="21929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r-Latn-RS" sz="825" b="1" dirty="0">
                <a:solidFill>
                  <a:schemeClr val="bg2">
                    <a:lumMod val="25000"/>
                  </a:schemeClr>
                </a:solidFill>
                <a:latin typeface="Poppins" panose="00000500000000000000" pitchFamily="2" charset="-18"/>
                <a:ea typeface="Tahoma" panose="020B0604030504040204" pitchFamily="34" charset="0"/>
                <a:cs typeface="Poppins" panose="00000500000000000000" pitchFamily="2" charset="-18"/>
              </a:rPr>
              <a:t>Spoljašnja temperature</a:t>
            </a:r>
            <a:endParaRPr lang="en-FI" sz="825" dirty="0">
              <a:solidFill>
                <a:schemeClr val="bg2">
                  <a:lumMod val="25000"/>
                </a:schemeClr>
              </a:solidFill>
              <a:latin typeface="Poppins" panose="00000500000000000000" pitchFamily="2" charset="-18"/>
              <a:cs typeface="Poppins" panose="00000500000000000000" pitchFamily="2" charset="-18"/>
            </a:endParaRPr>
          </a:p>
        </p:txBody>
      </p:sp>
      <p:cxnSp>
        <p:nvCxnSpPr>
          <p:cNvPr id="59" name="Straight Arrow Connector 58">
            <a:extLst>
              <a:ext uri="{FF2B5EF4-FFF2-40B4-BE49-F238E27FC236}">
                <a16:creationId xmlns:a16="http://schemas.microsoft.com/office/drawing/2014/main" id="{3CB3E44A-0C53-9F74-4F35-743DB9E16F74}"/>
              </a:ext>
            </a:extLst>
          </p:cNvPr>
          <p:cNvCxnSpPr>
            <a:cxnSpLocks/>
          </p:cNvCxnSpPr>
          <p:nvPr/>
        </p:nvCxnSpPr>
        <p:spPr>
          <a:xfrm>
            <a:off x="1646191" y="2185880"/>
            <a:ext cx="394046" cy="0"/>
          </a:xfrm>
          <a:prstGeom prst="straightConnector1">
            <a:avLst/>
          </a:prstGeom>
          <a:ln w="19050" cap="flat" cmpd="sng" algn="ctr">
            <a:solidFill>
              <a:schemeClr val="accent3"/>
            </a:solidFill>
            <a:prstDash val="solid"/>
            <a:round/>
            <a:headEnd type="none" w="med" len="med"/>
            <a:tailEnd type="arrow" w="lg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60" name="Straight Arrow Connector 59">
            <a:extLst>
              <a:ext uri="{FF2B5EF4-FFF2-40B4-BE49-F238E27FC236}">
                <a16:creationId xmlns:a16="http://schemas.microsoft.com/office/drawing/2014/main" id="{A6F5D7BF-EE87-BBD1-2655-3B4B4D4815E7}"/>
              </a:ext>
            </a:extLst>
          </p:cNvPr>
          <p:cNvCxnSpPr>
            <a:cxnSpLocks/>
          </p:cNvCxnSpPr>
          <p:nvPr/>
        </p:nvCxnSpPr>
        <p:spPr>
          <a:xfrm>
            <a:off x="1840185" y="3506211"/>
            <a:ext cx="394046" cy="0"/>
          </a:xfrm>
          <a:prstGeom prst="straightConnector1">
            <a:avLst/>
          </a:prstGeom>
          <a:ln w="19050" cap="flat" cmpd="sng" algn="ctr">
            <a:solidFill>
              <a:srgbClr val="ED1C24"/>
            </a:solidFill>
            <a:prstDash val="solid"/>
            <a:round/>
            <a:headEnd type="none" w="med" len="med"/>
            <a:tailEnd type="arrow" w="lg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id="{CEE8877B-F160-7B51-89E2-0CCAA1CA80EE}"/>
              </a:ext>
            </a:extLst>
          </p:cNvPr>
          <p:cNvCxnSpPr>
            <a:cxnSpLocks/>
          </p:cNvCxnSpPr>
          <p:nvPr/>
        </p:nvCxnSpPr>
        <p:spPr>
          <a:xfrm flipV="1">
            <a:off x="2864449" y="2632794"/>
            <a:ext cx="0" cy="428087"/>
          </a:xfrm>
          <a:prstGeom prst="straightConnector1">
            <a:avLst/>
          </a:prstGeom>
          <a:ln w="19050" cap="flat" cmpd="sng" algn="ctr">
            <a:solidFill>
              <a:schemeClr val="accent3"/>
            </a:solidFill>
            <a:prstDash val="solid"/>
            <a:round/>
            <a:headEnd type="arrow" w="lg" len="med"/>
            <a:tailEnd type="arrow" w="lg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63" name="Rectangle: Rounded Corners 62">
            <a:extLst>
              <a:ext uri="{FF2B5EF4-FFF2-40B4-BE49-F238E27FC236}">
                <a16:creationId xmlns:a16="http://schemas.microsoft.com/office/drawing/2014/main" id="{7EE1E984-0900-468E-07D0-55B39DE9347E}"/>
              </a:ext>
            </a:extLst>
          </p:cNvPr>
          <p:cNvSpPr/>
          <p:nvPr/>
        </p:nvSpPr>
        <p:spPr>
          <a:xfrm>
            <a:off x="3921201" y="2031339"/>
            <a:ext cx="915371" cy="309083"/>
          </a:xfrm>
          <a:prstGeom prst="roundRect">
            <a:avLst>
              <a:gd name="adj" fmla="val 42752"/>
            </a:avLst>
          </a:prstGeom>
          <a:solidFill>
            <a:srgbClr val="EE1D2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r>
              <a:rPr lang="sr-Latn-RS" sz="675" b="1" dirty="0">
                <a:solidFill>
                  <a:prstClr val="white"/>
                </a:solidFill>
                <a:latin typeface="Poppins" panose="00000500000000000000" pitchFamily="2" charset="-18"/>
                <a:ea typeface="Tahoma" panose="020B0604030504040204" pitchFamily="34" charset="0"/>
                <a:cs typeface="Poppins" panose="00000500000000000000" pitchFamily="2" charset="-18"/>
              </a:rPr>
              <a:t>Optimizovani setpoint</a:t>
            </a:r>
            <a:endParaRPr lang="en-FI" sz="675" dirty="0">
              <a:solidFill>
                <a:prstClr val="white"/>
              </a:solidFill>
              <a:latin typeface="Poppins" panose="00000500000000000000" pitchFamily="2" charset="-18"/>
              <a:cs typeface="Poppins" panose="00000500000000000000" pitchFamily="2" charset="-18"/>
            </a:endParaRPr>
          </a:p>
        </p:txBody>
      </p:sp>
      <p:sp>
        <p:nvSpPr>
          <p:cNvPr id="66" name="Rectangle: Rounded Corners 65">
            <a:extLst>
              <a:ext uri="{FF2B5EF4-FFF2-40B4-BE49-F238E27FC236}">
                <a16:creationId xmlns:a16="http://schemas.microsoft.com/office/drawing/2014/main" id="{3EFBD68A-F051-3B06-C88C-9C2051284B5D}"/>
              </a:ext>
            </a:extLst>
          </p:cNvPr>
          <p:cNvSpPr/>
          <p:nvPr/>
        </p:nvSpPr>
        <p:spPr>
          <a:xfrm>
            <a:off x="5189889" y="2036814"/>
            <a:ext cx="915372" cy="309083"/>
          </a:xfrm>
          <a:prstGeom prst="roundRect">
            <a:avLst>
              <a:gd name="adj" fmla="val 42752"/>
            </a:avLst>
          </a:prstGeom>
          <a:solidFill>
            <a:srgbClr val="EE1D2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r>
              <a:rPr lang="sr-Latn-RS" sz="600" b="1" dirty="0">
                <a:solidFill>
                  <a:prstClr val="white"/>
                </a:solidFill>
                <a:latin typeface="Poppins" panose="00000500000000000000" pitchFamily="2" charset="-18"/>
                <a:ea typeface="Tahoma" panose="020B0604030504040204" pitchFamily="34" charset="0"/>
                <a:cs typeface="Poppins" panose="00000500000000000000" pitchFamily="2" charset="-18"/>
              </a:rPr>
              <a:t>Niža potrošnja toplotne energije</a:t>
            </a:r>
            <a:endParaRPr lang="en-FI" sz="600" dirty="0">
              <a:solidFill>
                <a:prstClr val="white"/>
              </a:solidFill>
              <a:latin typeface="Poppins" panose="00000500000000000000" pitchFamily="2" charset="-18"/>
              <a:cs typeface="Poppins" panose="00000500000000000000" pitchFamily="2" charset="-18"/>
            </a:endParaRPr>
          </a:p>
        </p:txBody>
      </p:sp>
      <p:cxnSp>
        <p:nvCxnSpPr>
          <p:cNvPr id="68" name="Straight Arrow Connector 67">
            <a:extLst>
              <a:ext uri="{FF2B5EF4-FFF2-40B4-BE49-F238E27FC236}">
                <a16:creationId xmlns:a16="http://schemas.microsoft.com/office/drawing/2014/main" id="{FC43F0F4-887E-2FDF-633C-267E9DD3D16B}"/>
              </a:ext>
            </a:extLst>
          </p:cNvPr>
          <p:cNvCxnSpPr>
            <a:cxnSpLocks/>
          </p:cNvCxnSpPr>
          <p:nvPr/>
        </p:nvCxnSpPr>
        <p:spPr>
          <a:xfrm>
            <a:off x="3479916" y="2185880"/>
            <a:ext cx="394046" cy="0"/>
          </a:xfrm>
          <a:prstGeom prst="straightConnector1">
            <a:avLst/>
          </a:prstGeom>
          <a:ln w="19050" cap="flat" cmpd="sng" algn="ctr">
            <a:solidFill>
              <a:srgbClr val="ED1C24"/>
            </a:solidFill>
            <a:prstDash val="solid"/>
            <a:round/>
            <a:headEnd type="none" w="med" len="med"/>
            <a:tailEnd type="arrow" w="lg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69" name="Straight Arrow Connector 68">
            <a:extLst>
              <a:ext uri="{FF2B5EF4-FFF2-40B4-BE49-F238E27FC236}">
                <a16:creationId xmlns:a16="http://schemas.microsoft.com/office/drawing/2014/main" id="{293AB766-CC81-48D5-9A0E-835726DA7F40}"/>
              </a:ext>
            </a:extLst>
          </p:cNvPr>
          <p:cNvCxnSpPr>
            <a:cxnSpLocks/>
          </p:cNvCxnSpPr>
          <p:nvPr/>
        </p:nvCxnSpPr>
        <p:spPr>
          <a:xfrm>
            <a:off x="4733916" y="2185880"/>
            <a:ext cx="394046" cy="0"/>
          </a:xfrm>
          <a:prstGeom prst="straightConnector1">
            <a:avLst/>
          </a:prstGeom>
          <a:ln w="19050" cap="flat" cmpd="sng" algn="ctr">
            <a:solidFill>
              <a:srgbClr val="ED1C24"/>
            </a:solidFill>
            <a:prstDash val="solid"/>
            <a:round/>
            <a:headEnd type="none" w="med" len="med"/>
            <a:tailEnd type="arrow" w="lg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70" name="TextBox 69">
            <a:extLst>
              <a:ext uri="{FF2B5EF4-FFF2-40B4-BE49-F238E27FC236}">
                <a16:creationId xmlns:a16="http://schemas.microsoft.com/office/drawing/2014/main" id="{11604CD6-BD88-8062-EAA8-DB90A35B0F20}"/>
              </a:ext>
            </a:extLst>
          </p:cNvPr>
          <p:cNvSpPr txBox="1"/>
          <p:nvPr/>
        </p:nvSpPr>
        <p:spPr>
          <a:xfrm>
            <a:off x="701137" y="2556729"/>
            <a:ext cx="1049999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sr-Latn-RS" sz="750" i="1" dirty="0">
                <a:solidFill>
                  <a:schemeClr val="tx1">
                    <a:lumMod val="50000"/>
                    <a:lumOff val="50000"/>
                  </a:schemeClr>
                </a:solidFill>
                <a:latin typeface="Poppins" panose="00000500000000000000" pitchFamily="2" charset="-18"/>
                <a:ea typeface="Tahoma" panose="020B0604030504040204" pitchFamily="34" charset="0"/>
                <a:cs typeface="Poppins" panose="00000500000000000000" pitchFamily="2" charset="-18"/>
              </a:rPr>
              <a:t>Spoljašnji senzor temperature</a:t>
            </a:r>
            <a:endParaRPr lang="en-FI" sz="750" i="1" dirty="0">
              <a:solidFill>
                <a:schemeClr val="tx1">
                  <a:lumMod val="50000"/>
                  <a:lumOff val="50000"/>
                </a:schemeClr>
              </a:solidFill>
              <a:latin typeface="Poppins" panose="00000500000000000000" pitchFamily="2" charset="-18"/>
              <a:cs typeface="Poppins" panose="00000500000000000000" pitchFamily="2" charset="-18"/>
            </a:endParaRP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7F5A7D1F-6F12-2A33-619E-0B6761FAB447}"/>
              </a:ext>
            </a:extLst>
          </p:cNvPr>
          <p:cNvSpPr txBox="1"/>
          <p:nvPr/>
        </p:nvSpPr>
        <p:spPr>
          <a:xfrm>
            <a:off x="701137" y="3753087"/>
            <a:ext cx="982456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sr-Latn-RS" sz="750" i="1" dirty="0">
                <a:solidFill>
                  <a:schemeClr val="tx1">
                    <a:lumMod val="50000"/>
                    <a:lumOff val="50000"/>
                  </a:schemeClr>
                </a:solidFill>
                <a:latin typeface="Poppins" panose="00000500000000000000" pitchFamily="2" charset="-18"/>
                <a:ea typeface="Tahoma" panose="020B0604030504040204" pitchFamily="34" charset="0"/>
                <a:cs typeface="Poppins" panose="00000500000000000000" pitchFamily="2" charset="-18"/>
              </a:rPr>
              <a:t>Vremenska prognoza</a:t>
            </a:r>
            <a:endParaRPr lang="en-FI" sz="750" i="1" dirty="0">
              <a:solidFill>
                <a:schemeClr val="tx1">
                  <a:lumMod val="50000"/>
                  <a:lumOff val="50000"/>
                </a:schemeClr>
              </a:solidFill>
              <a:latin typeface="Poppins" panose="00000500000000000000" pitchFamily="2" charset="-18"/>
              <a:cs typeface="Poppins" panose="00000500000000000000" pitchFamily="2" charset="-18"/>
            </a:endParaRPr>
          </a:p>
        </p:txBody>
      </p:sp>
      <p:sp>
        <p:nvSpPr>
          <p:cNvPr id="72" name="Rectangle: Top Corners Rounded 71">
            <a:extLst>
              <a:ext uri="{FF2B5EF4-FFF2-40B4-BE49-F238E27FC236}">
                <a16:creationId xmlns:a16="http://schemas.microsoft.com/office/drawing/2014/main" id="{1E605148-863F-B608-F3B8-1456343CEDA7}"/>
              </a:ext>
            </a:extLst>
          </p:cNvPr>
          <p:cNvSpPr/>
          <p:nvPr/>
        </p:nvSpPr>
        <p:spPr>
          <a:xfrm>
            <a:off x="4469466" y="2655430"/>
            <a:ext cx="1740834" cy="1451563"/>
          </a:xfrm>
          <a:prstGeom prst="round2SameRect">
            <a:avLst>
              <a:gd name="adj1" fmla="val 10419"/>
              <a:gd name="adj2" fmla="val 0"/>
            </a:avLst>
          </a:prstGeom>
          <a:solidFill>
            <a:srgbClr val="DDE3E8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28588" indent="-128588" defTabSz="914378">
              <a:buClr>
                <a:srgbClr val="EE1D23"/>
              </a:buClr>
              <a:buFont typeface="Arial" panose="020B0604020202020204" pitchFamily="34" charset="0"/>
              <a:buChar char="•"/>
              <a:defRPr/>
            </a:pPr>
            <a:r>
              <a:rPr lang="sr-Latn-RS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Poppins" panose="00000500000000000000" pitchFamily="2" charset="-18"/>
                <a:ea typeface="Tahoma" panose="020B0604030504040204" pitchFamily="34" charset="0"/>
                <a:cs typeface="Poppins" panose="00000500000000000000" pitchFamily="2" charset="-18"/>
              </a:rPr>
              <a:t>Optimizacija se postiže komibacijom ECL-a sa naprednom vremenskom prognozom i Leanheat AI bazom podataka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Poppins" panose="00000500000000000000" pitchFamily="2" charset="-18"/>
                <a:ea typeface="Tahoma" panose="020B0604030504040204" pitchFamily="34" charset="0"/>
                <a:cs typeface="Poppins" panose="00000500000000000000" pitchFamily="2" charset="-18"/>
              </a:rPr>
              <a:t>.</a:t>
            </a:r>
          </a:p>
          <a:p>
            <a:pPr marL="128588" indent="-128588" defTabSz="914378">
              <a:buClr>
                <a:srgbClr val="EE1D23"/>
              </a:buClr>
              <a:buFont typeface="Arial" panose="020B0604020202020204" pitchFamily="34" charset="0"/>
              <a:buChar char="•"/>
              <a:defRPr/>
            </a:pPr>
            <a:endParaRPr lang="en-US" sz="750" dirty="0">
              <a:solidFill>
                <a:schemeClr val="tx1">
                  <a:lumMod val="65000"/>
                  <a:lumOff val="35000"/>
                </a:schemeClr>
              </a:solidFill>
              <a:latin typeface="Poppins" panose="00000500000000000000" pitchFamily="2" charset="-18"/>
              <a:ea typeface="Tahoma" panose="020B0604030504040204" pitchFamily="34" charset="0"/>
              <a:cs typeface="Poppins" panose="00000500000000000000" pitchFamily="2" charset="-18"/>
            </a:endParaRPr>
          </a:p>
          <a:p>
            <a:pPr marL="128588" indent="-128588" defTabSz="914378">
              <a:buClr>
                <a:srgbClr val="EE1D23"/>
              </a:buClr>
              <a:buFont typeface="Arial" panose="020B0604020202020204" pitchFamily="34" charset="0"/>
              <a:buChar char="•"/>
              <a:defRPr/>
            </a:pPr>
            <a:r>
              <a:rPr lang="en-US" sz="75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Poppins" panose="00000500000000000000" pitchFamily="2" charset="-18"/>
                <a:ea typeface="Tahoma" panose="020B0604030504040204" pitchFamily="34" charset="0"/>
                <a:cs typeface="Poppins" panose="00000500000000000000" pitchFamily="2" charset="-18"/>
              </a:rPr>
              <a:t>Leanheat</a:t>
            </a:r>
            <a:r>
              <a:rPr lang="en-US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Poppins" panose="00000500000000000000" pitchFamily="2" charset="-18"/>
                <a:ea typeface="Tahoma" panose="020B0604030504040204" pitchFamily="34" charset="0"/>
                <a:cs typeface="Poppins" panose="00000500000000000000" pitchFamily="2" charset="-18"/>
              </a:rPr>
              <a:t> </a:t>
            </a:r>
            <a:r>
              <a:rPr lang="sr-Latn-RS" sz="750" dirty="0">
                <a:solidFill>
                  <a:schemeClr val="tx1">
                    <a:lumMod val="65000"/>
                    <a:lumOff val="35000"/>
                  </a:schemeClr>
                </a:solidFill>
                <a:latin typeface="Poppins" panose="00000500000000000000" pitchFamily="2" charset="-18"/>
                <a:ea typeface="Tahoma" panose="020B0604030504040204" pitchFamily="34" charset="0"/>
                <a:cs typeface="Poppins" panose="00000500000000000000" pitchFamily="2" charset="-18"/>
              </a:rPr>
              <a:t>automatski računa optimizovanu ofset vrednost svakih 10 minuta baziranu na realnim podacim vremenske prognoze i vraća je u ECL</a:t>
            </a:r>
            <a:endParaRPr lang="sv-SE" sz="750" dirty="0">
              <a:solidFill>
                <a:schemeClr val="tx1">
                  <a:lumMod val="65000"/>
                  <a:lumOff val="35000"/>
                </a:schemeClr>
              </a:solidFill>
              <a:latin typeface="Poppins" panose="00000500000000000000" pitchFamily="2" charset="-18"/>
              <a:ea typeface="Tahoma" panose="020B0604030504040204" pitchFamily="34" charset="0"/>
              <a:cs typeface="Poppins" panose="00000500000000000000" pitchFamily="2" charset="-18"/>
            </a:endParaRP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62B30354-FF88-9C98-871C-0A1034FF2494}"/>
              </a:ext>
            </a:extLst>
          </p:cNvPr>
          <p:cNvSpPr txBox="1"/>
          <p:nvPr/>
        </p:nvSpPr>
        <p:spPr>
          <a:xfrm>
            <a:off x="6534623" y="995295"/>
            <a:ext cx="2442775" cy="171848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07000"/>
              </a:lnSpc>
              <a:spcAft>
                <a:spcPts val="600"/>
              </a:spcAft>
            </a:pPr>
            <a:r>
              <a:rPr lang="sr-Latn-RS" sz="825" kern="100" dirty="0">
                <a:latin typeface="Poppins" panose="00000500000000000000" pitchFamily="2" charset="-18"/>
                <a:ea typeface="Aptos" panose="020B0004020202020204" pitchFamily="34" charset="0"/>
                <a:cs typeface="Poppins" panose="00000500000000000000" pitchFamily="2" charset="-18"/>
              </a:rPr>
              <a:t>Sa</a:t>
            </a:r>
            <a:r>
              <a:rPr lang="en-US" sz="825" kern="100" dirty="0">
                <a:latin typeface="Poppins" panose="00000500000000000000" pitchFamily="2" charset="-18"/>
                <a:ea typeface="Aptos" panose="020B0004020202020204" pitchFamily="34" charset="0"/>
                <a:cs typeface="Poppins" panose="00000500000000000000" pitchFamily="2" charset="-18"/>
              </a:rPr>
              <a:t> SWC,</a:t>
            </a:r>
            <a:r>
              <a:rPr lang="sr-Latn-RS" sz="825" kern="100" dirty="0">
                <a:latin typeface="Poppins" panose="00000500000000000000" pitchFamily="2" charset="-18"/>
                <a:ea typeface="Aptos" panose="020B0004020202020204" pitchFamily="34" charset="0"/>
                <a:cs typeface="Poppins" panose="00000500000000000000" pitchFamily="2" charset="-18"/>
              </a:rPr>
              <a:t> svaki kompatibilni</a:t>
            </a:r>
            <a:r>
              <a:rPr lang="en-US" sz="825" kern="100" dirty="0">
                <a:latin typeface="Poppins" panose="00000500000000000000" pitchFamily="2" charset="-18"/>
                <a:ea typeface="Aptos" panose="020B0004020202020204" pitchFamily="34" charset="0"/>
                <a:cs typeface="Poppins" panose="00000500000000000000" pitchFamily="2" charset="-18"/>
              </a:rPr>
              <a:t>* Danfoss ECL 310 </a:t>
            </a:r>
            <a:r>
              <a:rPr lang="sr-Latn-RS" sz="825" kern="100" dirty="0">
                <a:latin typeface="Poppins" panose="00000500000000000000" pitchFamily="2" charset="-18"/>
                <a:ea typeface="Aptos" panose="020B0004020202020204" pitchFamily="34" charset="0"/>
                <a:cs typeface="Poppins" panose="00000500000000000000" pitchFamily="2" charset="-18"/>
              </a:rPr>
              <a:t>regulator u </a:t>
            </a:r>
            <a:r>
              <a:rPr lang="en-US" sz="825" kern="100" dirty="0" err="1">
                <a:latin typeface="Poppins" panose="00000500000000000000" pitchFamily="2" charset="-18"/>
                <a:ea typeface="Aptos" panose="020B0004020202020204" pitchFamily="34" charset="0"/>
                <a:cs typeface="Poppins" panose="00000500000000000000" pitchFamily="2" charset="-18"/>
              </a:rPr>
              <a:t>Leanheat</a:t>
            </a:r>
            <a:r>
              <a:rPr lang="en-US" sz="825" kern="100" dirty="0">
                <a:latin typeface="Poppins" panose="00000500000000000000" pitchFamily="2" charset="-18"/>
                <a:ea typeface="Aptos" panose="020B0004020202020204" pitchFamily="34" charset="0"/>
                <a:cs typeface="Poppins" panose="00000500000000000000" pitchFamily="2" charset="-18"/>
              </a:rPr>
              <a:t>® Monitor</a:t>
            </a:r>
            <a:r>
              <a:rPr lang="sr-Latn-RS" sz="825" kern="100" dirty="0">
                <a:latin typeface="Poppins" panose="00000500000000000000" pitchFamily="2" charset="-18"/>
                <a:ea typeface="Aptos" panose="020B0004020202020204" pitchFamily="34" charset="0"/>
                <a:cs typeface="Poppins" panose="00000500000000000000" pitchFamily="2" charset="-18"/>
              </a:rPr>
              <a:t>-u počinje da koristi podatke o solarnom zračenju, brzini vetra i vlažnosti</a:t>
            </a:r>
            <a:r>
              <a:rPr lang="en-US" sz="825" kern="100" dirty="0">
                <a:latin typeface="Poppins" panose="00000500000000000000" pitchFamily="2" charset="-18"/>
                <a:ea typeface="Aptos" panose="020B0004020202020204" pitchFamily="34" charset="0"/>
                <a:cs typeface="Poppins" panose="00000500000000000000" pitchFamily="2" charset="-18"/>
              </a:rPr>
              <a:t>. SWC </a:t>
            </a:r>
            <a:r>
              <a:rPr lang="sr-Latn-RS" sz="825" kern="100" dirty="0">
                <a:latin typeface="Poppins" panose="00000500000000000000" pitchFamily="2" charset="-18"/>
                <a:ea typeface="Aptos" panose="020B0004020202020204" pitchFamily="34" charset="0"/>
                <a:cs typeface="Poppins" panose="00000500000000000000" pitchFamily="2" charset="-18"/>
              </a:rPr>
              <a:t>funkcioniše te što pravi</a:t>
            </a:r>
            <a:r>
              <a:rPr lang="en-US" sz="825" kern="100" dirty="0">
                <a:latin typeface="Poppins" panose="00000500000000000000" pitchFamily="2" charset="-18"/>
                <a:ea typeface="Aptos" panose="020B0004020202020204" pitchFamily="34" charset="0"/>
                <a:cs typeface="Poppins" panose="00000500000000000000" pitchFamily="2" charset="-18"/>
              </a:rPr>
              <a:t> </a:t>
            </a:r>
            <a:r>
              <a:rPr lang="sr-Latn-RS" sz="825" kern="100" dirty="0">
                <a:solidFill>
                  <a:schemeClr val="accent2"/>
                </a:solidFill>
                <a:latin typeface="Poppins" panose="00000500000000000000" pitchFamily="2" charset="-18"/>
                <a:ea typeface="Aptos" panose="020B0004020202020204" pitchFamily="34" charset="0"/>
                <a:cs typeface="Poppins" panose="00000500000000000000" pitchFamily="2" charset="-18"/>
              </a:rPr>
              <a:t>optimizovanu ofset vrednosti razvodne temperature</a:t>
            </a:r>
            <a:r>
              <a:rPr lang="en-US" sz="825" kern="100" dirty="0">
                <a:latin typeface="Poppins" panose="00000500000000000000" pitchFamily="2" charset="-18"/>
                <a:ea typeface="Aptos" panose="020B0004020202020204" pitchFamily="34" charset="0"/>
                <a:cs typeface="Poppins" panose="00000500000000000000" pitchFamily="2" charset="-18"/>
              </a:rPr>
              <a:t>, </a:t>
            </a:r>
            <a:r>
              <a:rPr lang="sr-Latn-RS" sz="825" kern="100" dirty="0">
                <a:latin typeface="Poppins" panose="00000500000000000000" pitchFamily="2" charset="-18"/>
                <a:ea typeface="Aptos" panose="020B0004020202020204" pitchFamily="34" charset="0"/>
                <a:cs typeface="Poppins" panose="00000500000000000000" pitchFamily="2" charset="-18"/>
              </a:rPr>
              <a:t>omogućavajući vašem ECLu da bolje reaguje na spoljašnje uticaje</a:t>
            </a:r>
            <a:r>
              <a:rPr lang="en-US" sz="825" kern="100" dirty="0">
                <a:latin typeface="Poppins" panose="00000500000000000000" pitchFamily="2" charset="-18"/>
                <a:ea typeface="Aptos" panose="020B0004020202020204" pitchFamily="34" charset="0"/>
                <a:cs typeface="Poppins" panose="00000500000000000000" pitchFamily="2" charset="-18"/>
              </a:rPr>
              <a:t>. </a:t>
            </a:r>
            <a:r>
              <a:rPr lang="sr-Latn-RS" sz="825" kern="100" dirty="0">
                <a:latin typeface="Poppins" panose="00000500000000000000" pitchFamily="2" charset="-18"/>
                <a:ea typeface="Aptos" panose="020B0004020202020204" pitchFamily="34" charset="0"/>
                <a:cs typeface="Poppins" panose="00000500000000000000" pitchFamily="2" charset="-18"/>
              </a:rPr>
              <a:t>Ovo omogućava optimalnu upotrebu energije uz zadržavanje komfora korisnika</a:t>
            </a:r>
            <a:r>
              <a:rPr lang="en-US" sz="825" kern="100" dirty="0">
                <a:latin typeface="Poppins" panose="00000500000000000000" pitchFamily="2" charset="-18"/>
                <a:ea typeface="Aptos" panose="020B0004020202020204" pitchFamily="34" charset="0"/>
                <a:cs typeface="Poppins" panose="00000500000000000000" pitchFamily="2" charset="-18"/>
              </a:rPr>
              <a:t>. </a:t>
            </a:r>
            <a:r>
              <a:rPr lang="en-US" sz="825" kern="100" dirty="0">
                <a:solidFill>
                  <a:schemeClr val="accent2"/>
                </a:solidFill>
                <a:latin typeface="Poppins" panose="00000500000000000000" pitchFamily="2" charset="-18"/>
                <a:ea typeface="Aptos" panose="020B0004020202020204" pitchFamily="34" charset="0"/>
                <a:cs typeface="Poppins" panose="00000500000000000000" pitchFamily="2" charset="-18"/>
              </a:rPr>
              <a:t>SWC </a:t>
            </a:r>
            <a:r>
              <a:rPr lang="sr-Latn-RS" sz="825" kern="100" dirty="0">
                <a:solidFill>
                  <a:schemeClr val="accent2"/>
                </a:solidFill>
                <a:latin typeface="Poppins" panose="00000500000000000000" pitchFamily="2" charset="-18"/>
                <a:ea typeface="Aptos" panose="020B0004020202020204" pitchFamily="34" charset="0"/>
                <a:cs typeface="Poppins" panose="00000500000000000000" pitchFamily="2" charset="-18"/>
              </a:rPr>
              <a:t>je potpuno automatska funkcija i ne zahteva ručna podešavanja od strane korisnika</a:t>
            </a:r>
            <a:endParaRPr lang="en-GB" sz="825" kern="100" dirty="0">
              <a:latin typeface="Poppins" panose="00000500000000000000" pitchFamily="2" charset="-18"/>
              <a:ea typeface="Aptos" panose="020B0004020202020204" pitchFamily="34" charset="0"/>
              <a:cs typeface="Poppins" panose="00000500000000000000" pitchFamily="2" charset="-18"/>
            </a:endParaRP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BC813808-8FF1-5A4C-0BBD-0A2B5790178C}"/>
              </a:ext>
            </a:extLst>
          </p:cNvPr>
          <p:cNvSpPr txBox="1"/>
          <p:nvPr/>
        </p:nvSpPr>
        <p:spPr>
          <a:xfrm>
            <a:off x="6519009" y="2691792"/>
            <a:ext cx="2442775" cy="141346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algn="just">
              <a:lnSpc>
                <a:spcPct val="107000"/>
              </a:lnSpc>
              <a:spcAft>
                <a:spcPts val="800"/>
              </a:spcAft>
              <a:defRPr sz="1100" kern="100">
                <a:effectLst/>
                <a:latin typeface="Poppins" panose="00000500000000000000" pitchFamily="2" charset="-18"/>
                <a:ea typeface="Aptos" panose="020B0004020202020204" pitchFamily="34" charset="0"/>
                <a:cs typeface="Poppins" panose="00000500000000000000" pitchFamily="2" charset="-18"/>
              </a:defRPr>
            </a:lvl1pPr>
          </a:lstStyle>
          <a:p>
            <a:r>
              <a:rPr lang="sr-Latn-RS" sz="825" dirty="0"/>
              <a:t>Potvrđene uštede u </a:t>
            </a:r>
            <a:r>
              <a:rPr lang="sr-Latn-RS" sz="825" dirty="0">
                <a:solidFill>
                  <a:schemeClr val="accent2"/>
                </a:solidFill>
              </a:rPr>
              <a:t>energiji potrebnoj za grejanje uz korišćenje </a:t>
            </a:r>
            <a:r>
              <a:rPr lang="en-US" sz="825" dirty="0">
                <a:solidFill>
                  <a:schemeClr val="accent2"/>
                </a:solidFill>
              </a:rPr>
              <a:t>SWC</a:t>
            </a:r>
            <a:r>
              <a:rPr lang="sr-Latn-RS" sz="825" dirty="0">
                <a:solidFill>
                  <a:schemeClr val="accent2"/>
                </a:solidFill>
              </a:rPr>
              <a:t> su</a:t>
            </a:r>
            <a:r>
              <a:rPr lang="en-US" sz="825" dirty="0">
                <a:solidFill>
                  <a:schemeClr val="accent2"/>
                </a:solidFill>
              </a:rPr>
              <a:t> 5-15%</a:t>
            </a:r>
            <a:r>
              <a:rPr lang="en-US" sz="825" dirty="0"/>
              <a:t>. </a:t>
            </a:r>
            <a:r>
              <a:rPr lang="sr-Latn-RS" sz="825" dirty="0"/>
              <a:t>Uštede zavise od nekoliko faktora kao što su karakteristike zgrade, lokalnih vremenskih uslova i konfiguracije postojećeg sistema za grejanje</a:t>
            </a:r>
            <a:r>
              <a:rPr lang="en-US" sz="825" dirty="0"/>
              <a:t>. </a:t>
            </a:r>
            <a:endParaRPr lang="sl-SI" sz="825" dirty="0"/>
          </a:p>
          <a:p>
            <a:r>
              <a:rPr lang="sr-Latn-RS" sz="825" dirty="0"/>
              <a:t>Kao deo usluge dobijate mesečno detaljni izveštaj rada svakog ECL310 povezanog na ovaj servi</a:t>
            </a:r>
            <a:r>
              <a:rPr lang="en-US" sz="825" dirty="0"/>
              <a:t>s</a:t>
            </a:r>
            <a:r>
              <a:rPr lang="sr-Latn-RS" sz="825" dirty="0"/>
              <a:t>.</a:t>
            </a:r>
            <a:r>
              <a:rPr lang="en-US" sz="825" dirty="0"/>
              <a:t>.</a:t>
            </a:r>
            <a:endParaRPr lang="en-GB" sz="825" dirty="0"/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F03B4923-3084-1106-416C-23DDA7CDA7B3}"/>
              </a:ext>
            </a:extLst>
          </p:cNvPr>
          <p:cNvSpPr txBox="1"/>
          <p:nvPr/>
        </p:nvSpPr>
        <p:spPr>
          <a:xfrm>
            <a:off x="446139" y="4155220"/>
            <a:ext cx="5901320" cy="33541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600"/>
              </a:spcAft>
            </a:pPr>
            <a:r>
              <a:rPr lang="en-US" sz="750" kern="100" dirty="0">
                <a:latin typeface="Poppins" panose="00000500000000000000" pitchFamily="2" charset="-18"/>
                <a:ea typeface="Aptos" panose="020B0004020202020204" pitchFamily="34" charset="0"/>
                <a:cs typeface="Poppins" panose="00000500000000000000" pitchFamily="2" charset="-18"/>
              </a:rPr>
              <a:t>*Software version must be 1.42 or higher. The following ECL 310 heating applications are supported: A230, A237, A247, A260, A266, A267, A275, A319, A330, A333, A367, A376, A377, A390, P330, P348, P370.</a:t>
            </a:r>
            <a:endParaRPr lang="en-GB" sz="750" kern="100" dirty="0">
              <a:latin typeface="Poppins" panose="00000500000000000000" pitchFamily="2" charset="-18"/>
              <a:ea typeface="Aptos" panose="020B0004020202020204" pitchFamily="34" charset="0"/>
              <a:cs typeface="Poppins" panose="00000500000000000000" pitchFamily="2" charset="-18"/>
            </a:endParaRPr>
          </a:p>
        </p:txBody>
      </p:sp>
    </p:spTree>
    <p:extLst>
      <p:ext uri="{BB962C8B-B14F-4D97-AF65-F5344CB8AC3E}">
        <p14:creationId xmlns:p14="http://schemas.microsoft.com/office/powerpoint/2010/main" val="42864630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D7A52BB-5053-1596-8706-F1874122797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>
            <a:extLst>
              <a:ext uri="{FF2B5EF4-FFF2-40B4-BE49-F238E27FC236}">
                <a16:creationId xmlns:a16="http://schemas.microsoft.com/office/drawing/2014/main" id="{44912922-68BE-8A29-1F18-5DBD27A0AACF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14262"/>
          <a:stretch/>
        </p:blipFill>
        <p:spPr>
          <a:xfrm>
            <a:off x="492254" y="2693413"/>
            <a:ext cx="2970000" cy="1975517"/>
          </a:xfrm>
          <a:prstGeom prst="rect">
            <a:avLst/>
          </a:prstGeom>
        </p:spPr>
      </p:pic>
      <p:sp>
        <p:nvSpPr>
          <p:cNvPr id="41" name="Pravokotnik 40">
            <a:hlinkClick r:id="" action="ppaction://noaction"/>
            <a:extLst>
              <a:ext uri="{FF2B5EF4-FFF2-40B4-BE49-F238E27FC236}">
                <a16:creationId xmlns:a16="http://schemas.microsoft.com/office/drawing/2014/main" id="{6AD7349B-C799-D320-CBF0-E1CF2FE24F39}"/>
              </a:ext>
            </a:extLst>
          </p:cNvPr>
          <p:cNvSpPr/>
          <p:nvPr/>
        </p:nvSpPr>
        <p:spPr>
          <a:xfrm>
            <a:off x="-9727" y="71084"/>
            <a:ext cx="3588241" cy="64080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66">
              <a:defRPr/>
            </a:pPr>
            <a:r>
              <a:rPr lang="sl-SI">
                <a:solidFill>
                  <a:prstClr val="white"/>
                </a:solidFill>
                <a:latin typeface="Verdana"/>
              </a:rPr>
              <a:t> </a:t>
            </a:r>
          </a:p>
        </p:txBody>
      </p:sp>
      <p:sp>
        <p:nvSpPr>
          <p:cNvPr id="42" name="Pravokotnik 41">
            <a:hlinkClick r:id="" action="ppaction://noaction"/>
            <a:extLst>
              <a:ext uri="{FF2B5EF4-FFF2-40B4-BE49-F238E27FC236}">
                <a16:creationId xmlns:a16="http://schemas.microsoft.com/office/drawing/2014/main" id="{C7C9F5F2-4995-7C14-E99E-A3032639A5BD}"/>
              </a:ext>
            </a:extLst>
          </p:cNvPr>
          <p:cNvSpPr/>
          <p:nvPr/>
        </p:nvSpPr>
        <p:spPr>
          <a:xfrm>
            <a:off x="-9727" y="71084"/>
            <a:ext cx="3588241" cy="64080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66"/>
            <a:r>
              <a:rPr lang="sl-SI">
                <a:solidFill>
                  <a:prstClr val="white"/>
                </a:solidFill>
                <a:latin typeface="Verdana"/>
              </a:rPr>
              <a:t> </a:t>
            </a:r>
          </a:p>
        </p:txBody>
      </p:sp>
      <p:sp>
        <p:nvSpPr>
          <p:cNvPr id="43" name="Pravokotnik 42">
            <a:hlinkClick r:id="" action="ppaction://noaction"/>
            <a:extLst>
              <a:ext uri="{FF2B5EF4-FFF2-40B4-BE49-F238E27FC236}">
                <a16:creationId xmlns:a16="http://schemas.microsoft.com/office/drawing/2014/main" id="{69E2820A-9E18-5AD7-E6C1-1CC0F8730DC5}"/>
              </a:ext>
            </a:extLst>
          </p:cNvPr>
          <p:cNvSpPr/>
          <p:nvPr/>
        </p:nvSpPr>
        <p:spPr>
          <a:xfrm>
            <a:off x="-9727" y="71084"/>
            <a:ext cx="3588241" cy="64080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66">
              <a:defRPr/>
            </a:pPr>
            <a:r>
              <a:rPr lang="sl-SI">
                <a:solidFill>
                  <a:prstClr val="white"/>
                </a:solidFill>
                <a:latin typeface="Verdana"/>
              </a:rPr>
              <a:t> </a:t>
            </a:r>
          </a:p>
        </p:txBody>
      </p:sp>
      <p:sp>
        <p:nvSpPr>
          <p:cNvPr id="44" name="Pravokotnik 43">
            <a:hlinkClick r:id="" action="ppaction://noaction"/>
            <a:extLst>
              <a:ext uri="{FF2B5EF4-FFF2-40B4-BE49-F238E27FC236}">
                <a16:creationId xmlns:a16="http://schemas.microsoft.com/office/drawing/2014/main" id="{4D6C4319-FD2F-8C11-BAAF-686E16CA7DBB}"/>
              </a:ext>
            </a:extLst>
          </p:cNvPr>
          <p:cNvSpPr/>
          <p:nvPr/>
        </p:nvSpPr>
        <p:spPr>
          <a:xfrm>
            <a:off x="-9727" y="71084"/>
            <a:ext cx="3588241" cy="64080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66">
              <a:defRPr/>
            </a:pPr>
            <a:r>
              <a:rPr lang="sl-SI">
                <a:solidFill>
                  <a:prstClr val="white"/>
                </a:solidFill>
                <a:latin typeface="Verdana"/>
              </a:rPr>
              <a:t> 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7A929D9E-5ED9-75DC-4414-12EEB4234EF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2254" y="776175"/>
            <a:ext cx="2970000" cy="1852948"/>
          </a:xfrm>
          <a:prstGeom prst="rect">
            <a:avLst/>
          </a:prstGeom>
        </p:spPr>
      </p:pic>
      <p:pic>
        <p:nvPicPr>
          <p:cNvPr id="56" name="Picture 55">
            <a:extLst>
              <a:ext uri="{FF2B5EF4-FFF2-40B4-BE49-F238E27FC236}">
                <a16:creationId xmlns:a16="http://schemas.microsoft.com/office/drawing/2014/main" id="{5E79535D-F8FB-7206-AE48-BD6372DFF011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t="11434"/>
          <a:stretch/>
        </p:blipFill>
        <p:spPr>
          <a:xfrm>
            <a:off x="5827792" y="2693413"/>
            <a:ext cx="3181144" cy="2071430"/>
          </a:xfrm>
          <a:prstGeom prst="rect">
            <a:avLst/>
          </a:prstGeom>
        </p:spPr>
      </p:pic>
      <p:sp>
        <p:nvSpPr>
          <p:cNvPr id="59" name="TextBox 58">
            <a:extLst>
              <a:ext uri="{FF2B5EF4-FFF2-40B4-BE49-F238E27FC236}">
                <a16:creationId xmlns:a16="http://schemas.microsoft.com/office/drawing/2014/main" id="{9DB8F757-305D-A57D-F348-8A2353778180}"/>
              </a:ext>
            </a:extLst>
          </p:cNvPr>
          <p:cNvSpPr txBox="1"/>
          <p:nvPr/>
        </p:nvSpPr>
        <p:spPr>
          <a:xfrm>
            <a:off x="3578515" y="1425297"/>
            <a:ext cx="2219495" cy="11249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14313" indent="-214313" algn="just" defTabSz="685800">
              <a:lnSpc>
                <a:spcPct val="107000"/>
              </a:lnSpc>
              <a:spcAft>
                <a:spcPts val="600"/>
              </a:spcAft>
              <a:buClr>
                <a:srgbClr val="C00000"/>
              </a:buClr>
              <a:buFont typeface="Verdana" panose="020B0604030504040204" pitchFamily="34" charset="0"/>
              <a:buChar char="›"/>
              <a:defRPr/>
            </a:pPr>
            <a:r>
              <a:rPr lang="sr-Latn-RS" sz="900" dirty="0">
                <a:solidFill>
                  <a:srgbClr val="000000"/>
                </a:solidFill>
                <a:latin typeface="Poppins" panose="00000500000000000000" pitchFamily="2" charset="-18"/>
                <a:ea typeface="Myriad Pro" panose="020B0503030403020204" pitchFamily="34" charset="0"/>
                <a:cs typeface="Poppins" panose="00000500000000000000" pitchFamily="2" charset="-18"/>
              </a:rPr>
              <a:t>Stručni kadar u sistemima daljinskog grejanja, usled nedostaka ljudstva nije u mogućnosti da posveti dovoljno vremena svakom individualnom objetku kako bi se krive grejanja fino podesile</a:t>
            </a:r>
            <a:r>
              <a:rPr lang="en-GB" sz="900" dirty="0">
                <a:solidFill>
                  <a:srgbClr val="000000"/>
                </a:solidFill>
                <a:latin typeface="Poppins" panose="00000500000000000000" pitchFamily="2" charset="-18"/>
                <a:ea typeface="Myriad Pro" panose="020B0503030403020204" pitchFamily="34" charset="0"/>
                <a:cs typeface="Poppins" panose="00000500000000000000" pitchFamily="2" charset="-18"/>
              </a:rPr>
              <a:t>.</a:t>
            </a:r>
            <a:endParaRPr lang="sl-SI" sz="900" dirty="0">
              <a:solidFill>
                <a:srgbClr val="000000"/>
              </a:solidFill>
              <a:latin typeface="Poppins" panose="00000500000000000000" pitchFamily="2" charset="-18"/>
              <a:ea typeface="Myriad Pro" panose="020B0503030403020204" pitchFamily="34" charset="0"/>
              <a:cs typeface="Poppins" panose="00000500000000000000" pitchFamily="2" charset="-18"/>
            </a:endParaRPr>
          </a:p>
        </p:txBody>
      </p:sp>
      <p:pic>
        <p:nvPicPr>
          <p:cNvPr id="61" name="Picture 60">
            <a:extLst>
              <a:ext uri="{FF2B5EF4-FFF2-40B4-BE49-F238E27FC236}">
                <a16:creationId xmlns:a16="http://schemas.microsoft.com/office/drawing/2014/main" id="{5BCB98C0-ACE1-66D3-8627-CFF8E76012D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8051" y="558860"/>
            <a:ext cx="2970000" cy="2098838"/>
          </a:xfrm>
          <a:prstGeom prst="rect">
            <a:avLst/>
          </a:prstGeom>
        </p:spPr>
      </p:pic>
      <p:pic>
        <p:nvPicPr>
          <p:cNvPr id="62" name="Picture 61">
            <a:extLst>
              <a:ext uri="{FF2B5EF4-FFF2-40B4-BE49-F238E27FC236}">
                <a16:creationId xmlns:a16="http://schemas.microsoft.com/office/drawing/2014/main" id="{7B19D485-7BBE-6351-0003-745955D60CD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88051" y="2698835"/>
            <a:ext cx="2970000" cy="2093417"/>
          </a:xfrm>
          <a:prstGeom prst="rect">
            <a:avLst/>
          </a:prstGeom>
        </p:spPr>
      </p:pic>
      <p:sp>
        <p:nvSpPr>
          <p:cNvPr id="64" name="TextBox 63">
            <a:extLst>
              <a:ext uri="{FF2B5EF4-FFF2-40B4-BE49-F238E27FC236}">
                <a16:creationId xmlns:a16="http://schemas.microsoft.com/office/drawing/2014/main" id="{462EDCE8-22A6-037F-4F38-7A78EB4B9281}"/>
              </a:ext>
            </a:extLst>
          </p:cNvPr>
          <p:cNvSpPr txBox="1"/>
          <p:nvPr/>
        </p:nvSpPr>
        <p:spPr>
          <a:xfrm>
            <a:off x="3578513" y="2788038"/>
            <a:ext cx="2219495" cy="97674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14313" indent="-214313" algn="just" defTabSz="685800">
              <a:lnSpc>
                <a:spcPct val="107000"/>
              </a:lnSpc>
              <a:spcAft>
                <a:spcPts val="600"/>
              </a:spcAft>
              <a:buClr>
                <a:srgbClr val="C00000"/>
              </a:buClr>
              <a:buFont typeface="Verdana" panose="020B0604030504040204" pitchFamily="34" charset="0"/>
              <a:buChar char="›"/>
              <a:defRPr/>
            </a:pPr>
            <a:r>
              <a:rPr lang="en-GB" sz="900" dirty="0">
                <a:solidFill>
                  <a:srgbClr val="000000"/>
                </a:solidFill>
                <a:latin typeface="Poppins" panose="00000500000000000000" pitchFamily="2" charset="-18"/>
                <a:cs typeface="Poppins" panose="00000500000000000000" pitchFamily="2" charset="-18"/>
              </a:rPr>
              <a:t>S</a:t>
            </a:r>
            <a:r>
              <a:rPr lang="sr-Latn-RS" sz="900" dirty="0">
                <a:solidFill>
                  <a:srgbClr val="000000"/>
                </a:solidFill>
                <a:latin typeface="Poppins" panose="00000500000000000000" pitchFamily="2" charset="-18"/>
                <a:cs typeface="Poppins" panose="00000500000000000000" pitchFamily="2" charset="-18"/>
              </a:rPr>
              <a:t>mart </a:t>
            </a:r>
            <a:r>
              <a:rPr lang="en-GB" sz="900" dirty="0">
                <a:solidFill>
                  <a:srgbClr val="000000"/>
                </a:solidFill>
                <a:latin typeface="Poppins" panose="00000500000000000000" pitchFamily="2" charset="-18"/>
                <a:cs typeface="Poppins" panose="00000500000000000000" pitchFamily="2" charset="-18"/>
              </a:rPr>
              <a:t>W</a:t>
            </a:r>
            <a:r>
              <a:rPr lang="sr-Latn-RS" sz="900" dirty="0">
                <a:solidFill>
                  <a:srgbClr val="000000"/>
                </a:solidFill>
                <a:latin typeface="Poppins" panose="00000500000000000000" pitchFamily="2" charset="-18"/>
                <a:cs typeface="Poppins" panose="00000500000000000000" pitchFamily="2" charset="-18"/>
              </a:rPr>
              <a:t>eather </a:t>
            </a:r>
            <a:r>
              <a:rPr lang="en-GB" sz="900" dirty="0">
                <a:solidFill>
                  <a:srgbClr val="000000"/>
                </a:solidFill>
                <a:latin typeface="Poppins" panose="00000500000000000000" pitchFamily="2" charset="-18"/>
                <a:cs typeface="Poppins" panose="00000500000000000000" pitchFamily="2" charset="-18"/>
              </a:rPr>
              <a:t>C</a:t>
            </a:r>
            <a:r>
              <a:rPr lang="sr-Latn-RS" sz="900" dirty="0">
                <a:solidFill>
                  <a:srgbClr val="000000"/>
                </a:solidFill>
                <a:latin typeface="Poppins" panose="00000500000000000000" pitchFamily="2" charset="-18"/>
                <a:cs typeface="Poppins" panose="00000500000000000000" pitchFamily="2" charset="-18"/>
              </a:rPr>
              <a:t>ompensation je potpuno</a:t>
            </a:r>
            <a:r>
              <a:rPr lang="en-US" sz="900" dirty="0">
                <a:solidFill>
                  <a:srgbClr val="000000"/>
                </a:solidFill>
                <a:latin typeface="Poppins" panose="00000500000000000000" pitchFamily="2" charset="-18"/>
                <a:cs typeface="Poppins" panose="00000500000000000000" pitchFamily="2" charset="-18"/>
              </a:rPr>
              <a:t> </a:t>
            </a:r>
            <a:r>
              <a:rPr lang="en-US" sz="900" b="1" dirty="0">
                <a:solidFill>
                  <a:srgbClr val="E2000F"/>
                </a:solidFill>
                <a:latin typeface="Poppins" panose="00000500000000000000" pitchFamily="2" charset="-18"/>
                <a:cs typeface="Poppins" panose="00000500000000000000" pitchFamily="2" charset="-18"/>
              </a:rPr>
              <a:t>automat</a:t>
            </a:r>
            <a:r>
              <a:rPr lang="sr-Latn-RS" sz="900" b="1" dirty="0">
                <a:solidFill>
                  <a:srgbClr val="E2000F"/>
                </a:solidFill>
                <a:latin typeface="Poppins" panose="00000500000000000000" pitchFamily="2" charset="-18"/>
                <a:cs typeface="Poppins" panose="00000500000000000000" pitchFamily="2" charset="-18"/>
              </a:rPr>
              <a:t>izovano rešenje</a:t>
            </a:r>
            <a:r>
              <a:rPr lang="en-US" sz="900" dirty="0">
                <a:solidFill>
                  <a:srgbClr val="000000"/>
                </a:solidFill>
                <a:latin typeface="Poppins" panose="00000500000000000000" pitchFamily="2" charset="-18"/>
                <a:cs typeface="Poppins" panose="00000500000000000000" pitchFamily="2" charset="-18"/>
              </a:rPr>
              <a:t> t</a:t>
            </a:r>
            <a:r>
              <a:rPr lang="sr-Latn-RS" sz="900" dirty="0">
                <a:solidFill>
                  <a:srgbClr val="000000"/>
                </a:solidFill>
                <a:latin typeface="Poppins" panose="00000500000000000000" pitchFamily="2" charset="-18"/>
                <a:cs typeface="Poppins" panose="00000500000000000000" pitchFamily="2" charset="-18"/>
              </a:rPr>
              <a:t>za korišćenje napredne prognoze vremena na instalacijama koje koriste ECL regulatore</a:t>
            </a:r>
            <a:endParaRPr lang="sl-SI" sz="900" dirty="0">
              <a:solidFill>
                <a:srgbClr val="000000"/>
              </a:solidFill>
              <a:latin typeface="Poppins" panose="00000500000000000000" pitchFamily="2" charset="-18"/>
              <a:cs typeface="Poppins" panose="00000500000000000000" pitchFamily="2" charset="-18"/>
            </a:endParaRPr>
          </a:p>
        </p:txBody>
      </p:sp>
      <p:sp>
        <p:nvSpPr>
          <p:cNvPr id="65" name="Folded Corner 17">
            <a:extLst>
              <a:ext uri="{FF2B5EF4-FFF2-40B4-BE49-F238E27FC236}">
                <a16:creationId xmlns:a16="http://schemas.microsoft.com/office/drawing/2014/main" id="{99A8C155-3E33-A33B-E397-74E6C1B4B220}"/>
              </a:ext>
            </a:extLst>
          </p:cNvPr>
          <p:cNvSpPr/>
          <p:nvPr/>
        </p:nvSpPr>
        <p:spPr>
          <a:xfrm>
            <a:off x="4148261" y="3745543"/>
            <a:ext cx="1080000" cy="945000"/>
          </a:xfrm>
          <a:prstGeom prst="rect">
            <a:avLst/>
          </a:prstGeom>
          <a:solidFill>
            <a:srgbClr val="E2000F"/>
          </a:solidFill>
          <a:ln w="5715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07864"/>
            <a:r>
              <a:rPr lang="sr-Latn-RS" sz="1050" b="1" dirty="0">
                <a:solidFill>
                  <a:schemeClr val="bg1"/>
                </a:solidFill>
                <a:latin typeface="Poppins" panose="00000500000000000000" pitchFamily="2" charset="-18"/>
                <a:ea typeface="Lato Light" panose="020F0502020204030203" pitchFamily="34" charset="0"/>
                <a:cs typeface="Poppins" panose="00000500000000000000" pitchFamily="2" charset="-18"/>
              </a:rPr>
              <a:t>Barem </a:t>
            </a:r>
            <a:r>
              <a:rPr lang="en-GB" sz="1050" b="1" dirty="0">
                <a:solidFill>
                  <a:schemeClr val="bg1"/>
                </a:solidFill>
                <a:latin typeface="Poppins" panose="00000500000000000000" pitchFamily="2" charset="-18"/>
                <a:ea typeface="Lato Light" panose="020F0502020204030203" pitchFamily="34" charset="0"/>
                <a:cs typeface="Poppins" panose="00000500000000000000" pitchFamily="2" charset="-18"/>
              </a:rPr>
              <a:t>5% </a:t>
            </a:r>
            <a:r>
              <a:rPr lang="sr-Latn-RS" sz="1050" b="1" dirty="0">
                <a:solidFill>
                  <a:schemeClr val="bg1"/>
                </a:solidFill>
                <a:latin typeface="Poppins" panose="00000500000000000000" pitchFamily="2" charset="-18"/>
                <a:ea typeface="Lato Light" panose="020F0502020204030203" pitchFamily="34" charset="0"/>
                <a:cs typeface="Poppins" panose="00000500000000000000" pitchFamily="2" charset="-18"/>
              </a:rPr>
              <a:t>uštede energije</a:t>
            </a:r>
            <a:r>
              <a:rPr lang="en-GB" sz="1050" b="1" dirty="0">
                <a:solidFill>
                  <a:schemeClr val="bg1"/>
                </a:solidFill>
                <a:latin typeface="Poppins" panose="00000500000000000000" pitchFamily="2" charset="-18"/>
                <a:ea typeface="Lato Light" panose="020F0502020204030203" pitchFamily="34" charset="0"/>
                <a:cs typeface="Poppins" panose="00000500000000000000" pitchFamily="2" charset="-18"/>
              </a:rPr>
              <a:t>.</a:t>
            </a:r>
          </a:p>
        </p:txBody>
      </p:sp>
      <p:sp>
        <p:nvSpPr>
          <p:cNvPr id="3" name="Rectangle 99">
            <a:extLst>
              <a:ext uri="{FF2B5EF4-FFF2-40B4-BE49-F238E27FC236}">
                <a16:creationId xmlns:a16="http://schemas.microsoft.com/office/drawing/2014/main" id="{C936653B-BD71-5237-D17B-AF522AD6DB39}"/>
              </a:ext>
            </a:extLst>
          </p:cNvPr>
          <p:cNvSpPr/>
          <p:nvPr/>
        </p:nvSpPr>
        <p:spPr>
          <a:xfrm>
            <a:off x="0" y="-2366"/>
            <a:ext cx="9143997" cy="380141"/>
          </a:xfrm>
          <a:custGeom>
            <a:avLst/>
            <a:gdLst>
              <a:gd name="f0" fmla="val 10800000"/>
              <a:gd name="f1" fmla="val 5400000"/>
              <a:gd name="f2" fmla="val 180"/>
              <a:gd name="f3" fmla="val w"/>
              <a:gd name="f4" fmla="val h"/>
              <a:gd name="f5" fmla="val 0"/>
              <a:gd name="f6" fmla="val 3590554"/>
              <a:gd name="f7" fmla="val 640800"/>
              <a:gd name="f8" fmla="+- 0 0 -90"/>
              <a:gd name="f9" fmla="*/ f3 1 3590554"/>
              <a:gd name="f10" fmla="*/ f4 1 640800"/>
              <a:gd name="f11" fmla="val f5"/>
              <a:gd name="f12" fmla="val f6"/>
              <a:gd name="f13" fmla="val f7"/>
              <a:gd name="f14" fmla="*/ f8 f0 1"/>
              <a:gd name="f15" fmla="+- f13 0 f11"/>
              <a:gd name="f16" fmla="+- f12 0 f11"/>
              <a:gd name="f17" fmla="*/ f14 1 f2"/>
              <a:gd name="f18" fmla="*/ f16 1 3590554"/>
              <a:gd name="f19" fmla="*/ f15 1 640800"/>
              <a:gd name="f20" fmla="*/ 0 f16 1"/>
              <a:gd name="f21" fmla="*/ 0 f15 1"/>
              <a:gd name="f22" fmla="*/ 3590554 f16 1"/>
              <a:gd name="f23" fmla="*/ 640800 f15 1"/>
              <a:gd name="f24" fmla="+- f17 0 f1"/>
              <a:gd name="f25" fmla="*/ f20 1 3590554"/>
              <a:gd name="f26" fmla="*/ f21 1 640800"/>
              <a:gd name="f27" fmla="*/ f22 1 3590554"/>
              <a:gd name="f28" fmla="*/ f23 1 640800"/>
              <a:gd name="f29" fmla="*/ f11 1 f18"/>
              <a:gd name="f30" fmla="*/ f12 1 f18"/>
              <a:gd name="f31" fmla="*/ f11 1 f19"/>
              <a:gd name="f32" fmla="*/ f13 1 f19"/>
              <a:gd name="f33" fmla="*/ f25 1 f18"/>
              <a:gd name="f34" fmla="*/ f26 1 f19"/>
              <a:gd name="f35" fmla="*/ f27 1 f18"/>
              <a:gd name="f36" fmla="*/ f28 1 f19"/>
              <a:gd name="f37" fmla="*/ f29 f9 1"/>
              <a:gd name="f38" fmla="*/ f30 f9 1"/>
              <a:gd name="f39" fmla="*/ f32 f10 1"/>
              <a:gd name="f40" fmla="*/ f31 f10 1"/>
              <a:gd name="f41" fmla="*/ f33 f9 1"/>
              <a:gd name="f42" fmla="*/ f34 f10 1"/>
              <a:gd name="f43" fmla="*/ f35 f9 1"/>
              <a:gd name="f44" fmla="*/ f36 f10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24">
                <a:pos x="f41" y="f42"/>
              </a:cxn>
              <a:cxn ang="f24">
                <a:pos x="f43" y="f42"/>
              </a:cxn>
              <a:cxn ang="f24">
                <a:pos x="f43" y="f44"/>
              </a:cxn>
              <a:cxn ang="f24">
                <a:pos x="f41" y="f44"/>
              </a:cxn>
              <a:cxn ang="f24">
                <a:pos x="f41" y="f42"/>
              </a:cxn>
            </a:cxnLst>
            <a:rect l="f37" t="f40" r="f38" b="f39"/>
            <a:pathLst>
              <a:path w="3590554" h="640800">
                <a:moveTo>
                  <a:pt x="f5" y="f5"/>
                </a:moveTo>
                <a:lnTo>
                  <a:pt x="f6" y="f5"/>
                </a:lnTo>
                <a:lnTo>
                  <a:pt x="f6" y="f7"/>
                </a:lnTo>
                <a:lnTo>
                  <a:pt x="f5" y="f7"/>
                </a:lnTo>
                <a:lnTo>
                  <a:pt x="f5" y="f5"/>
                </a:lnTo>
                <a:close/>
              </a:path>
            </a:pathLst>
          </a:custGeom>
          <a:solidFill>
            <a:srgbClr val="D2D7DB">
              <a:alpha val="32000"/>
            </a:srgbClr>
          </a:solidFill>
          <a:ln cap="flat">
            <a:noFill/>
            <a:prstDash val="solid"/>
          </a:ln>
        </p:spPr>
        <p:txBody>
          <a:bodyPr vert="horz" wrap="square" lIns="68580" tIns="34290" rIns="68580" bIns="34290" anchor="ctr" anchorCtr="1" compatLnSpc="1">
            <a:noAutofit/>
          </a:bodyPr>
          <a:lstStyle/>
          <a:p>
            <a:pPr algn="ctr" defTabSz="685779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2400">
              <a:solidFill>
                <a:srgbClr val="000000"/>
              </a:solidFill>
              <a:latin typeface="Verdana"/>
            </a:endParaRPr>
          </a:p>
        </p:txBody>
      </p:sp>
      <p:sp>
        <p:nvSpPr>
          <p:cNvPr id="4" name="Titel 4">
            <a:extLst>
              <a:ext uri="{FF2B5EF4-FFF2-40B4-BE49-F238E27FC236}">
                <a16:creationId xmlns:a16="http://schemas.microsoft.com/office/drawing/2014/main" id="{633C87B0-BCDA-9EEA-373D-E734E41F055C}"/>
              </a:ext>
            </a:extLst>
          </p:cNvPr>
          <p:cNvSpPr txBox="1">
            <a:spLocks/>
          </p:cNvSpPr>
          <p:nvPr/>
        </p:nvSpPr>
        <p:spPr>
          <a:xfrm>
            <a:off x="80802" y="22867"/>
            <a:ext cx="8893592" cy="354908"/>
          </a:xfrm>
          <a:prstGeom prst="rect">
            <a:avLst/>
          </a:prstGeom>
        </p:spPr>
        <p:txBody>
          <a:bodyPr anchor="ctr"/>
          <a:lstStyle>
            <a:lvl1pPr algn="l" defTabSz="1219170" rtl="0" eaLnBrk="1" latinLnBrk="0" hangingPunct="1">
              <a:spcBef>
                <a:spcPct val="0"/>
              </a:spcBef>
              <a:buNone/>
              <a:defRPr sz="2133" kern="120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sr-Latn-RS" sz="1500" b="1" dirty="0">
                <a:latin typeface="Poppins" panose="00000500000000000000" pitchFamily="2" charset="-18"/>
                <a:cs typeface="Poppins" panose="00000500000000000000" pitchFamily="2" charset="-18"/>
              </a:rPr>
              <a:t>Šta je </a:t>
            </a:r>
            <a:r>
              <a:rPr lang="en-GB" sz="1500" b="1" dirty="0">
                <a:latin typeface="Poppins" panose="00000500000000000000" pitchFamily="2" charset="-18"/>
                <a:cs typeface="Poppins" panose="00000500000000000000" pitchFamily="2" charset="-18"/>
              </a:rPr>
              <a:t>Smart Weather Compensation?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FF196B1-37C0-E17A-BCE3-2861D80ABF6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489464" y="-6715"/>
            <a:ext cx="654536" cy="3807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E2E30FD7-7CE1-88E1-13E9-B64297FF7F7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773315" y="776175"/>
            <a:ext cx="3370685" cy="17740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70957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500"/>
                            </p:stCondLst>
                            <p:childTnLst>
                              <p:par>
                                <p:cTn id="2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9" grpId="0"/>
      <p:bldP spid="64" grpId="0"/>
      <p:bldP spid="65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F345650-4FC8-42E8-8CB2-DA271B8A2B7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7F345650-4FC8-42E8-8CB2-DA271B8A2B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29FC9A6-43D0-4F87-9B05-478960AFB92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60A11"/>
          </a:solidFill>
          <a:ln w="9525">
            <a:solidFill>
              <a:srgbClr val="E60A1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+mn-ea"/>
              <a:cs typeface="+mn-cs"/>
              <a:sym typeface="Verdana" panose="020B060403050404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D9F166AC-5DAA-449A-AAA0-BA30100F22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195263"/>
            <a:ext cx="8563919" cy="620775"/>
          </a:xfrm>
        </p:spPr>
        <p:txBody>
          <a:bodyPr/>
          <a:lstStyle/>
          <a:p>
            <a:pPr lvl="0">
              <a:spcBef>
                <a:spcPts val="0"/>
              </a:spcBef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sl-SI" sz="2000" b="1" dirty="0">
                <a:solidFill>
                  <a:schemeClr val="accent2"/>
                </a:solidFill>
              </a:rPr>
              <a:t>„End-to-End“ </a:t>
            </a:r>
            <a:r>
              <a:rPr lang="sr-Latn-BA" sz="2000" dirty="0">
                <a:solidFill>
                  <a:srgbClr val="000000"/>
                </a:solidFill>
              </a:rPr>
              <a:t>sveobuhvatna optimizacija kao rešenje za integraciju obnovljivih izvora energije u tradicionalne sisteme</a:t>
            </a:r>
            <a:endParaRPr lang="da-DK" sz="1100" dirty="0">
              <a:solidFill>
                <a:srgbClr val="000000"/>
              </a:solidFill>
            </a:endParaRP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8964485C-E56C-4661-92BB-110F54B724AD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29957" t="7504" r="10261" b="-5870"/>
          <a:stretch/>
        </p:blipFill>
        <p:spPr>
          <a:xfrm>
            <a:off x="6143831" y="1634687"/>
            <a:ext cx="2658924" cy="2914275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31CC42E7-94C3-4387-A39C-B79E1CB7385E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796" t="-1" r="3312" b="221"/>
          <a:stretch/>
        </p:blipFill>
        <p:spPr>
          <a:xfrm>
            <a:off x="3265752" y="1544064"/>
            <a:ext cx="2683888" cy="2724085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310CA72F-6F3C-46C9-B74D-F6E1DE7C0B46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202" t="-6282" r="29179" b="323"/>
          <a:stretch/>
        </p:blipFill>
        <p:spPr>
          <a:xfrm>
            <a:off x="431801" y="1372358"/>
            <a:ext cx="2683888" cy="2895792"/>
          </a:xfrm>
          <a:prstGeom prst="rect">
            <a:avLst/>
          </a:prstGeom>
        </p:spPr>
      </p:pic>
      <p:sp>
        <p:nvSpPr>
          <p:cNvPr id="42" name="Rectangle 41">
            <a:extLst>
              <a:ext uri="{FF2B5EF4-FFF2-40B4-BE49-F238E27FC236}">
                <a16:creationId xmlns:a16="http://schemas.microsoft.com/office/drawing/2014/main" id="{C55FA82F-4F9E-4BC5-80CC-7B673C8DDB4F}"/>
              </a:ext>
            </a:extLst>
          </p:cNvPr>
          <p:cNvSpPr/>
          <p:nvPr/>
        </p:nvSpPr>
        <p:spPr>
          <a:xfrm>
            <a:off x="3231751" y="1544062"/>
            <a:ext cx="2710358" cy="2724086"/>
          </a:xfrm>
          <a:prstGeom prst="rect">
            <a:avLst/>
          </a:prstGeom>
          <a:solidFill>
            <a:srgbClr val="FFFFFF">
              <a:alpha val="50196"/>
            </a:srgb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901B4B61-1CDE-4225-AA3D-C0271D55DCFF}"/>
              </a:ext>
            </a:extLst>
          </p:cNvPr>
          <p:cNvSpPr/>
          <p:nvPr/>
        </p:nvSpPr>
        <p:spPr>
          <a:xfrm>
            <a:off x="6091761" y="1637981"/>
            <a:ext cx="2672097" cy="2724084"/>
          </a:xfrm>
          <a:prstGeom prst="rect">
            <a:avLst/>
          </a:prstGeom>
          <a:solidFill>
            <a:srgbClr val="FFFFFF">
              <a:alpha val="50196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150" name="Group 149">
            <a:extLst>
              <a:ext uri="{FF2B5EF4-FFF2-40B4-BE49-F238E27FC236}">
                <a16:creationId xmlns:a16="http://schemas.microsoft.com/office/drawing/2014/main" id="{28957377-5232-43AE-AB07-AD39E2B83EA9}"/>
              </a:ext>
            </a:extLst>
          </p:cNvPr>
          <p:cNvGrpSpPr/>
          <p:nvPr/>
        </p:nvGrpSpPr>
        <p:grpSpPr>
          <a:xfrm>
            <a:off x="7894940" y="3143267"/>
            <a:ext cx="976183" cy="889686"/>
            <a:chOff x="7894940" y="3010747"/>
            <a:chExt cx="976183" cy="889686"/>
          </a:xfrm>
        </p:grpSpPr>
        <p:sp>
          <p:nvSpPr>
            <p:cNvPr id="93" name="Rectangle 92">
              <a:extLst>
                <a:ext uri="{FF2B5EF4-FFF2-40B4-BE49-F238E27FC236}">
                  <a16:creationId xmlns:a16="http://schemas.microsoft.com/office/drawing/2014/main" id="{1991B92F-0F6F-4C72-A410-B484D28EFBEB}"/>
                </a:ext>
              </a:extLst>
            </p:cNvPr>
            <p:cNvSpPr/>
            <p:nvPr/>
          </p:nvSpPr>
          <p:spPr>
            <a:xfrm>
              <a:off x="7894940" y="3010747"/>
              <a:ext cx="976183" cy="889686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B4BCC3">
                    <a:lumMod val="50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2" name="TextBox 131">
              <a:extLst>
                <a:ext uri="{FF2B5EF4-FFF2-40B4-BE49-F238E27FC236}">
                  <a16:creationId xmlns:a16="http://schemas.microsoft.com/office/drawing/2014/main" id="{4712280A-1FED-4DAC-BAA1-2A05EC231E31}"/>
                </a:ext>
              </a:extLst>
            </p:cNvPr>
            <p:cNvSpPr txBox="1"/>
            <p:nvPr/>
          </p:nvSpPr>
          <p:spPr>
            <a:xfrm>
              <a:off x="8032337" y="3043280"/>
              <a:ext cx="815929" cy="48474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600" b="0" i="0" u="none" strike="noStrike" kern="1200" cap="none" spc="0" normalizeH="0" baseline="0" noProof="0" dirty="0">
                  <a:ln>
                    <a:noFill/>
                  </a:ln>
                  <a:solidFill>
                    <a:srgbClr val="E60A11"/>
                  </a:solidFill>
                  <a:effectLst/>
                  <a:uLnTx/>
                  <a:uFillTx/>
                  <a:latin typeface="Arial Nova" panose="020B0604020202020204" pitchFamily="34" charset="0"/>
                  <a:ea typeface="+mn-ea"/>
                  <a:cs typeface="+mn-cs"/>
                </a:rPr>
                <a:t>Customer enga</a:t>
              </a:r>
              <a:r>
                <a:rPr kumimoji="0" lang="sr-Latn-RS" sz="600" b="0" i="0" u="none" strike="noStrike" kern="1200" cap="none" spc="0" normalizeH="0" baseline="0" noProof="0" dirty="0">
                  <a:ln>
                    <a:noFill/>
                  </a:ln>
                  <a:solidFill>
                    <a:srgbClr val="E60A11"/>
                  </a:solidFill>
                  <a:effectLst/>
                  <a:uLnTx/>
                  <a:uFillTx/>
                  <a:latin typeface="Arial Nova" panose="020B0604020202020204" pitchFamily="34" charset="0"/>
                  <a:ea typeface="+mn-ea"/>
                  <a:cs typeface="+mn-cs"/>
                </a:rPr>
                <a:t>gement</a:t>
              </a:r>
              <a:r>
                <a:rPr kumimoji="0" lang="da-DK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B4BCC3">
                      <a:lumMod val="50000"/>
                    </a:srgbClr>
                  </a:solidFill>
                  <a:effectLst/>
                  <a:uLnTx/>
                  <a:uFillTx/>
                  <a:latin typeface="Arial Nova" panose="020B0604020202020204" pitchFamily="34" charset="0"/>
                  <a:ea typeface="+mn-ea"/>
                  <a:cs typeface="+mn-cs"/>
                </a:rPr>
                <a:t> </a:t>
              </a:r>
              <a:endParaRPr kumimoji="0" lang="sr-Latn-RS" sz="1050" b="0" i="0" u="none" strike="noStrike" kern="1200" cap="none" spc="0" normalizeH="0" baseline="0" noProof="0" dirty="0">
                <a:ln>
                  <a:noFill/>
                </a:ln>
                <a:solidFill>
                  <a:srgbClr val="B4BCC3">
                    <a:lumMod val="50000"/>
                  </a:srgbClr>
                </a:solidFill>
                <a:effectLst/>
                <a:uLnTx/>
                <a:uFillTx/>
                <a:latin typeface="Arial Nova" panose="020B0604020202020204" pitchFamily="34" charset="0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B4BCC3">
                      <a:lumMod val="50000"/>
                    </a:srgbClr>
                  </a:solidFill>
                  <a:effectLst/>
                  <a:uLnTx/>
                  <a:uFillTx/>
                  <a:latin typeface="Arial Nova" panose="020B0604020202020204" pitchFamily="34" charset="0"/>
                  <a:ea typeface="+mn-ea"/>
                  <a:cs typeface="+mn-cs"/>
                </a:rPr>
                <a:t>eTRV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B4BCC3">
                      <a:lumMod val="50000"/>
                    </a:srgbClr>
                  </a:solidFill>
                  <a:effectLst/>
                  <a:uLnTx/>
                  <a:uFillTx/>
                  <a:latin typeface="Arial Nova" panose="020B0604020202020204" pitchFamily="34" charset="0"/>
                  <a:ea typeface="+mn-ea"/>
                  <a:cs typeface="+mn-cs"/>
                </a:rPr>
                <a:t>(For </a:t>
              </a:r>
              <a:r>
                <a:rPr kumimoji="0" lang="sr-Latn-BA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B4BCC3">
                      <a:lumMod val="50000"/>
                    </a:srgbClr>
                  </a:solidFill>
                  <a:effectLst/>
                  <a:uLnTx/>
                  <a:uFillTx/>
                  <a:latin typeface="Arial Nova" panose="020B0604020202020204" pitchFamily="34" charset="0"/>
                  <a:ea typeface="+mn-ea"/>
                  <a:cs typeface="+mn-cs"/>
                </a:rPr>
                <a:t>„</a:t>
              </a:r>
              <a:r>
                <a:rPr kumimoji="0" lang="da-DK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B4BCC3">
                      <a:lumMod val="50000"/>
                    </a:srgbClr>
                  </a:solidFill>
                  <a:effectLst/>
                  <a:uLnTx/>
                  <a:uFillTx/>
                  <a:latin typeface="Arial Nova" panose="020B0604020202020204" pitchFamily="34" charset="0"/>
                  <a:ea typeface="+mn-ea"/>
                  <a:cs typeface="+mn-cs"/>
                </a:rPr>
                <a:t>MFH</a:t>
              </a:r>
              <a:r>
                <a:rPr kumimoji="0" lang="sr-Latn-BA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B4BCC3">
                      <a:lumMod val="50000"/>
                    </a:srgbClr>
                  </a:solidFill>
                  <a:effectLst/>
                  <a:uLnTx/>
                  <a:uFillTx/>
                  <a:latin typeface="Arial Nova" panose="020B0604020202020204" pitchFamily="34" charset="0"/>
                  <a:ea typeface="+mn-ea"/>
                  <a:cs typeface="+mn-cs"/>
                </a:rPr>
                <a:t>“</a:t>
              </a:r>
              <a:r>
                <a:rPr kumimoji="0" lang="da-DK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B4BCC3">
                      <a:lumMod val="50000"/>
                    </a:srgbClr>
                  </a:solidFill>
                  <a:effectLst/>
                  <a:uLnTx/>
                  <a:uFillTx/>
                  <a:latin typeface="Arial Nova" panose="020B0604020202020204" pitchFamily="34" charset="0"/>
                  <a:ea typeface="+mn-ea"/>
                  <a:cs typeface="+mn-cs"/>
                </a:rPr>
                <a:t>)</a:t>
              </a:r>
            </a:p>
          </p:txBody>
        </p:sp>
        <p:sp>
          <p:nvSpPr>
            <p:cNvPr id="133" name="TextBox 132">
              <a:extLst>
                <a:ext uri="{FF2B5EF4-FFF2-40B4-BE49-F238E27FC236}">
                  <a16:creationId xmlns:a16="http://schemas.microsoft.com/office/drawing/2014/main" id="{93D9B982-00D8-4291-9763-7B2D7130FFD6}"/>
                </a:ext>
              </a:extLst>
            </p:cNvPr>
            <p:cNvSpPr txBox="1"/>
            <p:nvPr/>
          </p:nvSpPr>
          <p:spPr>
            <a:xfrm>
              <a:off x="8042733" y="3540174"/>
              <a:ext cx="68059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400" b="0" i="1" u="none" strike="noStrike" kern="1200" cap="none" spc="0" normalizeH="0" baseline="0" noProof="0" dirty="0">
                  <a:ln>
                    <a:noFill/>
                  </a:ln>
                  <a:solidFill>
                    <a:srgbClr val="B4BCC3">
                      <a:lumMod val="50000"/>
                    </a:srgbClr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Pilot Stage with Customer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400" b="0" i="1" u="none" strike="noStrike" kern="1200" cap="none" spc="0" normalizeH="0" baseline="0" noProof="0" dirty="0">
                  <a:ln>
                    <a:noFill/>
                  </a:ln>
                  <a:solidFill>
                    <a:srgbClr val="B4BCC3">
                      <a:lumMod val="50000"/>
                    </a:srgbClr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(Housing Association)</a:t>
              </a:r>
            </a:p>
          </p:txBody>
        </p:sp>
      </p:grpSp>
      <p:grpSp>
        <p:nvGrpSpPr>
          <p:cNvPr id="149" name="Group 148">
            <a:extLst>
              <a:ext uri="{FF2B5EF4-FFF2-40B4-BE49-F238E27FC236}">
                <a16:creationId xmlns:a16="http://schemas.microsoft.com/office/drawing/2014/main" id="{FDD69D27-112C-474F-ABAE-73CFEF61DF69}"/>
              </a:ext>
            </a:extLst>
          </p:cNvPr>
          <p:cNvGrpSpPr/>
          <p:nvPr/>
        </p:nvGrpSpPr>
        <p:grpSpPr>
          <a:xfrm>
            <a:off x="7037352" y="2034970"/>
            <a:ext cx="976183" cy="889686"/>
            <a:chOff x="7037352" y="1902450"/>
            <a:chExt cx="976183" cy="889686"/>
          </a:xfrm>
        </p:grpSpPr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6831B458-0034-44EA-86E2-27C66B655A68}"/>
                </a:ext>
              </a:extLst>
            </p:cNvPr>
            <p:cNvSpPr/>
            <p:nvPr/>
          </p:nvSpPr>
          <p:spPr>
            <a:xfrm>
              <a:off x="7037352" y="1902450"/>
              <a:ext cx="976183" cy="889686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B4BCC3">
                    <a:lumMod val="50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1" name="TextBox 130">
              <a:extLst>
                <a:ext uri="{FF2B5EF4-FFF2-40B4-BE49-F238E27FC236}">
                  <a16:creationId xmlns:a16="http://schemas.microsoft.com/office/drawing/2014/main" id="{DC19E3CC-EE95-4DF0-BA09-6F1B183D22E2}"/>
                </a:ext>
              </a:extLst>
            </p:cNvPr>
            <p:cNvSpPr txBox="1"/>
            <p:nvPr/>
          </p:nvSpPr>
          <p:spPr>
            <a:xfrm>
              <a:off x="7232897" y="1943266"/>
              <a:ext cx="585096" cy="50783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600" b="0" i="0" u="none" strike="noStrike" kern="1200" cap="none" spc="0" normalizeH="0" baseline="0" noProof="0" dirty="0">
                  <a:ln>
                    <a:noFill/>
                  </a:ln>
                  <a:solidFill>
                    <a:srgbClr val="E60A11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Return. Temp.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600" b="0" i="0" u="none" strike="noStrike" kern="1200" cap="none" spc="0" normalizeH="0" baseline="0" noProof="0" dirty="0">
                  <a:ln>
                    <a:noFill/>
                  </a:ln>
                  <a:solidFill>
                    <a:srgbClr val="E60A11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Optimization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B4BCC3">
                      <a:lumMod val="50000"/>
                    </a:srgbClr>
                  </a:solidFill>
                  <a:effectLst/>
                  <a:uLnTx/>
                  <a:uFillTx/>
                  <a:latin typeface="Arial Nova" panose="020B0604020202020204" pitchFamily="34" charset="0"/>
                  <a:ea typeface="+mn-ea"/>
                  <a:cs typeface="+mn-cs"/>
                </a:rPr>
                <a:t>Danfoss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B4BCC3">
                      <a:lumMod val="50000"/>
                    </a:srgbClr>
                  </a:solidFill>
                  <a:effectLst/>
                  <a:uLnTx/>
                  <a:uFillTx/>
                  <a:latin typeface="Arial Nova" panose="020B0604020202020204" pitchFamily="34" charset="0"/>
                  <a:ea typeface="+mn-ea"/>
                  <a:cs typeface="+mn-cs"/>
                </a:rPr>
                <a:t>‘Solo’ </a:t>
              </a:r>
              <a:endParaRPr kumimoji="0" lang="da-DK" sz="1050" b="0" i="0" u="none" strike="noStrike" kern="1200" cap="none" spc="0" normalizeH="0" baseline="60000" noProof="0" dirty="0">
                <a:ln>
                  <a:noFill/>
                </a:ln>
                <a:solidFill>
                  <a:srgbClr val="B4BCC3">
                    <a:lumMod val="50000"/>
                  </a:srgbClr>
                </a:solidFill>
                <a:effectLst/>
                <a:uLnTx/>
                <a:uFillTx/>
                <a:latin typeface="Arial Nova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34" name="TextBox 133">
              <a:extLst>
                <a:ext uri="{FF2B5EF4-FFF2-40B4-BE49-F238E27FC236}">
                  <a16:creationId xmlns:a16="http://schemas.microsoft.com/office/drawing/2014/main" id="{C3FDC1CC-38B9-49EF-8964-CC36D841FDC7}"/>
                </a:ext>
              </a:extLst>
            </p:cNvPr>
            <p:cNvSpPr txBox="1"/>
            <p:nvPr/>
          </p:nvSpPr>
          <p:spPr>
            <a:xfrm>
              <a:off x="7319457" y="2461373"/>
              <a:ext cx="411972" cy="6155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400" b="0" i="1" u="none" strike="noStrike" kern="1200" cap="none" spc="0" normalizeH="0" baseline="0" noProof="0" dirty="0">
                  <a:ln>
                    <a:noFill/>
                  </a:ln>
                  <a:solidFill>
                    <a:srgbClr val="B4BCC3">
                      <a:lumMod val="50000"/>
                    </a:srgbClr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In Development</a:t>
              </a:r>
            </a:p>
          </p:txBody>
        </p:sp>
      </p:grp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297783A-1942-4124-BF71-3EF9C2E8737E}"/>
              </a:ext>
            </a:extLst>
          </p:cNvPr>
          <p:cNvGrpSpPr/>
          <p:nvPr/>
        </p:nvGrpSpPr>
        <p:grpSpPr>
          <a:xfrm>
            <a:off x="5667777" y="3143267"/>
            <a:ext cx="976183" cy="889686"/>
            <a:chOff x="5667777" y="3010747"/>
            <a:chExt cx="976183" cy="889686"/>
          </a:xfrm>
        </p:grpSpPr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CC68DE61-CF34-4CB1-AB85-C3A83E5256F7}"/>
                </a:ext>
              </a:extLst>
            </p:cNvPr>
            <p:cNvSpPr/>
            <p:nvPr/>
          </p:nvSpPr>
          <p:spPr>
            <a:xfrm>
              <a:off x="5667777" y="3010747"/>
              <a:ext cx="976183" cy="889686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B4BCC3">
                    <a:lumMod val="50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0" name="TextBox 129">
              <a:extLst>
                <a:ext uri="{FF2B5EF4-FFF2-40B4-BE49-F238E27FC236}">
                  <a16:creationId xmlns:a16="http://schemas.microsoft.com/office/drawing/2014/main" id="{86ACE2A5-593B-42B2-BCE2-8592C329A555}"/>
                </a:ext>
              </a:extLst>
            </p:cNvPr>
            <p:cNvSpPr txBox="1"/>
            <p:nvPr/>
          </p:nvSpPr>
          <p:spPr>
            <a:xfrm>
              <a:off x="5711124" y="3135815"/>
              <a:ext cx="840847" cy="4154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600" b="0" i="0" u="none" strike="noStrike" kern="1200" cap="none" spc="0" normalizeH="0" baseline="0" noProof="0" dirty="0">
                  <a:ln>
                    <a:noFill/>
                  </a:ln>
                  <a:solidFill>
                    <a:srgbClr val="E60A11"/>
                  </a:solidFill>
                  <a:effectLst/>
                  <a:uLnTx/>
                  <a:uFillTx/>
                  <a:latin typeface="Arial Nova" panose="020B0604020202020204" pitchFamily="34" charset="0"/>
                  <a:ea typeface="+mn-ea"/>
                  <a:cs typeface="+mn-cs"/>
                </a:rPr>
                <a:t>Heating Control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r-Latn-BA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B4BCC3">
                      <a:lumMod val="50000"/>
                    </a:srgbClr>
                  </a:solidFill>
                  <a:effectLst/>
                  <a:uLnTx/>
                  <a:uFillTx/>
                  <a:latin typeface="Arial Nova" panose="020B0604020202020204" pitchFamily="34" charset="0"/>
                  <a:ea typeface="+mn-ea"/>
                  <a:cs typeface="+mn-cs"/>
                </a:rPr>
                <a:t>Spratne stanice</a:t>
              </a:r>
              <a:endParaRPr kumimoji="0" lang="da-DK" sz="1050" b="0" i="0" u="none" strike="noStrike" kern="1200" cap="none" spc="0" normalizeH="0" baseline="0" noProof="0" dirty="0">
                <a:ln>
                  <a:noFill/>
                </a:ln>
                <a:solidFill>
                  <a:srgbClr val="B4BCC3">
                    <a:lumMod val="50000"/>
                  </a:srgbClr>
                </a:solidFill>
                <a:effectLst/>
                <a:uLnTx/>
                <a:uFillTx/>
                <a:latin typeface="Arial Nova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35" name="TextBox 134">
              <a:extLst>
                <a:ext uri="{FF2B5EF4-FFF2-40B4-BE49-F238E27FC236}">
                  <a16:creationId xmlns:a16="http://schemas.microsoft.com/office/drawing/2014/main" id="{D6087E9A-7DC7-4EDE-A094-95A065E9BE3F}"/>
                </a:ext>
              </a:extLst>
            </p:cNvPr>
            <p:cNvSpPr txBox="1"/>
            <p:nvPr/>
          </p:nvSpPr>
          <p:spPr>
            <a:xfrm>
              <a:off x="5949882" y="3457748"/>
              <a:ext cx="65" cy="6155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400" b="0" i="1" u="none" strike="noStrike" kern="1200" cap="none" spc="0" normalizeH="0" baseline="0" noProof="0" dirty="0">
                <a:ln>
                  <a:noFill/>
                </a:ln>
                <a:solidFill>
                  <a:srgbClr val="B4BCC3">
                    <a:lumMod val="50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147" name="Group 146">
            <a:extLst>
              <a:ext uri="{FF2B5EF4-FFF2-40B4-BE49-F238E27FC236}">
                <a16:creationId xmlns:a16="http://schemas.microsoft.com/office/drawing/2014/main" id="{9BB0AB6D-D8FA-4DEF-896C-1EA3BC3834E3}"/>
              </a:ext>
            </a:extLst>
          </p:cNvPr>
          <p:cNvGrpSpPr/>
          <p:nvPr/>
        </p:nvGrpSpPr>
        <p:grpSpPr>
          <a:xfrm>
            <a:off x="4993205" y="2034970"/>
            <a:ext cx="1080424" cy="889686"/>
            <a:chOff x="4993205" y="1902450"/>
            <a:chExt cx="1080424" cy="889686"/>
          </a:xfrm>
        </p:grpSpPr>
        <p:sp>
          <p:nvSpPr>
            <p:cNvPr id="87" name="Rectangle 86">
              <a:extLst>
                <a:ext uri="{FF2B5EF4-FFF2-40B4-BE49-F238E27FC236}">
                  <a16:creationId xmlns:a16="http://schemas.microsoft.com/office/drawing/2014/main" id="{22204DD4-2A3D-4948-BA42-211288DD4128}"/>
                </a:ext>
              </a:extLst>
            </p:cNvPr>
            <p:cNvSpPr/>
            <p:nvPr/>
          </p:nvSpPr>
          <p:spPr>
            <a:xfrm>
              <a:off x="5007458" y="1902450"/>
              <a:ext cx="976183" cy="889686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B4BCC3">
                    <a:lumMod val="50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7" name="TextBox 126">
              <a:extLst>
                <a:ext uri="{FF2B5EF4-FFF2-40B4-BE49-F238E27FC236}">
                  <a16:creationId xmlns:a16="http://schemas.microsoft.com/office/drawing/2014/main" id="{5FCB4097-EE49-4726-8971-86C601E43BA3}"/>
                </a:ext>
              </a:extLst>
            </p:cNvPr>
            <p:cNvSpPr txBox="1"/>
            <p:nvPr/>
          </p:nvSpPr>
          <p:spPr>
            <a:xfrm>
              <a:off x="4993205" y="1980791"/>
              <a:ext cx="1080424" cy="57708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600" b="0" i="0" u="none" strike="noStrike" kern="1200" cap="none" spc="0" normalizeH="0" baseline="0" noProof="0" dirty="0">
                  <a:ln>
                    <a:noFill/>
                  </a:ln>
                  <a:solidFill>
                    <a:srgbClr val="E60A11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Digital Balancing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105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B4BCC3">
                      <a:lumMod val="50000"/>
                    </a:srgbClr>
                  </a:solidFill>
                  <a:effectLst/>
                  <a:uLnTx/>
                  <a:uFillTx/>
                  <a:latin typeface="Arial Nova" panose="020B0604020202020204" pitchFamily="34" charset="0"/>
                  <a:ea typeface="+mn-ea"/>
                  <a:cs typeface="+mn-cs"/>
                </a:rPr>
                <a:t>NovoCon</a:t>
              </a:r>
              <a:r>
                <a:rPr kumimoji="0" lang="en-GB" sz="1050" b="0" i="0" u="none" strike="noStrike" kern="1200" cap="none" spc="0" normalizeH="0" baseline="30000" noProof="0" dirty="0">
                  <a:ln>
                    <a:noFill/>
                  </a:ln>
                  <a:solidFill>
                    <a:srgbClr val="B4BCC3">
                      <a:lumMod val="50000"/>
                    </a:srgbClr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®</a:t>
              </a:r>
              <a:r>
                <a:rPr kumimoji="0" lang="da-DK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B4BCC3">
                      <a:lumMod val="50000"/>
                    </a:srgbClr>
                  </a:solidFill>
                  <a:effectLst/>
                  <a:uLnTx/>
                  <a:uFillTx/>
                  <a:latin typeface="Arial Nova" panose="020B0604020202020204" pitchFamily="34" charset="0"/>
                  <a:ea typeface="+mn-ea"/>
                  <a:cs typeface="+mn-cs"/>
                </a:rPr>
                <a:t>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r-Latn-BA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B4BCC3">
                      <a:lumMod val="50000"/>
                    </a:srgbClr>
                  </a:solidFill>
                  <a:effectLst/>
                  <a:uLnTx/>
                  <a:uFillTx/>
                  <a:latin typeface="Arial Nova" panose="020B0604020202020204" pitchFamily="34" charset="0"/>
                  <a:ea typeface="+mn-ea"/>
                  <a:cs typeface="+mn-cs"/>
                </a:rPr>
                <a:t>„</a:t>
              </a:r>
              <a:r>
                <a:rPr kumimoji="0" lang="da-DK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B4BCC3">
                      <a:lumMod val="50000"/>
                    </a:srgbClr>
                  </a:solidFill>
                  <a:effectLst/>
                  <a:uLnTx/>
                  <a:uFillTx/>
                  <a:latin typeface="Arial Nova" panose="020B0604020202020204" pitchFamily="34" charset="0"/>
                  <a:ea typeface="+mn-ea"/>
                  <a:cs typeface="+mn-cs"/>
                </a:rPr>
                <a:t>Digital balancing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B4BCC3">
                      <a:lumMod val="50000"/>
                    </a:srgbClr>
                  </a:solidFill>
                  <a:effectLst/>
                  <a:uLnTx/>
                  <a:uFillTx/>
                  <a:latin typeface="Arial Nova" panose="020B0604020202020204" pitchFamily="34" charset="0"/>
                  <a:ea typeface="+mn-ea"/>
                  <a:cs typeface="+mn-cs"/>
                </a:rPr>
                <a:t>Solution</a:t>
              </a:r>
              <a:r>
                <a:rPr kumimoji="0" lang="sr-Latn-BA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B4BCC3">
                      <a:lumMod val="50000"/>
                    </a:srgbClr>
                  </a:solidFill>
                  <a:effectLst/>
                  <a:uLnTx/>
                  <a:uFillTx/>
                  <a:latin typeface="Arial Nova" panose="020B0604020202020204" pitchFamily="34" charset="0"/>
                  <a:ea typeface="+mn-ea"/>
                  <a:cs typeface="+mn-cs"/>
                </a:rPr>
                <a:t>“</a:t>
              </a:r>
              <a:endParaRPr kumimoji="0" lang="da-DK" sz="1050" b="0" i="0" u="none" strike="noStrike" kern="1200" cap="none" spc="0" normalizeH="0" baseline="60000" noProof="0" dirty="0">
                <a:ln>
                  <a:noFill/>
                </a:ln>
                <a:solidFill>
                  <a:srgbClr val="B4BCC3">
                    <a:lumMod val="50000"/>
                  </a:srgbClr>
                </a:solidFill>
                <a:effectLst/>
                <a:uLnTx/>
                <a:uFillTx/>
                <a:latin typeface="Arial Nova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36" name="TextBox 135">
              <a:extLst>
                <a:ext uri="{FF2B5EF4-FFF2-40B4-BE49-F238E27FC236}">
                  <a16:creationId xmlns:a16="http://schemas.microsoft.com/office/drawing/2014/main" id="{6EE841A0-2308-49DD-8E3E-1E07B7E82E84}"/>
                </a:ext>
              </a:extLst>
            </p:cNvPr>
            <p:cNvSpPr txBox="1"/>
            <p:nvPr/>
          </p:nvSpPr>
          <p:spPr>
            <a:xfrm>
              <a:off x="5349872" y="2585179"/>
              <a:ext cx="367088" cy="6155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400" b="0" i="1" u="none" strike="noStrike" kern="1200" cap="none" spc="0" normalizeH="0" baseline="0" noProof="0" dirty="0">
                  <a:ln>
                    <a:noFill/>
                  </a:ln>
                  <a:solidFill>
                    <a:srgbClr val="B4BCC3">
                      <a:lumMod val="50000"/>
                    </a:srgbClr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In the Market </a:t>
              </a:r>
            </a:p>
          </p:txBody>
        </p:sp>
      </p:grpSp>
      <p:grpSp>
        <p:nvGrpSpPr>
          <p:cNvPr id="146" name="Group 145">
            <a:extLst>
              <a:ext uri="{FF2B5EF4-FFF2-40B4-BE49-F238E27FC236}">
                <a16:creationId xmlns:a16="http://schemas.microsoft.com/office/drawing/2014/main" id="{C34A8612-7159-46D7-8B0E-BD2A178CBFF4}"/>
              </a:ext>
            </a:extLst>
          </p:cNvPr>
          <p:cNvGrpSpPr/>
          <p:nvPr/>
        </p:nvGrpSpPr>
        <p:grpSpPr>
          <a:xfrm>
            <a:off x="4094772" y="3179795"/>
            <a:ext cx="976183" cy="889686"/>
            <a:chOff x="4094772" y="3047275"/>
            <a:chExt cx="976183" cy="889686"/>
          </a:xfrm>
        </p:grpSpPr>
        <p:sp>
          <p:nvSpPr>
            <p:cNvPr id="88" name="Rectangle 87">
              <a:extLst>
                <a:ext uri="{FF2B5EF4-FFF2-40B4-BE49-F238E27FC236}">
                  <a16:creationId xmlns:a16="http://schemas.microsoft.com/office/drawing/2014/main" id="{96F1C623-6DCF-41F5-92DA-CA0FD8287E3D}"/>
                </a:ext>
              </a:extLst>
            </p:cNvPr>
            <p:cNvSpPr/>
            <p:nvPr/>
          </p:nvSpPr>
          <p:spPr>
            <a:xfrm>
              <a:off x="4094772" y="3047275"/>
              <a:ext cx="976183" cy="889686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B4BCC3">
                    <a:lumMod val="50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8" name="TextBox 127">
              <a:extLst>
                <a:ext uri="{FF2B5EF4-FFF2-40B4-BE49-F238E27FC236}">
                  <a16:creationId xmlns:a16="http://schemas.microsoft.com/office/drawing/2014/main" id="{8B8FA14F-1385-4089-8968-DCE1C85ACB98}"/>
                </a:ext>
              </a:extLst>
            </p:cNvPr>
            <p:cNvSpPr txBox="1"/>
            <p:nvPr/>
          </p:nvSpPr>
          <p:spPr>
            <a:xfrm>
              <a:off x="4229891" y="3064961"/>
              <a:ext cx="660437" cy="4154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600" b="0" i="0" u="none" strike="noStrike" kern="1200" cap="none" spc="0" normalizeH="0" baseline="0" noProof="0" dirty="0">
                  <a:ln>
                    <a:noFill/>
                  </a:ln>
                  <a:solidFill>
                    <a:srgbClr val="E60A11"/>
                  </a:solidFill>
                  <a:effectLst/>
                  <a:uLnTx/>
                  <a:uFillTx/>
                  <a:latin typeface="Arial Nova" panose="020B0604020202020204" pitchFamily="34" charset="0"/>
                  <a:ea typeface="+mn-ea"/>
                  <a:cs typeface="+mn-cs"/>
                </a:rPr>
                <a:t>Building Integration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B4BCC3">
                      <a:lumMod val="50000"/>
                    </a:srgbClr>
                  </a:solidFill>
                  <a:effectLst/>
                  <a:uLnTx/>
                  <a:uFillTx/>
                  <a:latin typeface="Arial Nova" panose="020B0604020202020204" pitchFamily="34" charset="0"/>
                  <a:ea typeface="+mn-ea"/>
                  <a:cs typeface="+mn-cs"/>
                </a:rPr>
                <a:t>Leanheat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B4BCC3">
                      <a:lumMod val="50000"/>
                    </a:srgbClr>
                  </a:solidFill>
                  <a:effectLst/>
                  <a:uLnTx/>
                  <a:uFillTx/>
                  <a:latin typeface="Arial Nova" panose="020B0604020202020204" pitchFamily="34" charset="0"/>
                  <a:ea typeface="+mn-ea"/>
                  <a:cs typeface="+mn-cs"/>
                </a:rPr>
                <a:t>Solution</a:t>
              </a:r>
            </a:p>
          </p:txBody>
        </p:sp>
        <p:sp>
          <p:nvSpPr>
            <p:cNvPr id="137" name="TextBox 136">
              <a:extLst>
                <a:ext uri="{FF2B5EF4-FFF2-40B4-BE49-F238E27FC236}">
                  <a16:creationId xmlns:a16="http://schemas.microsoft.com/office/drawing/2014/main" id="{83B87DAB-7428-4737-ABA3-4FF6B6973522}"/>
                </a:ext>
              </a:extLst>
            </p:cNvPr>
            <p:cNvSpPr txBox="1"/>
            <p:nvPr/>
          </p:nvSpPr>
          <p:spPr>
            <a:xfrm>
              <a:off x="4382121" y="3489758"/>
              <a:ext cx="367088" cy="6155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400" b="0" i="1" u="none" strike="noStrike" kern="1200" cap="none" spc="0" normalizeH="0" baseline="0" noProof="0" dirty="0">
                  <a:ln>
                    <a:noFill/>
                  </a:ln>
                  <a:solidFill>
                    <a:srgbClr val="B4BCC3">
                      <a:lumMod val="50000"/>
                    </a:srgbClr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In the Market </a:t>
              </a:r>
            </a:p>
          </p:txBody>
        </p:sp>
      </p:grpSp>
      <p:grpSp>
        <p:nvGrpSpPr>
          <p:cNvPr id="143" name="Group 142">
            <a:extLst>
              <a:ext uri="{FF2B5EF4-FFF2-40B4-BE49-F238E27FC236}">
                <a16:creationId xmlns:a16="http://schemas.microsoft.com/office/drawing/2014/main" id="{77A1D4BD-984E-47D6-A21B-29F80BDC2C33}"/>
              </a:ext>
            </a:extLst>
          </p:cNvPr>
          <p:cNvGrpSpPr/>
          <p:nvPr/>
        </p:nvGrpSpPr>
        <p:grpSpPr>
          <a:xfrm>
            <a:off x="635946" y="2054752"/>
            <a:ext cx="976183" cy="889686"/>
            <a:chOff x="1722680" y="1902450"/>
            <a:chExt cx="976183" cy="889686"/>
          </a:xfrm>
        </p:grpSpPr>
        <p:sp>
          <p:nvSpPr>
            <p:cNvPr id="84" name="Rectangle 83">
              <a:extLst>
                <a:ext uri="{FF2B5EF4-FFF2-40B4-BE49-F238E27FC236}">
                  <a16:creationId xmlns:a16="http://schemas.microsoft.com/office/drawing/2014/main" id="{7157C499-F191-412E-A468-1382AEE28B93}"/>
                </a:ext>
              </a:extLst>
            </p:cNvPr>
            <p:cNvSpPr/>
            <p:nvPr/>
          </p:nvSpPr>
          <p:spPr>
            <a:xfrm>
              <a:off x="1722680" y="1902450"/>
              <a:ext cx="976183" cy="889686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B4BCC3">
                    <a:lumMod val="50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5" name="TextBox 124">
              <a:extLst>
                <a:ext uri="{FF2B5EF4-FFF2-40B4-BE49-F238E27FC236}">
                  <a16:creationId xmlns:a16="http://schemas.microsoft.com/office/drawing/2014/main" id="{B8B963BA-0AA3-480C-A970-936414FA81A3}"/>
                </a:ext>
              </a:extLst>
            </p:cNvPr>
            <p:cNvSpPr txBox="1"/>
            <p:nvPr/>
          </p:nvSpPr>
          <p:spPr>
            <a:xfrm>
              <a:off x="1940181" y="1959680"/>
              <a:ext cx="678110" cy="43858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600" b="0" i="0" u="none" strike="noStrike" kern="1200" cap="none" spc="0" normalizeH="0" baseline="0" noProof="0" dirty="0">
                  <a:ln>
                    <a:noFill/>
                  </a:ln>
                  <a:solidFill>
                    <a:srgbClr val="E60A11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Temperature- and Pla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600" b="0" i="0" u="none" strike="noStrike" kern="1200" cap="none" spc="0" normalizeH="0" baseline="0" noProof="0" dirty="0">
                <a:ln>
                  <a:noFill/>
                </a:ln>
                <a:solidFill>
                  <a:srgbClr val="E60A11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B4BCC3">
                      <a:lumMod val="50000"/>
                    </a:srgbClr>
                  </a:solidFill>
                  <a:effectLst/>
                  <a:uLnTx/>
                  <a:uFillTx/>
                  <a:latin typeface="Arial Nova" panose="020B0604020202020204" pitchFamily="34" charset="0"/>
                  <a:ea typeface="+mn-ea"/>
                  <a:cs typeface="+mn-cs"/>
                </a:rPr>
                <a:t>Mentor</a:t>
              </a:r>
              <a:r>
                <a:rPr kumimoji="0" lang="da-DK" sz="1050" b="0" i="0" u="none" strike="noStrike" kern="1200" cap="none" spc="0" normalizeH="0" baseline="60000" noProof="0" dirty="0">
                  <a:ln>
                    <a:noFill/>
                  </a:ln>
                  <a:solidFill>
                    <a:srgbClr val="B4BCC3">
                      <a:lumMod val="50000"/>
                    </a:srgbClr>
                  </a:solidFill>
                  <a:effectLst/>
                  <a:uLnTx/>
                  <a:uFillTx/>
                  <a:latin typeface="Arial Nova" panose="020B0604020202020204" pitchFamily="34" charset="0"/>
                  <a:ea typeface="+mn-ea"/>
                  <a:cs typeface="+mn-cs"/>
                </a:rPr>
                <a:t>TM</a:t>
              </a:r>
            </a:p>
          </p:txBody>
        </p:sp>
        <p:sp>
          <p:nvSpPr>
            <p:cNvPr id="139" name="TextBox 138">
              <a:extLst>
                <a:ext uri="{FF2B5EF4-FFF2-40B4-BE49-F238E27FC236}">
                  <a16:creationId xmlns:a16="http://schemas.microsoft.com/office/drawing/2014/main" id="{9EDE8E01-5571-461E-BBCF-97EC15B4C3BF}"/>
                </a:ext>
              </a:extLst>
            </p:cNvPr>
            <p:cNvSpPr txBox="1"/>
            <p:nvPr/>
          </p:nvSpPr>
          <p:spPr>
            <a:xfrm>
              <a:off x="1940181" y="2406067"/>
              <a:ext cx="367088" cy="6155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400" b="0" i="1" u="none" strike="noStrike" kern="1200" cap="none" spc="0" normalizeH="0" baseline="0" noProof="0" dirty="0">
                  <a:ln>
                    <a:noFill/>
                  </a:ln>
                  <a:solidFill>
                    <a:srgbClr val="B4BCC3">
                      <a:lumMod val="50000"/>
                    </a:srgbClr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In the Market </a:t>
              </a: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6A0E7D6C-C700-4193-817E-31B06AAE2538}"/>
              </a:ext>
            </a:extLst>
          </p:cNvPr>
          <p:cNvGrpSpPr/>
          <p:nvPr/>
        </p:nvGrpSpPr>
        <p:grpSpPr>
          <a:xfrm>
            <a:off x="1816274" y="2057911"/>
            <a:ext cx="976183" cy="889686"/>
            <a:chOff x="542828" y="2034970"/>
            <a:chExt cx="976183" cy="889686"/>
          </a:xfrm>
        </p:grpSpPr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941DB584-6934-4DD8-A409-F30B796D80EA}"/>
                </a:ext>
              </a:extLst>
            </p:cNvPr>
            <p:cNvSpPr/>
            <p:nvPr/>
          </p:nvSpPr>
          <p:spPr>
            <a:xfrm>
              <a:off x="542828" y="2034970"/>
              <a:ext cx="976183" cy="889686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B4BCC3">
                    <a:lumMod val="50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4" name="TextBox 123">
              <a:extLst>
                <a:ext uri="{FF2B5EF4-FFF2-40B4-BE49-F238E27FC236}">
                  <a16:creationId xmlns:a16="http://schemas.microsoft.com/office/drawing/2014/main" id="{579ABCA1-46F2-40D7-ACAC-D4B403DA4B94}"/>
                </a:ext>
              </a:extLst>
            </p:cNvPr>
            <p:cNvSpPr txBox="1"/>
            <p:nvPr/>
          </p:nvSpPr>
          <p:spPr>
            <a:xfrm>
              <a:off x="676861" y="2101848"/>
              <a:ext cx="708527" cy="43858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600" b="0" i="0" u="none" strike="noStrike" kern="1200" cap="none" spc="0" normalizeH="0" baseline="0" noProof="0" dirty="0">
                  <a:ln>
                    <a:noFill/>
                  </a:ln>
                  <a:solidFill>
                    <a:srgbClr val="E60A11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Thermo-hydraulic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600" b="0" i="0" u="none" strike="noStrike" kern="1200" cap="none" spc="0" normalizeH="0" baseline="0" noProof="0" dirty="0">
                  <a:ln>
                    <a:noFill/>
                  </a:ln>
                  <a:solidFill>
                    <a:srgbClr val="E60A11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Modeling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600" b="0" i="0" u="none" strike="noStrike" kern="1200" cap="none" spc="0" normalizeH="0" baseline="0" noProof="0" dirty="0">
                <a:ln>
                  <a:noFill/>
                </a:ln>
                <a:solidFill>
                  <a:srgbClr val="E60A11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B4BCC3">
                      <a:lumMod val="50000"/>
                    </a:srgbClr>
                  </a:solidFill>
                  <a:effectLst/>
                  <a:uLnTx/>
                  <a:uFillTx/>
                  <a:latin typeface="Arial Nova" panose="020B0604020202020204" pitchFamily="34" charset="0"/>
                  <a:ea typeface="+mn-ea"/>
                  <a:cs typeface="+mn-cs"/>
                </a:rPr>
                <a:t>Energis</a:t>
              </a:r>
              <a:r>
                <a:rPr kumimoji="0" lang="da-DK" sz="1050" b="0" i="0" u="none" strike="noStrike" kern="1200" cap="none" spc="0" normalizeH="0" baseline="60000" noProof="0" dirty="0">
                  <a:ln>
                    <a:noFill/>
                  </a:ln>
                  <a:solidFill>
                    <a:srgbClr val="B4BCC3">
                      <a:lumMod val="50000"/>
                    </a:srgbClr>
                  </a:solidFill>
                  <a:effectLst/>
                  <a:uLnTx/>
                  <a:uFillTx/>
                  <a:latin typeface="Arial Nova" panose="020B0604020202020204" pitchFamily="34" charset="0"/>
                  <a:ea typeface="+mn-ea"/>
                  <a:cs typeface="+mn-cs"/>
                </a:rPr>
                <a:t>TM</a:t>
              </a:r>
            </a:p>
          </p:txBody>
        </p:sp>
        <p:sp>
          <p:nvSpPr>
            <p:cNvPr id="140" name="TextBox 139">
              <a:extLst>
                <a:ext uri="{FF2B5EF4-FFF2-40B4-BE49-F238E27FC236}">
                  <a16:creationId xmlns:a16="http://schemas.microsoft.com/office/drawing/2014/main" id="{87B79768-2133-4DAD-A1A0-04B8127F1013}"/>
                </a:ext>
              </a:extLst>
            </p:cNvPr>
            <p:cNvSpPr txBox="1"/>
            <p:nvPr/>
          </p:nvSpPr>
          <p:spPr>
            <a:xfrm>
              <a:off x="742131" y="2422642"/>
              <a:ext cx="367088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400" b="0" i="1" u="none" strike="noStrike" kern="1200" cap="none" spc="0" normalizeH="0" baseline="0" noProof="0" dirty="0">
                <a:ln>
                  <a:noFill/>
                </a:ln>
                <a:solidFill>
                  <a:srgbClr val="B4BCC3">
                    <a:lumMod val="50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400" b="0" i="1" u="none" strike="noStrike" kern="1200" cap="none" spc="0" normalizeH="0" baseline="0" noProof="0" dirty="0">
                <a:ln>
                  <a:noFill/>
                </a:ln>
                <a:solidFill>
                  <a:srgbClr val="B4BCC3">
                    <a:lumMod val="50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400" b="0" i="1" u="none" strike="noStrike" kern="1200" cap="none" spc="0" normalizeH="0" baseline="0" noProof="0" dirty="0">
                  <a:ln>
                    <a:noFill/>
                  </a:ln>
                  <a:solidFill>
                    <a:srgbClr val="B4BCC3">
                      <a:lumMod val="50000"/>
                    </a:srgbClr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In the Market </a:t>
              </a: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6085AD93-7027-4D5A-AD65-EC6C6D994D24}"/>
              </a:ext>
            </a:extLst>
          </p:cNvPr>
          <p:cNvGrpSpPr/>
          <p:nvPr/>
        </p:nvGrpSpPr>
        <p:grpSpPr>
          <a:xfrm>
            <a:off x="2562076" y="3143267"/>
            <a:ext cx="976183" cy="900626"/>
            <a:chOff x="2562076" y="3143267"/>
            <a:chExt cx="976183" cy="900626"/>
          </a:xfrm>
        </p:grpSpPr>
        <p:grpSp>
          <p:nvGrpSpPr>
            <p:cNvPr id="144" name="Group 143">
              <a:extLst>
                <a:ext uri="{FF2B5EF4-FFF2-40B4-BE49-F238E27FC236}">
                  <a16:creationId xmlns:a16="http://schemas.microsoft.com/office/drawing/2014/main" id="{5B69BEAD-A5B0-4219-912B-520B7FD3237A}"/>
                </a:ext>
              </a:extLst>
            </p:cNvPr>
            <p:cNvGrpSpPr/>
            <p:nvPr/>
          </p:nvGrpSpPr>
          <p:grpSpPr>
            <a:xfrm>
              <a:off x="2562076" y="3143267"/>
              <a:ext cx="976183" cy="889686"/>
              <a:chOff x="2562076" y="3010747"/>
              <a:chExt cx="976183" cy="889686"/>
            </a:xfrm>
          </p:grpSpPr>
          <p:sp>
            <p:nvSpPr>
              <p:cNvPr id="85" name="Rectangle 84">
                <a:extLst>
                  <a:ext uri="{FF2B5EF4-FFF2-40B4-BE49-F238E27FC236}">
                    <a16:creationId xmlns:a16="http://schemas.microsoft.com/office/drawing/2014/main" id="{766BBB29-4517-4439-9991-AB928E3F3F31}"/>
                  </a:ext>
                </a:extLst>
              </p:cNvPr>
              <p:cNvSpPr/>
              <p:nvPr/>
            </p:nvSpPr>
            <p:spPr>
              <a:xfrm>
                <a:off x="2562076" y="3010747"/>
                <a:ext cx="976183" cy="889686"/>
              </a:xfrm>
              <a:prstGeom prst="rect">
                <a:avLst/>
              </a:prstGeom>
              <a:solidFill>
                <a:srgbClr val="FFFFFF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B4BCC3">
                      <a:lumMod val="50000"/>
                    </a:srgbClr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6" name="TextBox 125">
                <a:extLst>
                  <a:ext uri="{FF2B5EF4-FFF2-40B4-BE49-F238E27FC236}">
                    <a16:creationId xmlns:a16="http://schemas.microsoft.com/office/drawing/2014/main" id="{F46365AF-29D6-4042-B52B-BD5C953DCF7B}"/>
                  </a:ext>
                </a:extLst>
              </p:cNvPr>
              <p:cNvSpPr txBox="1"/>
              <p:nvPr/>
            </p:nvSpPr>
            <p:spPr>
              <a:xfrm>
                <a:off x="2697616" y="3058343"/>
                <a:ext cx="722955" cy="34624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a-DK" sz="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E60A11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rPr>
                  <a:t>System Monitoring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a-DK" sz="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E60A11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rPr>
                  <a:t> 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a-DK" sz="105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B4BCC3">
                        <a:lumMod val="50000"/>
                      </a:srgbClr>
                    </a:solidFill>
                    <a:effectLst/>
                    <a:uLnTx/>
                    <a:uFillTx/>
                    <a:latin typeface="Arial Nova" panose="020B0604020202020204" pitchFamily="34" charset="0"/>
                    <a:ea typeface="+mn-ea"/>
                    <a:cs typeface="+mn-cs"/>
                  </a:rPr>
                  <a:t>Enspire</a:t>
                </a:r>
                <a:r>
                  <a:rPr kumimoji="0" lang="da-DK" sz="1050" b="0" i="0" u="none" strike="noStrike" kern="1200" cap="none" spc="0" normalizeH="0" baseline="60000" noProof="0" dirty="0">
                    <a:ln>
                      <a:noFill/>
                    </a:ln>
                    <a:solidFill>
                      <a:srgbClr val="B4BCC3">
                        <a:lumMod val="50000"/>
                      </a:srgbClr>
                    </a:solidFill>
                    <a:effectLst/>
                    <a:uLnTx/>
                    <a:uFillTx/>
                    <a:latin typeface="Arial Nova" panose="020B0604020202020204" pitchFamily="34" charset="0"/>
                    <a:ea typeface="+mn-ea"/>
                    <a:cs typeface="+mn-cs"/>
                  </a:rPr>
                  <a:t>TM</a:t>
                </a:r>
              </a:p>
            </p:txBody>
          </p:sp>
          <p:sp>
            <p:nvSpPr>
              <p:cNvPr id="138" name="TextBox 137">
                <a:extLst>
                  <a:ext uri="{FF2B5EF4-FFF2-40B4-BE49-F238E27FC236}">
                    <a16:creationId xmlns:a16="http://schemas.microsoft.com/office/drawing/2014/main" id="{09588059-5E36-441A-B8B2-4A6176FF3688}"/>
                  </a:ext>
                </a:extLst>
              </p:cNvPr>
              <p:cNvSpPr txBox="1"/>
              <p:nvPr/>
            </p:nvSpPr>
            <p:spPr>
              <a:xfrm>
                <a:off x="2704598" y="3430563"/>
                <a:ext cx="367088" cy="61555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a-DK" sz="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B4BCC3">
                        <a:lumMod val="50000"/>
                      </a:srgbClr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rPr>
                  <a:t>In the Market </a:t>
                </a:r>
              </a:p>
            </p:txBody>
          </p:sp>
        </p:grpSp>
        <p:pic>
          <p:nvPicPr>
            <p:cNvPr id="871437" name="Picture 13">
              <a:extLst>
                <a:ext uri="{FF2B5EF4-FFF2-40B4-BE49-F238E27FC236}">
                  <a16:creationId xmlns:a16="http://schemas.microsoft.com/office/drawing/2014/main" id="{1C3282B0-CB2B-4F31-8159-276D6D5A164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23845" y="3563085"/>
              <a:ext cx="721913" cy="48080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45" name="Group 144">
            <a:extLst>
              <a:ext uri="{FF2B5EF4-FFF2-40B4-BE49-F238E27FC236}">
                <a16:creationId xmlns:a16="http://schemas.microsoft.com/office/drawing/2014/main" id="{44DDE733-0B6F-4A3F-9B7B-54D4CB0666BB}"/>
              </a:ext>
            </a:extLst>
          </p:cNvPr>
          <p:cNvGrpSpPr/>
          <p:nvPr/>
        </p:nvGrpSpPr>
        <p:grpSpPr>
          <a:xfrm>
            <a:off x="3417814" y="2034970"/>
            <a:ext cx="976183" cy="889686"/>
            <a:chOff x="3417814" y="1902450"/>
            <a:chExt cx="976183" cy="889686"/>
          </a:xfrm>
        </p:grpSpPr>
        <p:sp>
          <p:nvSpPr>
            <p:cNvPr id="86" name="Rectangle 85">
              <a:extLst>
                <a:ext uri="{FF2B5EF4-FFF2-40B4-BE49-F238E27FC236}">
                  <a16:creationId xmlns:a16="http://schemas.microsoft.com/office/drawing/2014/main" id="{4BE8FE0E-E4C7-491E-B88C-465C92081BC8}"/>
                </a:ext>
              </a:extLst>
            </p:cNvPr>
            <p:cNvSpPr/>
            <p:nvPr/>
          </p:nvSpPr>
          <p:spPr>
            <a:xfrm>
              <a:off x="3417814" y="1902450"/>
              <a:ext cx="976183" cy="889686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B4BCC3">
                    <a:lumMod val="50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9" name="TextBox 128">
              <a:extLst>
                <a:ext uri="{FF2B5EF4-FFF2-40B4-BE49-F238E27FC236}">
                  <a16:creationId xmlns:a16="http://schemas.microsoft.com/office/drawing/2014/main" id="{4777FDE5-5425-498F-BEAD-E331C50B1E59}"/>
                </a:ext>
              </a:extLst>
            </p:cNvPr>
            <p:cNvSpPr txBox="1"/>
            <p:nvPr/>
          </p:nvSpPr>
          <p:spPr>
            <a:xfrm>
              <a:off x="3549455" y="1942745"/>
              <a:ext cx="721351" cy="3462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600" b="0" i="0" u="none" strike="noStrike" kern="1200" cap="none" spc="0" normalizeH="0" baseline="0" noProof="0" dirty="0">
                  <a:ln>
                    <a:noFill/>
                  </a:ln>
                  <a:solidFill>
                    <a:srgbClr val="E60A11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Digital Sub-station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600" b="0" i="0" u="none" strike="noStrike" kern="1200" cap="none" spc="0" normalizeH="0" baseline="0" noProof="0" dirty="0">
                <a:ln>
                  <a:noFill/>
                </a:ln>
                <a:solidFill>
                  <a:srgbClr val="E60A11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B4BCC3">
                      <a:lumMod val="50000"/>
                    </a:srgbClr>
                  </a:solidFill>
                  <a:effectLst/>
                  <a:uLnTx/>
                  <a:uFillTx/>
                  <a:latin typeface="Arial Nova" panose="020B0604020202020204" pitchFamily="34" charset="0"/>
                  <a:ea typeface="+mn-ea"/>
                  <a:cs typeface="+mn-cs"/>
                </a:rPr>
                <a:t>TITAN</a:t>
              </a:r>
              <a:r>
                <a:rPr kumimoji="0" lang="en-GB" sz="1050" b="0" i="0" u="none" strike="noStrike" kern="1200" cap="none" spc="0" normalizeH="0" baseline="30000" noProof="0" dirty="0">
                  <a:ln>
                    <a:noFill/>
                  </a:ln>
                  <a:solidFill>
                    <a:srgbClr val="B4BCC3">
                      <a:lumMod val="50000"/>
                    </a:srgbClr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®</a:t>
              </a:r>
              <a:endParaRPr kumimoji="0" lang="da-DK" sz="1050" b="0" i="0" u="none" strike="noStrike" kern="1200" cap="none" spc="0" normalizeH="0" baseline="60000" noProof="0" dirty="0">
                <a:ln>
                  <a:noFill/>
                </a:ln>
                <a:solidFill>
                  <a:srgbClr val="B4BCC3">
                    <a:lumMod val="50000"/>
                  </a:srgbClr>
                </a:solidFill>
                <a:effectLst/>
                <a:uLnTx/>
                <a:uFillTx/>
                <a:latin typeface="Arial Nova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41" name="TextBox 140">
              <a:extLst>
                <a:ext uri="{FF2B5EF4-FFF2-40B4-BE49-F238E27FC236}">
                  <a16:creationId xmlns:a16="http://schemas.microsoft.com/office/drawing/2014/main" id="{DFA5D79D-EBDF-4274-8F7D-929E554F45A1}"/>
                </a:ext>
              </a:extLst>
            </p:cNvPr>
            <p:cNvSpPr txBox="1"/>
            <p:nvPr/>
          </p:nvSpPr>
          <p:spPr>
            <a:xfrm>
              <a:off x="3652849" y="2278586"/>
              <a:ext cx="411972" cy="6155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400" b="0" i="1" u="none" strike="noStrike" kern="1200" cap="none" spc="0" normalizeH="0" baseline="0" noProof="0" dirty="0">
                  <a:ln>
                    <a:noFill/>
                  </a:ln>
                  <a:solidFill>
                    <a:srgbClr val="B4BCC3">
                      <a:lumMod val="50000"/>
                    </a:srgbClr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In Development</a:t>
              </a:r>
            </a:p>
          </p:txBody>
        </p:sp>
      </p:grpSp>
      <p:pic>
        <p:nvPicPr>
          <p:cNvPr id="83" name="Picture 82">
            <a:extLst>
              <a:ext uri="{FF2B5EF4-FFF2-40B4-BE49-F238E27FC236}">
                <a16:creationId xmlns:a16="http://schemas.microsoft.com/office/drawing/2014/main" id="{2DE52A4A-9F63-4643-BBBC-20597D6BDD3A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l="52671" t="7355" r="39063" b="77044"/>
          <a:stretch/>
        </p:blipFill>
        <p:spPr>
          <a:xfrm>
            <a:off x="3666920" y="2488171"/>
            <a:ext cx="521773" cy="462192"/>
          </a:xfrm>
          <a:prstGeom prst="rect">
            <a:avLst/>
          </a:prstGeom>
        </p:spPr>
      </p:pic>
      <p:grpSp>
        <p:nvGrpSpPr>
          <p:cNvPr id="54" name="Group 53">
            <a:extLst>
              <a:ext uri="{FF2B5EF4-FFF2-40B4-BE49-F238E27FC236}">
                <a16:creationId xmlns:a16="http://schemas.microsoft.com/office/drawing/2014/main" id="{24C386D3-2E4B-4CBA-ABFE-51A2B59DE17B}"/>
              </a:ext>
            </a:extLst>
          </p:cNvPr>
          <p:cNvGrpSpPr/>
          <p:nvPr/>
        </p:nvGrpSpPr>
        <p:grpSpPr>
          <a:xfrm>
            <a:off x="4096100" y="3181125"/>
            <a:ext cx="976183" cy="889686"/>
            <a:chOff x="4094772" y="3047275"/>
            <a:chExt cx="976183" cy="889686"/>
          </a:xfrm>
        </p:grpSpPr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48636E06-C08A-41E8-8342-1F9B40D235C2}"/>
                </a:ext>
              </a:extLst>
            </p:cNvPr>
            <p:cNvSpPr/>
            <p:nvPr/>
          </p:nvSpPr>
          <p:spPr>
            <a:xfrm>
              <a:off x="4094772" y="3047275"/>
              <a:ext cx="976183" cy="889686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B4BCC3">
                    <a:lumMod val="50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386C9A13-0E11-4460-B18A-B1A88CD2E3F8}"/>
                </a:ext>
              </a:extLst>
            </p:cNvPr>
            <p:cNvSpPr txBox="1"/>
            <p:nvPr/>
          </p:nvSpPr>
          <p:spPr>
            <a:xfrm>
              <a:off x="4226685" y="3096765"/>
              <a:ext cx="666849" cy="47705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600" b="0" i="0" u="none" strike="noStrike" kern="1200" cap="none" spc="0" normalizeH="0" baseline="0" noProof="0" dirty="0">
                  <a:ln>
                    <a:noFill/>
                  </a:ln>
                  <a:solidFill>
                    <a:srgbClr val="E60A11"/>
                  </a:solidFill>
                  <a:effectLst/>
                  <a:uLnTx/>
                  <a:uFillTx/>
                  <a:latin typeface="Arial Nova" panose="020B0604020202020204" pitchFamily="34" charset="0"/>
                  <a:ea typeface="+mn-ea"/>
                  <a:cs typeface="+mn-cs"/>
                </a:rPr>
                <a:t>Building Integration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400" b="0" i="0" u="none" strike="noStrike" kern="1200" cap="none" spc="0" normalizeH="0" baseline="0" noProof="0" dirty="0">
                <a:ln>
                  <a:noFill/>
                </a:ln>
                <a:solidFill>
                  <a:srgbClr val="B4BCC3">
                    <a:lumMod val="50000"/>
                  </a:srgbClr>
                </a:solidFill>
                <a:effectLst/>
                <a:uLnTx/>
                <a:uFillTx/>
                <a:latin typeface="Arial Nova" panose="020B0604020202020204" pitchFamily="34" charset="0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l-SI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B4BCC3">
                      <a:lumMod val="50000"/>
                    </a:srgbClr>
                  </a:solidFill>
                  <a:effectLst/>
                  <a:uLnTx/>
                  <a:uFillTx/>
                  <a:latin typeface="Arial Nova" panose="020B0604020202020204" pitchFamily="34" charset="0"/>
                  <a:ea typeface="+mn-ea"/>
                  <a:cs typeface="+mn-cs"/>
                </a:rPr>
                <a:t>Leanheat</a:t>
              </a:r>
              <a:r>
                <a:rPr kumimoji="0" lang="en-GB" sz="1050" b="0" i="0" u="none" strike="noStrike" kern="1200" cap="none" spc="0" normalizeH="0" baseline="30000" noProof="0" dirty="0">
                  <a:ln>
                    <a:noFill/>
                  </a:ln>
                  <a:solidFill>
                    <a:srgbClr val="B4BCC3">
                      <a:lumMod val="50000"/>
                    </a:srgbClr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®</a:t>
              </a:r>
              <a:r>
                <a:rPr kumimoji="0" lang="sl-SI" sz="1050" b="0" i="0" u="none" strike="noStrike" kern="1200" cap="none" spc="0" normalizeH="0" baseline="60000" noProof="0" dirty="0">
                  <a:ln>
                    <a:noFill/>
                  </a:ln>
                  <a:solidFill>
                    <a:srgbClr val="B4BCC3">
                      <a:lumMod val="50000"/>
                    </a:srgbClr>
                  </a:solidFill>
                  <a:effectLst/>
                  <a:uLnTx/>
                  <a:uFillTx/>
                  <a:latin typeface="Arial Nova" panose="020B0604020202020204" pitchFamily="34" charset="0"/>
                  <a:ea typeface="+mn-ea"/>
                  <a:cs typeface="+mn-cs"/>
                </a:rPr>
                <a:t>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l-SI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B4BCC3">
                      <a:lumMod val="50000"/>
                    </a:srgbClr>
                  </a:solidFill>
                  <a:effectLst/>
                  <a:uLnTx/>
                  <a:uFillTx/>
                  <a:latin typeface="Arial Nova" panose="020B0604020202020204" pitchFamily="34" charset="0"/>
                  <a:ea typeface="+mn-ea"/>
                  <a:cs typeface="+mn-cs"/>
                </a:rPr>
                <a:t>Building</a:t>
              </a:r>
              <a:endParaRPr kumimoji="0" lang="da-DK" sz="1050" b="0" i="0" u="none" strike="noStrike" kern="1200" cap="none" spc="0" normalizeH="0" baseline="0" noProof="0" dirty="0">
                <a:ln>
                  <a:noFill/>
                </a:ln>
                <a:solidFill>
                  <a:srgbClr val="B4BCC3">
                    <a:lumMod val="50000"/>
                  </a:srgbClr>
                </a:solidFill>
                <a:effectLst/>
                <a:uLnTx/>
                <a:uFillTx/>
                <a:latin typeface="Arial Nova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B42A4031-9B2B-4B7E-9A4F-0B1F30A3922D}"/>
                </a:ext>
              </a:extLst>
            </p:cNvPr>
            <p:cNvSpPr txBox="1"/>
            <p:nvPr/>
          </p:nvSpPr>
          <p:spPr>
            <a:xfrm>
              <a:off x="4215775" y="3820906"/>
              <a:ext cx="367088" cy="6155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400" b="0" i="1" u="none" strike="noStrike" kern="1200" cap="none" spc="0" normalizeH="0" baseline="0" noProof="0" dirty="0">
                  <a:ln>
                    <a:noFill/>
                  </a:ln>
                  <a:solidFill>
                    <a:srgbClr val="B4BCC3">
                      <a:lumMod val="50000"/>
                    </a:srgbClr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In the Market </a:t>
              </a:r>
            </a:p>
          </p:txBody>
        </p: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15575B8B-0961-4391-97C8-47ED6FD3CE8A}"/>
              </a:ext>
            </a:extLst>
          </p:cNvPr>
          <p:cNvGrpSpPr/>
          <p:nvPr/>
        </p:nvGrpSpPr>
        <p:grpSpPr>
          <a:xfrm>
            <a:off x="644328" y="2049919"/>
            <a:ext cx="976183" cy="889686"/>
            <a:chOff x="1722680" y="1902450"/>
            <a:chExt cx="976183" cy="889686"/>
          </a:xfrm>
        </p:grpSpPr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32FBF188-F21C-449C-9523-1DDC9D015D9E}"/>
                </a:ext>
              </a:extLst>
            </p:cNvPr>
            <p:cNvSpPr/>
            <p:nvPr/>
          </p:nvSpPr>
          <p:spPr>
            <a:xfrm>
              <a:off x="1722680" y="1902450"/>
              <a:ext cx="976183" cy="889686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B4BCC3">
                    <a:lumMod val="50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FEF7F9CF-36A6-42A7-8AAD-DDCEA5B3B8E4}"/>
                </a:ext>
              </a:extLst>
            </p:cNvPr>
            <p:cNvSpPr txBox="1"/>
            <p:nvPr/>
          </p:nvSpPr>
          <p:spPr>
            <a:xfrm>
              <a:off x="1940181" y="1959680"/>
              <a:ext cx="678066" cy="60016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600" b="0" i="0" u="none" strike="noStrike" kern="1200" cap="none" spc="0" normalizeH="0" baseline="0" noProof="0" dirty="0">
                  <a:ln>
                    <a:noFill/>
                  </a:ln>
                  <a:solidFill>
                    <a:srgbClr val="E60A11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Temperature and Pla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600" b="0" i="0" u="none" strike="noStrike" kern="1200" cap="none" spc="0" normalizeH="0" baseline="0" noProof="0" dirty="0">
                <a:ln>
                  <a:noFill/>
                </a:ln>
                <a:solidFill>
                  <a:srgbClr val="E60A11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l-SI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B4BCC3">
                      <a:lumMod val="50000"/>
                    </a:srgbClr>
                  </a:solidFill>
                  <a:effectLst/>
                  <a:uLnTx/>
                  <a:uFillTx/>
                  <a:latin typeface="Arial Nova" panose="020B0604020202020204" pitchFamily="34" charset="0"/>
                  <a:ea typeface="+mn-ea"/>
                  <a:cs typeface="+mn-cs"/>
                </a:rPr>
                <a:t>Leanheat</a:t>
              </a:r>
              <a:r>
                <a:rPr kumimoji="0" lang="en-GB" sz="1050" b="0" i="0" u="none" strike="noStrike" kern="1200" cap="none" spc="0" normalizeH="0" baseline="30000" noProof="0" dirty="0">
                  <a:ln>
                    <a:noFill/>
                  </a:ln>
                  <a:solidFill>
                    <a:srgbClr val="B4BCC3">
                      <a:lumMod val="50000"/>
                    </a:srgbClr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®</a:t>
              </a:r>
              <a:r>
                <a:rPr kumimoji="0" lang="sl-SI" sz="1050" b="0" i="0" u="none" strike="noStrike" kern="1200" cap="none" spc="0" normalizeH="0" baseline="60000" noProof="0" dirty="0">
                  <a:ln>
                    <a:noFill/>
                  </a:ln>
                  <a:solidFill>
                    <a:srgbClr val="B4BCC3">
                      <a:lumMod val="50000"/>
                    </a:srgbClr>
                  </a:solidFill>
                  <a:effectLst/>
                  <a:uLnTx/>
                  <a:uFillTx/>
                  <a:latin typeface="Arial Nova" panose="020B0604020202020204" pitchFamily="34" charset="0"/>
                  <a:ea typeface="+mn-ea"/>
                  <a:cs typeface="+mn-cs"/>
                </a:rPr>
                <a:t>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l-SI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B4BCC3">
                      <a:lumMod val="50000"/>
                    </a:srgbClr>
                  </a:solidFill>
                  <a:effectLst/>
                  <a:uLnTx/>
                  <a:uFillTx/>
                  <a:latin typeface="Arial Nova" panose="020B0604020202020204" pitchFamily="34" charset="0"/>
                  <a:ea typeface="+mn-ea"/>
                  <a:cs typeface="+mn-cs"/>
                </a:rPr>
                <a:t>Production</a:t>
              </a:r>
              <a:endParaRPr kumimoji="0" lang="da-DK" sz="1050" b="0" i="0" u="none" strike="noStrike" kern="1200" cap="none" spc="0" normalizeH="0" baseline="0" noProof="0" dirty="0">
                <a:ln>
                  <a:noFill/>
                </a:ln>
                <a:solidFill>
                  <a:srgbClr val="B4BCC3">
                    <a:lumMod val="50000"/>
                  </a:srgbClr>
                </a:solidFill>
                <a:effectLst/>
                <a:uLnTx/>
                <a:uFillTx/>
                <a:latin typeface="Arial Nova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78222DE6-CCA8-4B4D-B501-2F49DB62C4C2}"/>
                </a:ext>
              </a:extLst>
            </p:cNvPr>
            <p:cNvSpPr txBox="1"/>
            <p:nvPr/>
          </p:nvSpPr>
          <p:spPr>
            <a:xfrm>
              <a:off x="1939428" y="2635053"/>
              <a:ext cx="367088" cy="6155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400" b="0" i="1" u="none" strike="noStrike" kern="1200" cap="none" spc="0" normalizeH="0" baseline="0" noProof="0" dirty="0">
                  <a:ln>
                    <a:noFill/>
                  </a:ln>
                  <a:solidFill>
                    <a:srgbClr val="B4BCC3">
                      <a:lumMod val="50000"/>
                    </a:srgbClr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In the Market </a:t>
              </a:r>
            </a:p>
          </p:txBody>
        </p:sp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5689094A-A9B1-447C-B391-1BAB4AA24A9A}"/>
              </a:ext>
            </a:extLst>
          </p:cNvPr>
          <p:cNvGrpSpPr/>
          <p:nvPr/>
        </p:nvGrpSpPr>
        <p:grpSpPr>
          <a:xfrm>
            <a:off x="1807538" y="2059173"/>
            <a:ext cx="976183" cy="889686"/>
            <a:chOff x="542828" y="2034970"/>
            <a:chExt cx="976183" cy="889686"/>
          </a:xfrm>
        </p:grpSpPr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0C14E530-9C70-4666-BA1F-5FD2DEF4F2B3}"/>
                </a:ext>
              </a:extLst>
            </p:cNvPr>
            <p:cNvSpPr/>
            <p:nvPr/>
          </p:nvSpPr>
          <p:spPr>
            <a:xfrm>
              <a:off x="542828" y="2034970"/>
              <a:ext cx="976183" cy="889686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B4BCC3">
                    <a:lumMod val="50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836B1B98-8EA2-46F1-B80C-A8F7B213C2D5}"/>
                </a:ext>
              </a:extLst>
            </p:cNvPr>
            <p:cNvSpPr txBox="1"/>
            <p:nvPr/>
          </p:nvSpPr>
          <p:spPr>
            <a:xfrm>
              <a:off x="684977" y="2072815"/>
              <a:ext cx="708527" cy="60016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600" b="0" i="0" u="none" strike="noStrike" kern="1200" cap="none" spc="0" normalizeH="0" baseline="0" noProof="0" dirty="0">
                  <a:ln>
                    <a:noFill/>
                  </a:ln>
                  <a:solidFill>
                    <a:srgbClr val="E60A11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Thermo-hydraulic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600" b="0" i="0" u="none" strike="noStrike" kern="1200" cap="none" spc="0" normalizeH="0" baseline="0" noProof="0" dirty="0">
                  <a:ln>
                    <a:noFill/>
                  </a:ln>
                  <a:solidFill>
                    <a:srgbClr val="E60A11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Modeling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600" b="0" i="0" u="none" strike="noStrike" kern="1200" cap="none" spc="0" normalizeH="0" baseline="0" noProof="0" dirty="0">
                <a:ln>
                  <a:noFill/>
                </a:ln>
                <a:solidFill>
                  <a:srgbClr val="E60A11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l-SI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B4BCC3">
                      <a:lumMod val="50000"/>
                    </a:srgbClr>
                  </a:solidFill>
                  <a:effectLst/>
                  <a:uLnTx/>
                  <a:uFillTx/>
                  <a:latin typeface="Arial Nova" panose="020B0604020202020204" pitchFamily="34" charset="0"/>
                  <a:ea typeface="+mn-ea"/>
                  <a:cs typeface="+mn-cs"/>
                </a:rPr>
                <a:t>Leanheat</a:t>
              </a:r>
              <a:r>
                <a:rPr kumimoji="0" lang="en-GB" sz="1050" b="0" i="0" u="none" strike="noStrike" kern="1200" cap="none" spc="0" normalizeH="0" baseline="30000" noProof="0" dirty="0">
                  <a:ln>
                    <a:noFill/>
                  </a:ln>
                  <a:solidFill>
                    <a:srgbClr val="B4BCC3">
                      <a:lumMod val="50000"/>
                    </a:srgbClr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®</a:t>
              </a:r>
              <a:r>
                <a:rPr kumimoji="0" lang="sl-SI" sz="1050" b="0" i="0" u="none" strike="noStrike" kern="1200" cap="none" spc="0" normalizeH="0" baseline="60000" noProof="0" dirty="0">
                  <a:ln>
                    <a:noFill/>
                  </a:ln>
                  <a:solidFill>
                    <a:srgbClr val="B4BCC3">
                      <a:lumMod val="50000"/>
                    </a:srgbClr>
                  </a:solidFill>
                  <a:effectLst/>
                  <a:uLnTx/>
                  <a:uFillTx/>
                  <a:latin typeface="Arial Nova" panose="020B0604020202020204" pitchFamily="34" charset="0"/>
                  <a:ea typeface="+mn-ea"/>
                  <a:cs typeface="+mn-cs"/>
                </a:rPr>
                <a:t>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l-SI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B4BCC3">
                      <a:lumMod val="50000"/>
                    </a:srgbClr>
                  </a:solidFill>
                  <a:effectLst/>
                  <a:uLnTx/>
                  <a:uFillTx/>
                  <a:latin typeface="Arial Nova" panose="020B0604020202020204" pitchFamily="34" charset="0"/>
                  <a:ea typeface="+mn-ea"/>
                  <a:cs typeface="+mn-cs"/>
                </a:rPr>
                <a:t>Network</a:t>
              </a:r>
              <a:endParaRPr kumimoji="0" lang="da-DK" sz="1050" b="0" i="0" u="none" strike="noStrike" kern="1200" cap="none" spc="0" normalizeH="0" baseline="0" noProof="0" dirty="0">
                <a:ln>
                  <a:noFill/>
                </a:ln>
                <a:solidFill>
                  <a:srgbClr val="B4BCC3">
                    <a:lumMod val="50000"/>
                  </a:srgbClr>
                </a:solidFill>
                <a:effectLst/>
                <a:uLnTx/>
                <a:uFillTx/>
                <a:latin typeface="Arial Nova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45558D4C-D23B-467C-9005-8C8A9ADE1CD7}"/>
                </a:ext>
              </a:extLst>
            </p:cNvPr>
            <p:cNvSpPr txBox="1"/>
            <p:nvPr/>
          </p:nvSpPr>
          <p:spPr>
            <a:xfrm>
              <a:off x="742131" y="2643180"/>
              <a:ext cx="367088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l-SI" sz="400" b="0" i="1" u="none" strike="noStrike" kern="1200" cap="none" spc="0" normalizeH="0" baseline="0" noProof="0" dirty="0">
                <a:ln>
                  <a:noFill/>
                </a:ln>
                <a:solidFill>
                  <a:srgbClr val="B4BCC3">
                    <a:lumMod val="50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400" b="0" i="1" u="none" strike="noStrike" kern="1200" cap="none" spc="0" normalizeH="0" baseline="0" noProof="0" dirty="0">
                <a:ln>
                  <a:noFill/>
                </a:ln>
                <a:solidFill>
                  <a:srgbClr val="B4BCC3">
                    <a:lumMod val="50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400" b="0" i="1" u="none" strike="noStrike" kern="1200" cap="none" spc="0" normalizeH="0" baseline="0" noProof="0" dirty="0">
                  <a:ln>
                    <a:noFill/>
                  </a:ln>
                  <a:solidFill>
                    <a:srgbClr val="B4BCC3">
                      <a:lumMod val="50000"/>
                    </a:srgbClr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In the Market </a:t>
              </a:r>
            </a:p>
          </p:txBody>
        </p:sp>
      </p:grpSp>
      <p:grpSp>
        <p:nvGrpSpPr>
          <p:cNvPr id="66" name="Group 65">
            <a:extLst>
              <a:ext uri="{FF2B5EF4-FFF2-40B4-BE49-F238E27FC236}">
                <a16:creationId xmlns:a16="http://schemas.microsoft.com/office/drawing/2014/main" id="{286D1589-40E3-4951-A3F0-554B27B06DD0}"/>
              </a:ext>
            </a:extLst>
          </p:cNvPr>
          <p:cNvGrpSpPr/>
          <p:nvPr/>
        </p:nvGrpSpPr>
        <p:grpSpPr>
          <a:xfrm>
            <a:off x="2563404" y="3144597"/>
            <a:ext cx="976183" cy="889686"/>
            <a:chOff x="2562076" y="3143267"/>
            <a:chExt cx="976183" cy="889686"/>
          </a:xfrm>
        </p:grpSpPr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340697E0-F313-4F7A-B5F3-73607D223F95}"/>
                </a:ext>
              </a:extLst>
            </p:cNvPr>
            <p:cNvGrpSpPr/>
            <p:nvPr/>
          </p:nvGrpSpPr>
          <p:grpSpPr>
            <a:xfrm>
              <a:off x="2562076" y="3143267"/>
              <a:ext cx="976183" cy="889686"/>
              <a:chOff x="2562076" y="3010747"/>
              <a:chExt cx="976183" cy="889686"/>
            </a:xfrm>
          </p:grpSpPr>
          <p:sp>
            <p:nvSpPr>
              <p:cNvPr id="69" name="Rectangle 68">
                <a:extLst>
                  <a:ext uri="{FF2B5EF4-FFF2-40B4-BE49-F238E27FC236}">
                    <a16:creationId xmlns:a16="http://schemas.microsoft.com/office/drawing/2014/main" id="{6D71765C-2BA6-4DDA-A91B-844B5DBA2C92}"/>
                  </a:ext>
                </a:extLst>
              </p:cNvPr>
              <p:cNvSpPr/>
              <p:nvPr/>
            </p:nvSpPr>
            <p:spPr>
              <a:xfrm>
                <a:off x="2562076" y="3010747"/>
                <a:ext cx="976183" cy="889686"/>
              </a:xfrm>
              <a:prstGeom prst="rect">
                <a:avLst/>
              </a:prstGeom>
              <a:solidFill>
                <a:srgbClr val="FFFFFF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B4BCC3">
                      <a:lumMod val="50000"/>
                    </a:srgbClr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70" name="TextBox 69">
                <a:extLst>
                  <a:ext uri="{FF2B5EF4-FFF2-40B4-BE49-F238E27FC236}">
                    <a16:creationId xmlns:a16="http://schemas.microsoft.com/office/drawing/2014/main" id="{0F175857-E342-48BB-A8C7-503320F4DBA7}"/>
                  </a:ext>
                </a:extLst>
              </p:cNvPr>
              <p:cNvSpPr txBox="1"/>
              <p:nvPr/>
            </p:nvSpPr>
            <p:spPr>
              <a:xfrm>
                <a:off x="2697616" y="3058343"/>
                <a:ext cx="722955" cy="50783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a-DK" sz="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E60A11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rPr>
                  <a:t>System Monitoring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a-DK" sz="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E60A11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rPr>
                  <a:t> 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sl-SI" sz="105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B4BCC3">
                        <a:lumMod val="50000"/>
                      </a:srgbClr>
                    </a:solidFill>
                    <a:effectLst/>
                    <a:uLnTx/>
                    <a:uFillTx/>
                    <a:latin typeface="Arial Nova" panose="020B0604020202020204" pitchFamily="34" charset="0"/>
                    <a:ea typeface="+mn-ea"/>
                    <a:cs typeface="+mn-cs"/>
                  </a:rPr>
                  <a:t>Leanheat</a:t>
                </a:r>
                <a:r>
                  <a:rPr kumimoji="0" lang="en-GB" sz="1050" b="0" i="0" u="none" strike="noStrike" kern="1200" cap="none" spc="0" normalizeH="0" baseline="30000" noProof="0" dirty="0">
                    <a:ln>
                      <a:noFill/>
                    </a:ln>
                    <a:solidFill>
                      <a:srgbClr val="B4BCC3">
                        <a:lumMod val="50000"/>
                      </a:srgbClr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rPr>
                  <a:t>®</a:t>
                </a:r>
                <a:r>
                  <a:rPr kumimoji="0" lang="sl-SI" sz="1050" b="0" i="0" u="none" strike="noStrike" kern="1200" cap="none" spc="0" normalizeH="0" baseline="60000" noProof="0" dirty="0">
                    <a:ln>
                      <a:noFill/>
                    </a:ln>
                    <a:solidFill>
                      <a:srgbClr val="B4BCC3">
                        <a:lumMod val="50000"/>
                      </a:srgbClr>
                    </a:solidFill>
                    <a:effectLst/>
                    <a:uLnTx/>
                    <a:uFillTx/>
                    <a:latin typeface="Arial Nova" panose="020B0604020202020204" pitchFamily="34" charset="0"/>
                    <a:ea typeface="+mn-ea"/>
                    <a:cs typeface="+mn-cs"/>
                  </a:rPr>
                  <a:t> 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sl-SI" sz="105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B4BCC3">
                        <a:lumMod val="50000"/>
                      </a:srgbClr>
                    </a:solidFill>
                    <a:effectLst/>
                    <a:uLnTx/>
                    <a:uFillTx/>
                    <a:latin typeface="Arial Nova" panose="020B0604020202020204" pitchFamily="34" charset="0"/>
                    <a:ea typeface="+mn-ea"/>
                    <a:cs typeface="+mn-cs"/>
                  </a:rPr>
                  <a:t>Monitor</a:t>
                </a:r>
                <a:endParaRPr kumimoji="0" lang="da-DK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B4BCC3">
                      <a:lumMod val="50000"/>
                    </a:srgbClr>
                  </a:solidFill>
                  <a:effectLst/>
                  <a:uLnTx/>
                  <a:uFillTx/>
                  <a:latin typeface="Arial Nova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1" name="TextBox 70">
                <a:extLst>
                  <a:ext uri="{FF2B5EF4-FFF2-40B4-BE49-F238E27FC236}">
                    <a16:creationId xmlns:a16="http://schemas.microsoft.com/office/drawing/2014/main" id="{1BE866D2-409F-4AFE-98F9-D73D3E00B3C1}"/>
                  </a:ext>
                </a:extLst>
              </p:cNvPr>
              <p:cNvSpPr txBox="1"/>
              <p:nvPr/>
            </p:nvSpPr>
            <p:spPr>
              <a:xfrm>
                <a:off x="2664840" y="3759351"/>
                <a:ext cx="367088" cy="61555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a-DK" sz="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B4BCC3">
                        <a:lumMod val="50000"/>
                      </a:srgbClr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rPr>
                  <a:t>In the Market </a:t>
                </a:r>
              </a:p>
            </p:txBody>
          </p:sp>
        </p:grpSp>
        <p:pic>
          <p:nvPicPr>
            <p:cNvPr id="68" name="Picture 13">
              <a:extLst>
                <a:ext uri="{FF2B5EF4-FFF2-40B4-BE49-F238E27FC236}">
                  <a16:creationId xmlns:a16="http://schemas.microsoft.com/office/drawing/2014/main" id="{DEBB50E2-54B0-436D-B964-193F59184F8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01923" y="3704167"/>
              <a:ext cx="493658" cy="3287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id="{2BBC7CA5-686F-997C-29D8-71065EBE5E4C}"/>
              </a:ext>
            </a:extLst>
          </p:cNvPr>
          <p:cNvSpPr txBox="1"/>
          <p:nvPr/>
        </p:nvSpPr>
        <p:spPr>
          <a:xfrm>
            <a:off x="459769" y="1316580"/>
            <a:ext cx="1404359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sr-Latn-BA" sz="1200" dirty="0"/>
              <a:t>Daljinsko grejanje</a:t>
            </a:r>
            <a:endParaRPr lang="da-DK" sz="12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9F22D9D-B5B5-39A9-1E3B-3619C47DB644}"/>
              </a:ext>
            </a:extLst>
          </p:cNvPr>
          <p:cNvSpPr txBox="1"/>
          <p:nvPr/>
        </p:nvSpPr>
        <p:spPr>
          <a:xfrm>
            <a:off x="3265752" y="1316580"/>
            <a:ext cx="936923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sr-Latn-BA" sz="1200" dirty="0"/>
              <a:t>Zgradarstvo</a:t>
            </a:r>
            <a:endParaRPr lang="da-DK" sz="1200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664153BF-F114-368B-AE4B-44836E53A0C2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124092" y="1285026"/>
            <a:ext cx="762066" cy="3231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5223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" name="Pravokotnik 114">
            <a:hlinkClick r:id="" action="ppaction://noaction"/>
          </p:cNvPr>
          <p:cNvSpPr/>
          <p:nvPr/>
        </p:nvSpPr>
        <p:spPr>
          <a:xfrm>
            <a:off x="-9728" y="71081"/>
            <a:ext cx="3588241" cy="64080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l-SI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</a:p>
        </p:txBody>
      </p:sp>
      <p:sp>
        <p:nvSpPr>
          <p:cNvPr id="108" name="Rectangle 99">
            <a:extLst>
              <a:ext uri="{FF2B5EF4-FFF2-40B4-BE49-F238E27FC236}">
                <a16:creationId xmlns:a16="http://schemas.microsoft.com/office/drawing/2014/main" id="{A235EC5E-459B-43AE-AF13-020FC870FCB9}"/>
              </a:ext>
            </a:extLst>
          </p:cNvPr>
          <p:cNvSpPr/>
          <p:nvPr/>
        </p:nvSpPr>
        <p:spPr>
          <a:xfrm>
            <a:off x="-853045" y="93950"/>
            <a:ext cx="9997045" cy="640800"/>
          </a:xfrm>
          <a:custGeom>
            <a:avLst/>
            <a:gdLst>
              <a:gd name="connsiteX0" fmla="*/ 0 w 3590554"/>
              <a:gd name="connsiteY0" fmla="*/ 0 h 640800"/>
              <a:gd name="connsiteX1" fmla="*/ 3590554 w 3590554"/>
              <a:gd name="connsiteY1" fmla="*/ 0 h 640800"/>
              <a:gd name="connsiteX2" fmla="*/ 3590554 w 3590554"/>
              <a:gd name="connsiteY2" fmla="*/ 640800 h 640800"/>
              <a:gd name="connsiteX3" fmla="*/ 0 w 3590554"/>
              <a:gd name="connsiteY3" fmla="*/ 640800 h 640800"/>
              <a:gd name="connsiteX4" fmla="*/ 0 w 3590554"/>
              <a:gd name="connsiteY4" fmla="*/ 0 h 640800"/>
              <a:gd name="connsiteX0" fmla="*/ 0 w 3593306"/>
              <a:gd name="connsiteY0" fmla="*/ 302 h 641102"/>
              <a:gd name="connsiteX1" fmla="*/ 3590554 w 3593306"/>
              <a:gd name="connsiteY1" fmla="*/ 302 h 641102"/>
              <a:gd name="connsiteX2" fmla="*/ 3593306 w 3593306"/>
              <a:gd name="connsiteY2" fmla="*/ 0 h 641102"/>
              <a:gd name="connsiteX3" fmla="*/ 3590554 w 3593306"/>
              <a:gd name="connsiteY3" fmla="*/ 641102 h 641102"/>
              <a:gd name="connsiteX4" fmla="*/ 0 w 3593306"/>
              <a:gd name="connsiteY4" fmla="*/ 641102 h 641102"/>
              <a:gd name="connsiteX5" fmla="*/ 0 w 3593306"/>
              <a:gd name="connsiteY5" fmla="*/ 302 h 641102"/>
              <a:gd name="connsiteX0" fmla="*/ 0 w 3593675"/>
              <a:gd name="connsiteY0" fmla="*/ 302 h 641102"/>
              <a:gd name="connsiteX1" fmla="*/ 3590554 w 3593675"/>
              <a:gd name="connsiteY1" fmla="*/ 302 h 641102"/>
              <a:gd name="connsiteX2" fmla="*/ 3593306 w 3593675"/>
              <a:gd name="connsiteY2" fmla="*/ 0 h 641102"/>
              <a:gd name="connsiteX3" fmla="*/ 3590554 w 3593675"/>
              <a:gd name="connsiteY3" fmla="*/ 641102 h 641102"/>
              <a:gd name="connsiteX4" fmla="*/ 0 w 3593675"/>
              <a:gd name="connsiteY4" fmla="*/ 641102 h 641102"/>
              <a:gd name="connsiteX5" fmla="*/ 0 w 3593675"/>
              <a:gd name="connsiteY5" fmla="*/ 302 h 641102"/>
              <a:gd name="connsiteX0" fmla="*/ 0 w 3860011"/>
              <a:gd name="connsiteY0" fmla="*/ 0 h 640800"/>
              <a:gd name="connsiteX1" fmla="*/ 3590554 w 3860011"/>
              <a:gd name="connsiteY1" fmla="*/ 0 h 640800"/>
              <a:gd name="connsiteX2" fmla="*/ 3860006 w 3860011"/>
              <a:gd name="connsiteY2" fmla="*/ 485473 h 640800"/>
              <a:gd name="connsiteX3" fmla="*/ 3590554 w 3860011"/>
              <a:gd name="connsiteY3" fmla="*/ 640800 h 640800"/>
              <a:gd name="connsiteX4" fmla="*/ 0 w 3860011"/>
              <a:gd name="connsiteY4" fmla="*/ 640800 h 640800"/>
              <a:gd name="connsiteX5" fmla="*/ 0 w 3860011"/>
              <a:gd name="connsiteY5" fmla="*/ 0 h 640800"/>
              <a:gd name="connsiteX0" fmla="*/ 0 w 3733810"/>
              <a:gd name="connsiteY0" fmla="*/ 0 h 640800"/>
              <a:gd name="connsiteX1" fmla="*/ 3590554 w 3733810"/>
              <a:gd name="connsiteY1" fmla="*/ 0 h 640800"/>
              <a:gd name="connsiteX2" fmla="*/ 3733799 w 3733810"/>
              <a:gd name="connsiteY2" fmla="*/ 335454 h 640800"/>
              <a:gd name="connsiteX3" fmla="*/ 3590554 w 3733810"/>
              <a:gd name="connsiteY3" fmla="*/ 640800 h 640800"/>
              <a:gd name="connsiteX4" fmla="*/ 0 w 3733810"/>
              <a:gd name="connsiteY4" fmla="*/ 640800 h 640800"/>
              <a:gd name="connsiteX5" fmla="*/ 0 w 3733810"/>
              <a:gd name="connsiteY5" fmla="*/ 0 h 640800"/>
              <a:gd name="connsiteX0" fmla="*/ 0 w 3762383"/>
              <a:gd name="connsiteY0" fmla="*/ 0 h 640800"/>
              <a:gd name="connsiteX1" fmla="*/ 3590554 w 3762383"/>
              <a:gd name="connsiteY1" fmla="*/ 0 h 640800"/>
              <a:gd name="connsiteX2" fmla="*/ 3762374 w 3762383"/>
              <a:gd name="connsiteY2" fmla="*/ 314023 h 640800"/>
              <a:gd name="connsiteX3" fmla="*/ 3590554 w 3762383"/>
              <a:gd name="connsiteY3" fmla="*/ 640800 h 640800"/>
              <a:gd name="connsiteX4" fmla="*/ 0 w 3762383"/>
              <a:gd name="connsiteY4" fmla="*/ 640800 h 640800"/>
              <a:gd name="connsiteX5" fmla="*/ 0 w 3762383"/>
              <a:gd name="connsiteY5" fmla="*/ 0 h 640800"/>
              <a:gd name="connsiteX0" fmla="*/ 0 w 3762374"/>
              <a:gd name="connsiteY0" fmla="*/ 0 h 640800"/>
              <a:gd name="connsiteX1" fmla="*/ 3590554 w 3762374"/>
              <a:gd name="connsiteY1" fmla="*/ 0 h 640800"/>
              <a:gd name="connsiteX2" fmla="*/ 3762374 w 3762374"/>
              <a:gd name="connsiteY2" fmla="*/ 314023 h 640800"/>
              <a:gd name="connsiteX3" fmla="*/ 3590554 w 3762374"/>
              <a:gd name="connsiteY3" fmla="*/ 640800 h 640800"/>
              <a:gd name="connsiteX4" fmla="*/ 0 w 3762374"/>
              <a:gd name="connsiteY4" fmla="*/ 640800 h 640800"/>
              <a:gd name="connsiteX5" fmla="*/ 0 w 3762374"/>
              <a:gd name="connsiteY5" fmla="*/ 0 h 640800"/>
              <a:gd name="connsiteX0" fmla="*/ 0 w 3762374"/>
              <a:gd name="connsiteY0" fmla="*/ 0 h 640800"/>
              <a:gd name="connsiteX1" fmla="*/ 3590554 w 3762374"/>
              <a:gd name="connsiteY1" fmla="*/ 0 h 640800"/>
              <a:gd name="connsiteX2" fmla="*/ 3762374 w 3762374"/>
              <a:gd name="connsiteY2" fmla="*/ 314023 h 640800"/>
              <a:gd name="connsiteX3" fmla="*/ 3590554 w 3762374"/>
              <a:gd name="connsiteY3" fmla="*/ 640800 h 640800"/>
              <a:gd name="connsiteX4" fmla="*/ 0 w 3762374"/>
              <a:gd name="connsiteY4" fmla="*/ 640800 h 640800"/>
              <a:gd name="connsiteX5" fmla="*/ 0 w 3762374"/>
              <a:gd name="connsiteY5" fmla="*/ 0 h 640800"/>
              <a:gd name="connsiteX0" fmla="*/ 0 w 3762374"/>
              <a:gd name="connsiteY0" fmla="*/ 0 h 640800"/>
              <a:gd name="connsiteX1" fmla="*/ 3590554 w 3762374"/>
              <a:gd name="connsiteY1" fmla="*/ 0 h 640800"/>
              <a:gd name="connsiteX2" fmla="*/ 3762374 w 3762374"/>
              <a:gd name="connsiteY2" fmla="*/ 314023 h 640800"/>
              <a:gd name="connsiteX3" fmla="*/ 3590554 w 3762374"/>
              <a:gd name="connsiteY3" fmla="*/ 640800 h 640800"/>
              <a:gd name="connsiteX4" fmla="*/ 0 w 3762374"/>
              <a:gd name="connsiteY4" fmla="*/ 640800 h 640800"/>
              <a:gd name="connsiteX5" fmla="*/ 0 w 3762374"/>
              <a:gd name="connsiteY5" fmla="*/ 0 h 640800"/>
              <a:gd name="connsiteX0" fmla="*/ 0 w 3762374"/>
              <a:gd name="connsiteY0" fmla="*/ 0 h 640800"/>
              <a:gd name="connsiteX1" fmla="*/ 3590554 w 3762374"/>
              <a:gd name="connsiteY1" fmla="*/ 0 h 640800"/>
              <a:gd name="connsiteX2" fmla="*/ 3762374 w 3762374"/>
              <a:gd name="connsiteY2" fmla="*/ 314023 h 640800"/>
              <a:gd name="connsiteX3" fmla="*/ 3590554 w 3762374"/>
              <a:gd name="connsiteY3" fmla="*/ 640800 h 640800"/>
              <a:gd name="connsiteX4" fmla="*/ 0 w 3762374"/>
              <a:gd name="connsiteY4" fmla="*/ 640800 h 640800"/>
              <a:gd name="connsiteX5" fmla="*/ 0 w 3762374"/>
              <a:gd name="connsiteY5" fmla="*/ 0 h 640800"/>
              <a:gd name="connsiteX0" fmla="*/ 0 w 3767136"/>
              <a:gd name="connsiteY0" fmla="*/ 0 h 640800"/>
              <a:gd name="connsiteX1" fmla="*/ 3590554 w 3767136"/>
              <a:gd name="connsiteY1" fmla="*/ 0 h 640800"/>
              <a:gd name="connsiteX2" fmla="*/ 3767136 w 3767136"/>
              <a:gd name="connsiteY2" fmla="*/ 323548 h 640800"/>
              <a:gd name="connsiteX3" fmla="*/ 3590554 w 3767136"/>
              <a:gd name="connsiteY3" fmla="*/ 640800 h 640800"/>
              <a:gd name="connsiteX4" fmla="*/ 0 w 3767136"/>
              <a:gd name="connsiteY4" fmla="*/ 640800 h 640800"/>
              <a:gd name="connsiteX5" fmla="*/ 0 w 3767136"/>
              <a:gd name="connsiteY5" fmla="*/ 0 h 640800"/>
              <a:gd name="connsiteX0" fmla="*/ 0 w 3767136"/>
              <a:gd name="connsiteY0" fmla="*/ 0 h 640800"/>
              <a:gd name="connsiteX1" fmla="*/ 3590554 w 3767136"/>
              <a:gd name="connsiteY1" fmla="*/ 0 h 640800"/>
              <a:gd name="connsiteX2" fmla="*/ 3767136 w 3767136"/>
              <a:gd name="connsiteY2" fmla="*/ 323548 h 640800"/>
              <a:gd name="connsiteX3" fmla="*/ 3590554 w 3767136"/>
              <a:gd name="connsiteY3" fmla="*/ 640800 h 640800"/>
              <a:gd name="connsiteX4" fmla="*/ 0 w 3767136"/>
              <a:gd name="connsiteY4" fmla="*/ 640800 h 640800"/>
              <a:gd name="connsiteX5" fmla="*/ 0 w 3767136"/>
              <a:gd name="connsiteY5" fmla="*/ 0 h 640800"/>
              <a:gd name="connsiteX0" fmla="*/ 0 w 3767136"/>
              <a:gd name="connsiteY0" fmla="*/ 0 h 640800"/>
              <a:gd name="connsiteX1" fmla="*/ 3590554 w 3767136"/>
              <a:gd name="connsiteY1" fmla="*/ 0 h 640800"/>
              <a:gd name="connsiteX2" fmla="*/ 3767136 w 3767136"/>
              <a:gd name="connsiteY2" fmla="*/ 323548 h 640800"/>
              <a:gd name="connsiteX3" fmla="*/ 3590554 w 3767136"/>
              <a:gd name="connsiteY3" fmla="*/ 640800 h 640800"/>
              <a:gd name="connsiteX4" fmla="*/ 0 w 3767136"/>
              <a:gd name="connsiteY4" fmla="*/ 640800 h 640800"/>
              <a:gd name="connsiteX5" fmla="*/ 0 w 3767136"/>
              <a:gd name="connsiteY5" fmla="*/ 0 h 640800"/>
              <a:gd name="connsiteX0" fmla="*/ 0 w 3590554"/>
              <a:gd name="connsiteY0" fmla="*/ 0 h 640800"/>
              <a:gd name="connsiteX1" fmla="*/ 3590554 w 3590554"/>
              <a:gd name="connsiteY1" fmla="*/ 0 h 640800"/>
              <a:gd name="connsiteX2" fmla="*/ 3590554 w 3590554"/>
              <a:gd name="connsiteY2" fmla="*/ 640800 h 640800"/>
              <a:gd name="connsiteX3" fmla="*/ 0 w 3590554"/>
              <a:gd name="connsiteY3" fmla="*/ 640800 h 640800"/>
              <a:gd name="connsiteX4" fmla="*/ 0 w 3590554"/>
              <a:gd name="connsiteY4" fmla="*/ 0 h 640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90554" h="640800">
                <a:moveTo>
                  <a:pt x="0" y="0"/>
                </a:moveTo>
                <a:lnTo>
                  <a:pt x="3590554" y="0"/>
                </a:lnTo>
                <a:lnTo>
                  <a:pt x="3590554" y="640800"/>
                </a:lnTo>
                <a:lnTo>
                  <a:pt x="0" y="640800"/>
                </a:lnTo>
                <a:lnTo>
                  <a:pt x="0" y="0"/>
                </a:lnTo>
                <a:close/>
              </a:path>
            </a:pathLst>
          </a:custGeom>
          <a:solidFill>
            <a:schemeClr val="bg2">
              <a:lumMod val="60000"/>
              <a:lumOff val="40000"/>
              <a:alpha val="32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9" name="Rectangle 98">
            <a:extLst>
              <a:ext uri="{FF2B5EF4-FFF2-40B4-BE49-F238E27FC236}">
                <a16:creationId xmlns:a16="http://schemas.microsoft.com/office/drawing/2014/main" id="{EA530C59-B890-40C2-926B-BA4A08962C6C}"/>
              </a:ext>
            </a:extLst>
          </p:cNvPr>
          <p:cNvSpPr/>
          <p:nvPr/>
        </p:nvSpPr>
        <p:spPr>
          <a:xfrm>
            <a:off x="284987" y="3887458"/>
            <a:ext cx="4219901" cy="46166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r-Latn-BA" sz="2400" b="1" i="0" u="none" strike="noStrike" kern="0" cap="none" spc="0" normalizeH="0" baseline="0" noProof="0" dirty="0">
                <a:ln>
                  <a:noFill/>
                </a:ln>
                <a:solidFill>
                  <a:srgbClr val="E60A1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Hvala na pažnji</a:t>
            </a: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srgbClr val="878786">
                  <a:lumMod val="50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3" name="Pravokotnik 72">
            <a:hlinkClick r:id="" action="ppaction://noaction"/>
          </p:cNvPr>
          <p:cNvSpPr/>
          <p:nvPr/>
        </p:nvSpPr>
        <p:spPr>
          <a:xfrm>
            <a:off x="1" y="1952906"/>
            <a:ext cx="704177" cy="848213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l-SI" sz="18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4" name="Pravokotnik 73">
            <a:hlinkClick r:id="" action="ppaction://noaction"/>
          </p:cNvPr>
          <p:cNvSpPr/>
          <p:nvPr/>
        </p:nvSpPr>
        <p:spPr>
          <a:xfrm>
            <a:off x="1" y="2922419"/>
            <a:ext cx="704177" cy="848213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l-SI" sz="18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175440F1-6520-49B3-B6F9-1D1E101AC253}"/>
              </a:ext>
            </a:extLst>
          </p:cNvPr>
          <p:cNvSpPr/>
          <p:nvPr/>
        </p:nvSpPr>
        <p:spPr>
          <a:xfrm>
            <a:off x="352089" y="4338018"/>
            <a:ext cx="4661155" cy="296933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l-SI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ilip.zardin@danfoss.com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" name="Rectangle 98">
            <a:extLst>
              <a:ext uri="{FF2B5EF4-FFF2-40B4-BE49-F238E27FC236}">
                <a16:creationId xmlns:a16="http://schemas.microsoft.com/office/drawing/2014/main" id="{AEE6D64A-3A50-4BDF-8E2C-ACD10DC97C0B}"/>
              </a:ext>
            </a:extLst>
          </p:cNvPr>
          <p:cNvSpPr/>
          <p:nvPr/>
        </p:nvSpPr>
        <p:spPr>
          <a:xfrm>
            <a:off x="889404" y="110379"/>
            <a:ext cx="7947298" cy="553998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anfoss </a:t>
            </a:r>
            <a:r>
              <a:rPr kumimoji="0" lang="sr-Latn-BA" sz="16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limate Solutions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sr-Latn-BA" sz="1600" b="1" i="0" u="none" strike="noStrike" kern="0" cap="none" spc="0" normalizeH="0" baseline="0" noProof="0" dirty="0">
                <a:ln>
                  <a:noFill/>
                </a:ln>
                <a:solidFill>
                  <a:srgbClr val="E60A1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Vaš pouzdan partner</a:t>
            </a:r>
            <a:r>
              <a:rPr kumimoji="0" lang="sl-SI" sz="1600" b="1" i="0" u="none" strike="noStrike" kern="0" cap="none" spc="0" normalizeH="0" baseline="0" noProof="0" dirty="0">
                <a:ln>
                  <a:noFill/>
                </a:ln>
                <a:solidFill>
                  <a:srgbClr val="E60A1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                                                 </a:t>
            </a:r>
            <a:r>
              <a:rPr lang="sr-Latn-BA" sz="1400" kern="0" dirty="0">
                <a:solidFill>
                  <a:srgbClr val="000000">
                    <a:lumMod val="65000"/>
                    <a:lumOff val="35000"/>
                  </a:srgbClr>
                </a:solidFill>
                <a:latin typeface="Verdana"/>
              </a:rPr>
              <a:t>I</a:t>
            </a:r>
            <a:r>
              <a:rPr kumimoji="0" lang="sr-Latn-BA" sz="14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ntegracija </a:t>
            </a:r>
            <a:r>
              <a:rPr kumimoji="0" lang="sr-Latn-BA" sz="1400" b="1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obnovljivih izvora </a:t>
            </a:r>
            <a:r>
              <a:rPr kumimoji="0" lang="sr-Latn-BA" sz="14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u tradicionalne</a:t>
            </a:r>
            <a:r>
              <a:rPr kumimoji="0" lang="sr-Latn-BA" sz="1400" b="0" i="0" u="none" strike="noStrike" kern="0" cap="none" spc="0" normalizeH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sisteme daljinskog grejanja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" name="Arrow: Right 100">
            <a:extLst>
              <a:ext uri="{FF2B5EF4-FFF2-40B4-BE49-F238E27FC236}">
                <a16:creationId xmlns:a16="http://schemas.microsoft.com/office/drawing/2014/main" id="{AD7EA9FF-D035-48EB-A38D-D08A1E6ED458}"/>
              </a:ext>
            </a:extLst>
          </p:cNvPr>
          <p:cNvSpPr/>
          <p:nvPr/>
        </p:nvSpPr>
        <p:spPr>
          <a:xfrm>
            <a:off x="0" y="66977"/>
            <a:ext cx="889200" cy="640800"/>
          </a:xfrm>
          <a:prstGeom prst="rightArrow">
            <a:avLst>
              <a:gd name="adj1" fmla="val 100000"/>
              <a:gd name="adj2" fmla="val 27281"/>
            </a:avLst>
          </a:prstGeom>
          <a:gradFill flip="none" rotWithShape="1">
            <a:gsLst>
              <a:gs pos="0">
                <a:schemeClr val="accent2">
                  <a:shade val="30000"/>
                  <a:satMod val="115000"/>
                  <a:lumMod val="85000"/>
                  <a:lumOff val="15000"/>
                </a:schemeClr>
              </a:gs>
              <a:gs pos="10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0" scaled="1"/>
            <a:tileRect/>
          </a:gradFill>
          <a:ln w="9525">
            <a:noFill/>
          </a:ln>
          <a:effectLst>
            <a:outerShdw blurRad="127000" dist="38100" algn="l" rotWithShape="0">
              <a:prstClr val="black">
                <a:alpha val="5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pic>
        <p:nvPicPr>
          <p:cNvPr id="14" name="Slika 1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7882" y="1345348"/>
            <a:ext cx="7360857" cy="2656137"/>
          </a:xfrm>
          <a:prstGeom prst="rect">
            <a:avLst/>
          </a:prstGeom>
        </p:spPr>
      </p:pic>
      <p:pic>
        <p:nvPicPr>
          <p:cNvPr id="2" name="Picture 1" descr="A qr code on a screen&#10;&#10;AI-generated content may be incorrect.">
            <a:extLst>
              <a:ext uri="{FF2B5EF4-FFF2-40B4-BE49-F238E27FC236}">
                <a16:creationId xmlns:a16="http://schemas.microsoft.com/office/drawing/2014/main" id="{4D483729-0CF3-54E9-A1FA-88FCDE1DFC2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528" t="37865" r="10131" b="7902"/>
          <a:stretch/>
        </p:blipFill>
        <p:spPr>
          <a:xfrm>
            <a:off x="6030068" y="1795132"/>
            <a:ext cx="1788743" cy="1756567"/>
          </a:xfrm>
          <a:prstGeom prst="rect">
            <a:avLst/>
          </a:prstGeom>
        </p:spPr>
      </p:pic>
      <p:pic>
        <p:nvPicPr>
          <p:cNvPr id="3" name="Picture 2" descr="A red sign with white text&#10;&#10;AI-generated content may be incorrect.">
            <a:extLst>
              <a:ext uri="{FF2B5EF4-FFF2-40B4-BE49-F238E27FC236}">
                <a16:creationId xmlns:a16="http://schemas.microsoft.com/office/drawing/2014/main" id="{3766342A-A563-05FB-C781-C01AAFDEBCC0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42150" y="4001483"/>
            <a:ext cx="1203205" cy="527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202877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7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1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63" presetClass="path" presetSubtype="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8.33333E-7 1.35802E-6 L 0.05625 1.35802E-6 " pathEditMode="relative" rAng="0" ptsTypes="AA">
                                      <p:cBhvr>
                                        <p:cTn id="17" dur="750" spd="-100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812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250"/>
                            </p:stCondLst>
                            <p:childTnLst>
                              <p:par>
                                <p:cTn id="1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750"/>
                            </p:stCondLst>
                            <p:childTnLst>
                              <p:par>
                                <p:cTn id="2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250"/>
                            </p:stCondLst>
                            <p:childTnLst>
                              <p:par>
                                <p:cTn id="2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8" grpId="0" animBg="1"/>
      <p:bldP spid="109" grpId="0"/>
      <p:bldP spid="76" grpId="0"/>
      <p:bldP spid="20" grpId="0"/>
      <p:bldP spid="20" grpId="1"/>
      <p:bldP spid="11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68D2D99-0288-CE5A-A7BB-96FD814AF9D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Box 28">
            <a:extLst>
              <a:ext uri="{FF2B5EF4-FFF2-40B4-BE49-F238E27FC236}">
                <a16:creationId xmlns:a16="http://schemas.microsoft.com/office/drawing/2014/main" id="{F1869B53-DA7E-494B-2312-F4B0A33E8305}"/>
              </a:ext>
            </a:extLst>
          </p:cNvPr>
          <p:cNvSpPr txBox="1"/>
          <p:nvPr/>
        </p:nvSpPr>
        <p:spPr>
          <a:xfrm>
            <a:off x="2547047" y="746321"/>
            <a:ext cx="1898158" cy="101566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685766">
              <a:defRPr/>
            </a:pPr>
            <a:r>
              <a:rPr lang="sr-Latn-RS" sz="1200" dirty="0">
                <a:solidFill>
                  <a:srgbClr val="000000"/>
                </a:solidFill>
                <a:latin typeface="Tenorite" panose="00000500000000000000" pitchFamily="2" charset="0"/>
              </a:rPr>
              <a:t>Prisutni poslovni segmenti</a:t>
            </a:r>
            <a:endParaRPr lang="en-US" sz="1200" dirty="0">
              <a:solidFill>
                <a:srgbClr val="000000"/>
              </a:solidFill>
              <a:latin typeface="Tenorite" panose="00000500000000000000" pitchFamily="2" charset="0"/>
            </a:endParaRPr>
          </a:p>
          <a:p>
            <a:pPr algn="ctr" defTabSz="685766">
              <a:defRPr/>
            </a:pPr>
            <a:endParaRPr lang="en-US" sz="900" b="1" dirty="0">
              <a:solidFill>
                <a:srgbClr val="E60A11"/>
              </a:solidFill>
              <a:latin typeface="Tenorite" panose="00000500000000000000" pitchFamily="2" charset="0"/>
            </a:endParaRPr>
          </a:p>
          <a:p>
            <a:pPr algn="ctr" defTabSz="685766">
              <a:defRPr/>
            </a:pPr>
            <a:endParaRPr lang="en-US" sz="900" b="1" dirty="0">
              <a:solidFill>
                <a:srgbClr val="E60A11"/>
              </a:solidFill>
              <a:latin typeface="Tenorite" panose="00000500000000000000" pitchFamily="2" charset="0"/>
            </a:endParaRPr>
          </a:p>
          <a:p>
            <a:pPr algn="ctr" defTabSz="685766">
              <a:defRPr/>
            </a:pPr>
            <a:r>
              <a:rPr lang="en-US" sz="1500" b="1" dirty="0">
                <a:solidFill>
                  <a:srgbClr val="E60A11"/>
                </a:solidFill>
                <a:latin typeface="Tenorite" panose="00000500000000000000" pitchFamily="2" charset="0"/>
              </a:rPr>
              <a:t>Climate Solutions</a:t>
            </a:r>
          </a:p>
          <a:p>
            <a:pPr algn="ctr" defTabSz="685766">
              <a:defRPr/>
            </a:pPr>
            <a:endParaRPr lang="en-US" sz="1050" b="1" dirty="0">
              <a:solidFill>
                <a:srgbClr val="E60A11"/>
              </a:solidFill>
              <a:latin typeface="Tenorite" panose="00000500000000000000" pitchFamily="2" charset="0"/>
            </a:endParaRPr>
          </a:p>
          <a:p>
            <a:pPr algn="ctr" defTabSz="685766">
              <a:defRPr/>
            </a:pPr>
            <a:r>
              <a:rPr lang="en-US" sz="1050" b="1" dirty="0">
                <a:solidFill>
                  <a:srgbClr val="E60A11"/>
                </a:solidFill>
                <a:latin typeface="Tenorite" panose="00000500000000000000" pitchFamily="2" charset="0"/>
              </a:rPr>
              <a:t>Power Electronics and Drives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AE8C0CC-F6EA-CDAB-BBCA-73E44C32AC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6502" y="214065"/>
            <a:ext cx="8311572" cy="326575"/>
          </a:xfrm>
        </p:spPr>
        <p:txBody>
          <a:bodyPr/>
          <a:lstStyle/>
          <a:p>
            <a:r>
              <a:rPr lang="en-US" sz="2000" b="1" dirty="0">
                <a:solidFill>
                  <a:srgbClr val="FF0000"/>
                </a:solidFill>
                <a:latin typeface="72" panose="020B0503030000000003" pitchFamily="34" charset="0"/>
                <a:cs typeface="72" panose="020B0503030000000003" pitchFamily="34" charset="0"/>
              </a:rPr>
              <a:t>Danfoss </a:t>
            </a:r>
            <a:r>
              <a:rPr lang="sr-Latn-RS" sz="2000" b="1" dirty="0">
                <a:solidFill>
                  <a:srgbClr val="FF0000"/>
                </a:solidFill>
                <a:latin typeface="72" panose="020B0503030000000003" pitchFamily="34" charset="0"/>
                <a:cs typeface="72" panose="020B0503030000000003" pitchFamily="34" charset="0"/>
              </a:rPr>
              <a:t>d.o.o.</a:t>
            </a:r>
            <a:r>
              <a:rPr lang="sr-Latn-RS" sz="2000" dirty="0">
                <a:latin typeface="72" panose="020B0503030000000003" pitchFamily="34" charset="0"/>
                <a:cs typeface="72" panose="020B0503030000000003" pitchFamily="34" charset="0"/>
              </a:rPr>
              <a:t> </a:t>
            </a:r>
            <a:r>
              <a:rPr lang="sl-SI" sz="2000" b="0" dirty="0">
                <a:solidFill>
                  <a:schemeClr val="accent6"/>
                </a:solidFill>
                <a:latin typeface="72" panose="020B0503030000000003" pitchFamily="34" charset="0"/>
                <a:cs typeface="72" panose="020B0503030000000003" pitchFamily="34" charset="0"/>
              </a:rPr>
              <a:t>ko smo mi?</a:t>
            </a:r>
            <a:endParaRPr lang="en-US" sz="2000" b="0" dirty="0">
              <a:solidFill>
                <a:schemeClr val="accent6"/>
              </a:solidFill>
              <a:latin typeface="72" panose="020B0503030000000003" pitchFamily="34" charset="0"/>
              <a:cs typeface="72" panose="020B0503030000000003" pitchFamily="34" charset="0"/>
            </a:endParaRPr>
          </a:p>
        </p:txBody>
      </p:sp>
      <p:sp>
        <p:nvSpPr>
          <p:cNvPr id="18" name="TextBox 53">
            <a:extLst>
              <a:ext uri="{FF2B5EF4-FFF2-40B4-BE49-F238E27FC236}">
                <a16:creationId xmlns:a16="http://schemas.microsoft.com/office/drawing/2014/main" id="{29236B23-5466-F7B1-C973-83C004E0CFC0}"/>
              </a:ext>
            </a:extLst>
          </p:cNvPr>
          <p:cNvSpPr txBox="1"/>
          <p:nvPr/>
        </p:nvSpPr>
        <p:spPr>
          <a:xfrm>
            <a:off x="287550" y="3073390"/>
            <a:ext cx="2209109" cy="5078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685766">
              <a:defRPr/>
            </a:pPr>
            <a:r>
              <a:rPr lang="sr-Latn-RS" sz="3300" dirty="0">
                <a:solidFill>
                  <a:srgbClr val="E60A11"/>
                </a:solidFill>
                <a:latin typeface="Verdana"/>
              </a:rPr>
              <a:t>33</a:t>
            </a:r>
            <a:endParaRPr lang="en-US" sz="3300" dirty="0">
              <a:solidFill>
                <a:srgbClr val="E60A11"/>
              </a:solidFill>
              <a:latin typeface="Verdana"/>
            </a:endParaRPr>
          </a:p>
        </p:txBody>
      </p:sp>
      <p:sp>
        <p:nvSpPr>
          <p:cNvPr id="19" name="TextBox 28">
            <a:extLst>
              <a:ext uri="{FF2B5EF4-FFF2-40B4-BE49-F238E27FC236}">
                <a16:creationId xmlns:a16="http://schemas.microsoft.com/office/drawing/2014/main" id="{251C4B17-09A1-754B-8AAD-B55FFC400078}"/>
              </a:ext>
            </a:extLst>
          </p:cNvPr>
          <p:cNvSpPr txBox="1"/>
          <p:nvPr/>
        </p:nvSpPr>
        <p:spPr>
          <a:xfrm>
            <a:off x="671064" y="3630452"/>
            <a:ext cx="1520771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685766">
              <a:defRPr/>
            </a:pPr>
            <a:r>
              <a:rPr lang="sl-SI" sz="1200" dirty="0">
                <a:solidFill>
                  <a:srgbClr val="000000"/>
                </a:solidFill>
                <a:latin typeface="Tenorite" panose="00000500000000000000" pitchFamily="2" charset="0"/>
              </a:rPr>
              <a:t>Zaposlenih u Srbiji </a:t>
            </a:r>
          </a:p>
        </p:txBody>
      </p:sp>
      <p:cxnSp>
        <p:nvCxnSpPr>
          <p:cNvPr id="21" name="Straight Connector 33">
            <a:extLst>
              <a:ext uri="{FF2B5EF4-FFF2-40B4-BE49-F238E27FC236}">
                <a16:creationId xmlns:a16="http://schemas.microsoft.com/office/drawing/2014/main" id="{631852C5-7EF1-052B-76A8-460FE7419654}"/>
              </a:ext>
            </a:extLst>
          </p:cNvPr>
          <p:cNvCxnSpPr>
            <a:cxnSpLocks/>
          </p:cNvCxnSpPr>
          <p:nvPr/>
        </p:nvCxnSpPr>
        <p:spPr>
          <a:xfrm flipV="1">
            <a:off x="2496658" y="2797024"/>
            <a:ext cx="0" cy="137700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33">
            <a:extLst>
              <a:ext uri="{FF2B5EF4-FFF2-40B4-BE49-F238E27FC236}">
                <a16:creationId xmlns:a16="http://schemas.microsoft.com/office/drawing/2014/main" id="{FC5124A6-3C6E-6197-2D8C-85BAC0D744C0}"/>
              </a:ext>
            </a:extLst>
          </p:cNvPr>
          <p:cNvCxnSpPr>
            <a:cxnSpLocks/>
          </p:cNvCxnSpPr>
          <p:nvPr/>
        </p:nvCxnSpPr>
        <p:spPr>
          <a:xfrm flipV="1">
            <a:off x="4561335" y="2797024"/>
            <a:ext cx="0" cy="137700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33">
            <a:extLst>
              <a:ext uri="{FF2B5EF4-FFF2-40B4-BE49-F238E27FC236}">
                <a16:creationId xmlns:a16="http://schemas.microsoft.com/office/drawing/2014/main" id="{FFE123C4-5131-779F-328F-3BEC2F6FB996}"/>
              </a:ext>
            </a:extLst>
          </p:cNvPr>
          <p:cNvCxnSpPr>
            <a:cxnSpLocks/>
          </p:cNvCxnSpPr>
          <p:nvPr/>
        </p:nvCxnSpPr>
        <p:spPr>
          <a:xfrm flipV="1">
            <a:off x="6691755" y="2797024"/>
            <a:ext cx="0" cy="137700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33">
            <a:extLst>
              <a:ext uri="{FF2B5EF4-FFF2-40B4-BE49-F238E27FC236}">
                <a16:creationId xmlns:a16="http://schemas.microsoft.com/office/drawing/2014/main" id="{2BA20512-32CD-D727-42E2-669722D311A9}"/>
              </a:ext>
            </a:extLst>
          </p:cNvPr>
          <p:cNvCxnSpPr>
            <a:cxnSpLocks/>
          </p:cNvCxnSpPr>
          <p:nvPr/>
        </p:nvCxnSpPr>
        <p:spPr>
          <a:xfrm flipV="1">
            <a:off x="4561335" y="744535"/>
            <a:ext cx="0" cy="137700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33">
            <a:extLst>
              <a:ext uri="{FF2B5EF4-FFF2-40B4-BE49-F238E27FC236}">
                <a16:creationId xmlns:a16="http://schemas.microsoft.com/office/drawing/2014/main" id="{44705C2D-B113-9300-26D3-89D92AF47901}"/>
              </a:ext>
            </a:extLst>
          </p:cNvPr>
          <p:cNvCxnSpPr>
            <a:cxnSpLocks/>
          </p:cNvCxnSpPr>
          <p:nvPr/>
        </p:nvCxnSpPr>
        <p:spPr>
          <a:xfrm flipV="1">
            <a:off x="6691755" y="744535"/>
            <a:ext cx="0" cy="137700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53">
            <a:extLst>
              <a:ext uri="{FF2B5EF4-FFF2-40B4-BE49-F238E27FC236}">
                <a16:creationId xmlns:a16="http://schemas.microsoft.com/office/drawing/2014/main" id="{7B95D4CA-544C-93B0-D851-F2551A1EB16F}"/>
              </a:ext>
            </a:extLst>
          </p:cNvPr>
          <p:cNvSpPr txBox="1"/>
          <p:nvPr/>
        </p:nvSpPr>
        <p:spPr>
          <a:xfrm>
            <a:off x="2864411" y="3073390"/>
            <a:ext cx="1310012" cy="5078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685766">
              <a:defRPr/>
            </a:pPr>
            <a:r>
              <a:rPr lang="sr-Latn-RS" sz="3300" dirty="0">
                <a:solidFill>
                  <a:srgbClr val="E60A11"/>
                </a:solidFill>
                <a:latin typeface="Verdana"/>
              </a:rPr>
              <a:t>1997</a:t>
            </a:r>
            <a:endParaRPr lang="en-US" sz="3300" dirty="0">
              <a:solidFill>
                <a:srgbClr val="E60A11"/>
              </a:solidFill>
              <a:latin typeface="Verdana"/>
            </a:endParaRPr>
          </a:p>
        </p:txBody>
      </p:sp>
      <p:sp>
        <p:nvSpPr>
          <p:cNvPr id="47" name="TextBox 28">
            <a:extLst>
              <a:ext uri="{FF2B5EF4-FFF2-40B4-BE49-F238E27FC236}">
                <a16:creationId xmlns:a16="http://schemas.microsoft.com/office/drawing/2014/main" id="{DDC6D1DC-180C-8C44-282E-A567C1B016D9}"/>
              </a:ext>
            </a:extLst>
          </p:cNvPr>
          <p:cNvSpPr txBox="1"/>
          <p:nvPr/>
        </p:nvSpPr>
        <p:spPr>
          <a:xfrm>
            <a:off x="2856005" y="3634248"/>
            <a:ext cx="1883139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685766">
              <a:defRPr/>
            </a:pPr>
            <a:r>
              <a:rPr lang="sr-Latn-RS" sz="1200" dirty="0">
                <a:solidFill>
                  <a:srgbClr val="000000"/>
                </a:solidFill>
                <a:latin typeface="Tenorite" panose="00000500000000000000" pitchFamily="2" charset="0"/>
              </a:rPr>
              <a:t>Danfoss kancelarija u Beogradu počela je sa radom pre 28 godina</a:t>
            </a:r>
            <a:endParaRPr lang="en-US" sz="1200" dirty="0">
              <a:solidFill>
                <a:srgbClr val="000000"/>
              </a:solidFill>
              <a:latin typeface="Tenorite" panose="00000500000000000000" pitchFamily="2" charset="0"/>
            </a:endParaRPr>
          </a:p>
        </p:txBody>
      </p:sp>
      <p:sp>
        <p:nvSpPr>
          <p:cNvPr id="49" name="TextBox 28">
            <a:extLst>
              <a:ext uri="{FF2B5EF4-FFF2-40B4-BE49-F238E27FC236}">
                <a16:creationId xmlns:a16="http://schemas.microsoft.com/office/drawing/2014/main" id="{4D8426C2-4C98-65B5-17DE-F3473DED1C43}"/>
              </a:ext>
            </a:extLst>
          </p:cNvPr>
          <p:cNvSpPr txBox="1"/>
          <p:nvPr/>
        </p:nvSpPr>
        <p:spPr>
          <a:xfrm>
            <a:off x="4663298" y="3837131"/>
            <a:ext cx="2128346" cy="10849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685766">
              <a:defRPr/>
            </a:pPr>
            <a:r>
              <a:rPr lang="sl-SI" sz="1200" dirty="0">
                <a:solidFill>
                  <a:srgbClr val="000000"/>
                </a:solidFill>
                <a:latin typeface="Tenorite" panose="00000500000000000000" pitchFamily="2" charset="0"/>
              </a:rPr>
              <a:t>Danfoss d.o.o.</a:t>
            </a:r>
          </a:p>
          <a:p>
            <a:pPr defTabSz="685766">
              <a:defRPr/>
            </a:pPr>
            <a:r>
              <a:rPr lang="sl-SI" sz="1200" dirty="0">
                <a:solidFill>
                  <a:srgbClr val="000000"/>
                </a:solidFill>
                <a:latin typeface="Tenorite" panose="00000500000000000000" pitchFamily="2" charset="0"/>
              </a:rPr>
              <a:t>Đorđa Stanojevića 12</a:t>
            </a:r>
          </a:p>
          <a:p>
            <a:pPr defTabSz="685766">
              <a:defRPr/>
            </a:pPr>
            <a:r>
              <a:rPr lang="sl-SI" sz="1200" dirty="0">
                <a:solidFill>
                  <a:srgbClr val="000000"/>
                </a:solidFill>
                <a:latin typeface="Tenorite" panose="00000500000000000000" pitchFamily="2" charset="0"/>
              </a:rPr>
              <a:t>11000 Beograd</a:t>
            </a:r>
          </a:p>
          <a:p>
            <a:pPr defTabSz="685766">
              <a:defRPr/>
            </a:pPr>
            <a:r>
              <a:rPr lang="sl-SI" sz="1200" dirty="0">
                <a:solidFill>
                  <a:srgbClr val="000000"/>
                </a:solidFill>
                <a:latin typeface="Tenorite" panose="00000500000000000000" pitchFamily="2" charset="0"/>
              </a:rPr>
              <a:t>Tel: 060/2098559</a:t>
            </a:r>
          </a:p>
          <a:p>
            <a:pPr defTabSz="685766">
              <a:defRPr/>
            </a:pPr>
            <a:r>
              <a:rPr lang="sl-SI" sz="1200" dirty="0">
                <a:solidFill>
                  <a:srgbClr val="000000"/>
                </a:solidFill>
                <a:latin typeface="Tenorite" panose="00000500000000000000" pitchFamily="2" charset="0"/>
              </a:rPr>
              <a:t>mail: </a:t>
            </a:r>
            <a:r>
              <a:rPr lang="sl-SI" sz="1200" dirty="0">
                <a:solidFill>
                  <a:srgbClr val="FF0000"/>
                </a:solidFill>
                <a:latin typeface="Tenorite" panose="00000500000000000000" pitchFamily="2" charset="0"/>
              </a:rPr>
              <a:t>filip.zardin@danfoss.com</a:t>
            </a:r>
          </a:p>
          <a:p>
            <a:pPr algn="ctr" defTabSz="685766">
              <a:defRPr/>
            </a:pPr>
            <a:endParaRPr lang="sl-SI" sz="1050" dirty="0">
              <a:solidFill>
                <a:srgbClr val="000000"/>
              </a:solidFill>
              <a:latin typeface="Verdana"/>
            </a:endParaRPr>
          </a:p>
        </p:txBody>
      </p:sp>
      <p:pic>
        <p:nvPicPr>
          <p:cNvPr id="1026" name="Picture 2" descr="Premium Vector | Vector Illustration of the red Map of ...">
            <a:extLst>
              <a:ext uri="{FF2B5EF4-FFF2-40B4-BE49-F238E27FC236}">
                <a16:creationId xmlns:a16="http://schemas.microsoft.com/office/drawing/2014/main" id="{DEF78AC7-BF05-59A6-4909-322F5B6B8C7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951" t="8332" r="15253" b="2835"/>
          <a:stretch/>
        </p:blipFill>
        <p:spPr bwMode="auto">
          <a:xfrm>
            <a:off x="327979" y="653457"/>
            <a:ext cx="1963598" cy="23636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28">
            <a:extLst>
              <a:ext uri="{FF2B5EF4-FFF2-40B4-BE49-F238E27FC236}">
                <a16:creationId xmlns:a16="http://schemas.microsoft.com/office/drawing/2014/main" id="{98F2DF33-7453-4842-CFC1-FD9472C4D9B6}"/>
              </a:ext>
            </a:extLst>
          </p:cNvPr>
          <p:cNvSpPr txBox="1"/>
          <p:nvPr/>
        </p:nvSpPr>
        <p:spPr>
          <a:xfrm>
            <a:off x="4628943" y="763404"/>
            <a:ext cx="1898158" cy="99257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685766">
              <a:defRPr/>
            </a:pPr>
            <a:r>
              <a:rPr lang="sr-Latn-RS" sz="1200" dirty="0">
                <a:solidFill>
                  <a:srgbClr val="000000"/>
                </a:solidFill>
                <a:latin typeface="Tenorite" panose="00000500000000000000" pitchFamily="2" charset="0"/>
              </a:rPr>
              <a:t>Danfoss Climate Solutions</a:t>
            </a:r>
            <a:endParaRPr lang="en-US" sz="1200" dirty="0">
              <a:solidFill>
                <a:srgbClr val="000000"/>
              </a:solidFill>
              <a:latin typeface="Tenorite" panose="00000500000000000000" pitchFamily="2" charset="0"/>
            </a:endParaRPr>
          </a:p>
          <a:p>
            <a:pPr algn="ctr" defTabSz="685766">
              <a:defRPr/>
            </a:pPr>
            <a:endParaRPr lang="en-US" sz="900" b="1" dirty="0">
              <a:solidFill>
                <a:srgbClr val="E60A11"/>
              </a:solidFill>
              <a:latin typeface="Tenorite" panose="00000500000000000000" pitchFamily="2" charset="0"/>
            </a:endParaRPr>
          </a:p>
          <a:p>
            <a:pPr algn="ctr" defTabSz="685766">
              <a:defRPr/>
            </a:pPr>
            <a:endParaRPr lang="en-US" sz="900" b="1" dirty="0">
              <a:solidFill>
                <a:srgbClr val="E60A11"/>
              </a:solidFill>
              <a:latin typeface="Tenorite" panose="00000500000000000000" pitchFamily="2" charset="0"/>
            </a:endParaRPr>
          </a:p>
          <a:p>
            <a:pPr algn="ctr" defTabSz="685766">
              <a:defRPr/>
            </a:pPr>
            <a:r>
              <a:rPr lang="sr-Latn-RS" sz="1500" b="1" dirty="0">
                <a:solidFill>
                  <a:srgbClr val="E60A11"/>
                </a:solidFill>
                <a:latin typeface="Tenorite" panose="00000500000000000000" pitchFamily="2" charset="0"/>
              </a:rPr>
              <a:t>District Energy</a:t>
            </a:r>
            <a:endParaRPr lang="en-US" sz="1500" b="1" dirty="0">
              <a:solidFill>
                <a:srgbClr val="E60A11"/>
              </a:solidFill>
              <a:latin typeface="Tenorite" panose="00000500000000000000" pitchFamily="2" charset="0"/>
            </a:endParaRPr>
          </a:p>
          <a:p>
            <a:pPr algn="ctr" defTabSz="685766">
              <a:defRPr/>
            </a:pPr>
            <a:endParaRPr lang="en-US" sz="900" b="1" dirty="0">
              <a:solidFill>
                <a:srgbClr val="E60A11"/>
              </a:solidFill>
              <a:latin typeface="Tenorite" panose="00000500000000000000" pitchFamily="2" charset="0"/>
            </a:endParaRPr>
          </a:p>
          <a:p>
            <a:pPr algn="ctr" defTabSz="685766">
              <a:defRPr/>
            </a:pPr>
            <a:r>
              <a:rPr lang="sr-Latn-RS" sz="1050" b="1" dirty="0">
                <a:solidFill>
                  <a:srgbClr val="E60A11"/>
                </a:solidFill>
                <a:latin typeface="Tenorite" panose="00000500000000000000" pitchFamily="2" charset="0"/>
              </a:rPr>
              <a:t>Buildings Solutions</a:t>
            </a:r>
            <a:endParaRPr lang="en-US" sz="1050" b="1" dirty="0">
              <a:solidFill>
                <a:srgbClr val="E60A11"/>
              </a:solidFill>
              <a:latin typeface="Tenorite" panose="00000500000000000000" pitchFamily="2" charset="0"/>
            </a:endParaRPr>
          </a:p>
        </p:txBody>
      </p:sp>
      <p:sp>
        <p:nvSpPr>
          <p:cNvPr id="6" name="TextBox 28">
            <a:extLst>
              <a:ext uri="{FF2B5EF4-FFF2-40B4-BE49-F238E27FC236}">
                <a16:creationId xmlns:a16="http://schemas.microsoft.com/office/drawing/2014/main" id="{8486A2B4-6865-318F-8D4D-4C0E5AE307AA}"/>
              </a:ext>
            </a:extLst>
          </p:cNvPr>
          <p:cNvSpPr txBox="1"/>
          <p:nvPr/>
        </p:nvSpPr>
        <p:spPr>
          <a:xfrm>
            <a:off x="6826744" y="748722"/>
            <a:ext cx="2128346" cy="12926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685766">
              <a:defRPr/>
            </a:pPr>
            <a:r>
              <a:rPr lang="sr-Latn-RS" sz="1200" dirty="0">
                <a:solidFill>
                  <a:srgbClr val="000000"/>
                </a:solidFill>
                <a:latin typeface="Tenorite" panose="00000500000000000000" pitchFamily="2" charset="0"/>
              </a:rPr>
              <a:t>Danfoss District Energy segment</a:t>
            </a:r>
            <a:endParaRPr lang="en-US" sz="1200" b="1" dirty="0">
              <a:solidFill>
                <a:srgbClr val="E60A11"/>
              </a:solidFill>
              <a:latin typeface="Tenorite" panose="00000500000000000000" pitchFamily="2" charset="0"/>
            </a:endParaRPr>
          </a:p>
          <a:p>
            <a:pPr algn="ctr" defTabSz="685766">
              <a:defRPr/>
            </a:pPr>
            <a:endParaRPr lang="sr-Latn-RS" sz="900" b="1" dirty="0">
              <a:solidFill>
                <a:srgbClr val="E60A11"/>
              </a:solidFill>
              <a:latin typeface="Tenorite" panose="00000500000000000000" pitchFamily="2" charset="0"/>
            </a:endParaRPr>
          </a:p>
          <a:p>
            <a:pPr defTabSz="685766">
              <a:defRPr/>
            </a:pPr>
            <a:r>
              <a:rPr lang="sr-Latn-RS" sz="1050" b="1" dirty="0">
                <a:solidFill>
                  <a:srgbClr val="E60A11"/>
                </a:solidFill>
                <a:latin typeface="Tenorite" panose="00000500000000000000" pitchFamily="2" charset="0"/>
              </a:rPr>
              <a:t>Prodaja opreme</a:t>
            </a:r>
            <a:endParaRPr lang="en-US" sz="1050" b="1" dirty="0">
              <a:solidFill>
                <a:srgbClr val="E60A11"/>
              </a:solidFill>
              <a:latin typeface="Tenorite" panose="00000500000000000000" pitchFamily="2" charset="0"/>
            </a:endParaRPr>
          </a:p>
          <a:p>
            <a:pPr defTabSz="685766">
              <a:defRPr/>
            </a:pPr>
            <a:r>
              <a:rPr lang="sr-Latn-RS" sz="1050" b="1" dirty="0">
                <a:solidFill>
                  <a:srgbClr val="E60A11"/>
                </a:solidFill>
                <a:latin typeface="Tenorite" panose="00000500000000000000" pitchFamily="2" charset="0"/>
              </a:rPr>
              <a:t>Konceptualna rešenja</a:t>
            </a:r>
          </a:p>
          <a:p>
            <a:pPr defTabSz="685766">
              <a:defRPr/>
            </a:pPr>
            <a:r>
              <a:rPr lang="sr-Latn-RS" sz="1050" b="1" dirty="0">
                <a:solidFill>
                  <a:srgbClr val="E60A11"/>
                </a:solidFill>
                <a:latin typeface="Tenorite" panose="00000500000000000000" pitchFamily="2" charset="0"/>
              </a:rPr>
              <a:t>Tehnička podrška</a:t>
            </a:r>
          </a:p>
          <a:p>
            <a:pPr defTabSz="685766">
              <a:defRPr/>
            </a:pPr>
            <a:r>
              <a:rPr lang="sr-Latn-RS" sz="1050" b="1" dirty="0">
                <a:solidFill>
                  <a:srgbClr val="E60A11"/>
                </a:solidFill>
                <a:latin typeface="Tenorite" panose="00000500000000000000" pitchFamily="2" charset="0"/>
              </a:rPr>
              <a:t>Izbor i specifikacija opreme</a:t>
            </a:r>
          </a:p>
          <a:p>
            <a:pPr defTabSz="685766">
              <a:defRPr/>
            </a:pPr>
            <a:r>
              <a:rPr lang="sr-Latn-RS" sz="1050" b="1" dirty="0">
                <a:solidFill>
                  <a:srgbClr val="E60A11"/>
                </a:solidFill>
                <a:latin typeface="Tenorite" panose="00000500000000000000" pitchFamily="2" charset="0"/>
              </a:rPr>
              <a:t>Pomoć pri puštanju u rad</a:t>
            </a:r>
          </a:p>
          <a:p>
            <a:pPr defTabSz="685766">
              <a:defRPr/>
            </a:pPr>
            <a:r>
              <a:rPr lang="sr-Latn-RS" sz="1050" b="1" dirty="0">
                <a:solidFill>
                  <a:srgbClr val="E60A11"/>
                </a:solidFill>
                <a:latin typeface="Tenorite" panose="00000500000000000000" pitchFamily="2" charset="0"/>
              </a:rPr>
              <a:t>Treninzi i obuke </a:t>
            </a:r>
          </a:p>
        </p:txBody>
      </p:sp>
      <p:sp>
        <p:nvSpPr>
          <p:cNvPr id="11" name="Titel 2">
            <a:extLst>
              <a:ext uri="{FF2B5EF4-FFF2-40B4-BE49-F238E27FC236}">
                <a16:creationId xmlns:a16="http://schemas.microsoft.com/office/drawing/2014/main" id="{3B815D0B-42C8-83F7-5B42-D63AEFA645EB}"/>
              </a:ext>
            </a:extLst>
          </p:cNvPr>
          <p:cNvSpPr txBox="1">
            <a:spLocks/>
          </p:cNvSpPr>
          <p:nvPr/>
        </p:nvSpPr>
        <p:spPr>
          <a:xfrm>
            <a:off x="7082297" y="4334807"/>
            <a:ext cx="3291555" cy="42158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1219170" rtl="0" eaLnBrk="1" latinLnBrk="0" hangingPunct="1">
              <a:spcBef>
                <a:spcPct val="0"/>
              </a:spcBef>
              <a:buNone/>
              <a:defRPr sz="3333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r-Latn-RS" sz="2500" b="1" dirty="0">
                <a:solidFill>
                  <a:srgbClr val="FF0000"/>
                </a:solidFill>
                <a:latin typeface="Tenorite" panose="00000500000000000000" pitchFamily="2" charset="0"/>
              </a:rPr>
              <a:t>Filip Žardin</a:t>
            </a:r>
            <a:endParaRPr lang="en-US" sz="2500" dirty="0">
              <a:latin typeface="Tenorite" panose="00000500000000000000" pitchFamily="2" charset="0"/>
            </a:endParaRPr>
          </a:p>
        </p:txBody>
      </p:sp>
      <p:pic>
        <p:nvPicPr>
          <p:cNvPr id="4" name="Picture 3" descr="A person in a suit and tie&#10;&#10;AI-generated content may be incorrect.">
            <a:extLst>
              <a:ext uri="{FF2B5EF4-FFF2-40B4-BE49-F238E27FC236}">
                <a16:creationId xmlns:a16="http://schemas.microsoft.com/office/drawing/2014/main" id="{1AB401B7-6A9A-3D15-3D79-D1F951E23B77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832" t="18334" r="15655" b="11852"/>
          <a:stretch/>
        </p:blipFill>
        <p:spPr>
          <a:xfrm rot="16200000" flipH="1">
            <a:off x="6830840" y="2418344"/>
            <a:ext cx="1983319" cy="1774805"/>
          </a:xfrm>
          <a:prstGeom prst="ellipse">
            <a:avLst/>
          </a:prstGeom>
          <a:solidFill>
            <a:srgbClr val="FF0000"/>
          </a:solidFill>
          <a:ln w="63500" cap="rnd">
            <a:noFill/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9" name="Picture 8" descr="A qr code on a screen&#10;&#10;AI-generated content may be incorrect.">
            <a:extLst>
              <a:ext uri="{FF2B5EF4-FFF2-40B4-BE49-F238E27FC236}">
                <a16:creationId xmlns:a16="http://schemas.microsoft.com/office/drawing/2014/main" id="{9D12A827-0C20-6C0E-46BA-E8788045835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528" t="37865" r="10131" b="7902"/>
          <a:stretch/>
        </p:blipFill>
        <p:spPr>
          <a:xfrm>
            <a:off x="4766418" y="1951467"/>
            <a:ext cx="1788743" cy="1756567"/>
          </a:xfrm>
          <a:prstGeom prst="rect">
            <a:avLst/>
          </a:prstGeom>
        </p:spPr>
      </p:pic>
      <p:pic>
        <p:nvPicPr>
          <p:cNvPr id="2" name="Picture 1" descr="A red sign with white text&#10;&#10;AI-generated content may be incorrect.">
            <a:extLst>
              <a:ext uri="{FF2B5EF4-FFF2-40B4-BE49-F238E27FC236}">
                <a16:creationId xmlns:a16="http://schemas.microsoft.com/office/drawing/2014/main" id="{1C69967C-25B3-B54B-D5E7-0EF5B61FD800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4100" y="113595"/>
            <a:ext cx="1203205" cy="527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599498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Picture 35">
            <a:extLst>
              <a:ext uri="{FF2B5EF4-FFF2-40B4-BE49-F238E27FC236}">
                <a16:creationId xmlns:a16="http://schemas.microsoft.com/office/drawing/2014/main" id="{6F5B4759-ABCB-47E4-9F00-DF1C841A135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358" t="11827" r="13614" b="172"/>
          <a:stretch/>
        </p:blipFill>
        <p:spPr>
          <a:xfrm>
            <a:off x="6241599" y="921378"/>
            <a:ext cx="2491200" cy="1864150"/>
          </a:xfrm>
          <a:prstGeom prst="rect">
            <a:avLst/>
          </a:prstGeom>
        </p:spPr>
      </p:pic>
      <p:pic>
        <p:nvPicPr>
          <p:cNvPr id="35" name="Picture 34" descr="A view of a city&#10;&#10;Description automatically generated">
            <a:extLst>
              <a:ext uri="{FF2B5EF4-FFF2-40B4-BE49-F238E27FC236}">
                <a16:creationId xmlns:a16="http://schemas.microsoft.com/office/drawing/2014/main" id="{E2D77384-B691-4279-9DCB-7B8F4DEB6F17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61" t="35831" r="36723" b="22819"/>
          <a:stretch/>
        </p:blipFill>
        <p:spPr>
          <a:xfrm>
            <a:off x="3317745" y="915566"/>
            <a:ext cx="2491200" cy="1871085"/>
          </a:xfrm>
          <a:prstGeom prst="rect">
            <a:avLst/>
          </a:prstGeom>
        </p:spPr>
      </p:pic>
      <p:sp>
        <p:nvSpPr>
          <p:cNvPr id="13" name="Title 6"/>
          <p:cNvSpPr>
            <a:spLocks noGrp="1"/>
          </p:cNvSpPr>
          <p:nvPr>
            <p:ph type="title"/>
          </p:nvPr>
        </p:nvSpPr>
        <p:spPr>
          <a:xfrm>
            <a:off x="419099" y="223838"/>
            <a:ext cx="8410108" cy="613445"/>
          </a:xfrm>
        </p:spPr>
        <p:txBody>
          <a:bodyPr/>
          <a:lstStyle/>
          <a:p>
            <a:r>
              <a:rPr lang="en-US" dirty="0"/>
              <a:t>T</a:t>
            </a:r>
            <a:r>
              <a:rPr lang="sr-Latn-BA" dirty="0"/>
              <a:t>ri posebna </a:t>
            </a:r>
            <a:r>
              <a:rPr lang="sr-Latn-BA" b="1" dirty="0"/>
              <a:t>poslovna</a:t>
            </a:r>
            <a:r>
              <a:rPr lang="en-US" b="1" dirty="0"/>
              <a:t> </a:t>
            </a:r>
            <a:r>
              <a:rPr lang="en-US" b="1" dirty="0" err="1"/>
              <a:t>segmen</a:t>
            </a:r>
            <a:r>
              <a:rPr lang="sr-Latn-BA" b="1" dirty="0"/>
              <a:t>ta</a:t>
            </a:r>
            <a:r>
              <a:rPr lang="en-US" b="1" dirty="0"/>
              <a:t> </a:t>
            </a:r>
            <a:r>
              <a:rPr lang="sr-Latn-BA" dirty="0"/>
              <a:t>sa stalnim rastom</a:t>
            </a:r>
            <a:endParaRPr lang="en-US" dirty="0"/>
          </a:p>
        </p:txBody>
      </p:sp>
      <p:sp>
        <p:nvSpPr>
          <p:cNvPr id="71" name="Rectangle 10">
            <a:extLst>
              <a:ext uri="{FF2B5EF4-FFF2-40B4-BE49-F238E27FC236}">
                <a16:creationId xmlns:a16="http://schemas.microsoft.com/office/drawing/2014/main" id="{95F18D9F-B345-3840-A5AC-7021B8AA2022}"/>
              </a:ext>
            </a:extLst>
          </p:cNvPr>
          <p:cNvSpPr/>
          <p:nvPr/>
        </p:nvSpPr>
        <p:spPr>
          <a:xfrm>
            <a:off x="6238211" y="2626725"/>
            <a:ext cx="2501929" cy="2045713"/>
          </a:xfrm>
          <a:prstGeom prst="rect">
            <a:avLst/>
          </a:prstGeom>
          <a:solidFill>
            <a:schemeClr val="bg1"/>
          </a:solidFill>
          <a:ln w="952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aphicFrame>
        <p:nvGraphicFramePr>
          <p:cNvPr id="51" name="Chart 50">
            <a:extLst>
              <a:ext uri="{FF2B5EF4-FFF2-40B4-BE49-F238E27FC236}">
                <a16:creationId xmlns:a16="http://schemas.microsoft.com/office/drawing/2014/main" id="{8CA94E87-94E5-6649-8C52-C0840B80E1F0}"/>
              </a:ext>
            </a:extLst>
          </p:cNvPr>
          <p:cNvGraphicFramePr/>
          <p:nvPr/>
        </p:nvGraphicFramePr>
        <p:xfrm>
          <a:off x="6277927" y="3835184"/>
          <a:ext cx="1509309" cy="9188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52" name="TextBox 61">
            <a:extLst>
              <a:ext uri="{FF2B5EF4-FFF2-40B4-BE49-F238E27FC236}">
                <a16:creationId xmlns:a16="http://schemas.microsoft.com/office/drawing/2014/main" id="{69368A00-10C5-BE4B-99F5-6A02D16C3CE8}"/>
              </a:ext>
            </a:extLst>
          </p:cNvPr>
          <p:cNvSpPr txBox="1"/>
          <p:nvPr/>
        </p:nvSpPr>
        <p:spPr>
          <a:xfrm>
            <a:off x="7465156" y="4127809"/>
            <a:ext cx="1092508" cy="70788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869199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19%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869199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of Group sal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869199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6" name="TextBox 61">
            <a:extLst>
              <a:ext uri="{FF2B5EF4-FFF2-40B4-BE49-F238E27FC236}">
                <a16:creationId xmlns:a16="http://schemas.microsoft.com/office/drawing/2014/main" id="{3C0427FB-1355-0B4A-B805-BDBEEB4931B6}"/>
              </a:ext>
            </a:extLst>
          </p:cNvPr>
          <p:cNvSpPr txBox="1"/>
          <p:nvPr/>
        </p:nvSpPr>
        <p:spPr>
          <a:xfrm>
            <a:off x="6357823" y="3458637"/>
            <a:ext cx="1975669" cy="36933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108000" marR="0" lvl="0" indent="-108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4,582 </a:t>
            </a:r>
            <a:r>
              <a:rPr kumimoji="0" lang="sr-Latn-BA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zaposlenih 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108000" marR="0" lvl="0" indent="-108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9 fa</a:t>
            </a:r>
            <a:r>
              <a:rPr kumimoji="0" lang="sr-Latn-BA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brika u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7 </a:t>
            </a:r>
            <a:r>
              <a:rPr lang="sr-Latn-BA" sz="800" dirty="0">
                <a:solidFill>
                  <a:srgbClr val="000000"/>
                </a:solidFill>
                <a:latin typeface="Verdana"/>
              </a:rPr>
              <a:t>zemalja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108000" marR="0" lvl="0" indent="-108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1.4</a:t>
            </a:r>
            <a:r>
              <a:rPr kumimoji="0" lang="sr-Latn-BA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lrd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EUR </a:t>
            </a:r>
            <a:r>
              <a:rPr kumimoji="0" lang="sr-Latn-BA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godišnji promet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E925DF87-D4D4-D245-8FB9-1893AF6EED99}"/>
              </a:ext>
            </a:extLst>
          </p:cNvPr>
          <p:cNvSpPr txBox="1"/>
          <p:nvPr/>
        </p:nvSpPr>
        <p:spPr>
          <a:xfrm>
            <a:off x="6357823" y="2817224"/>
            <a:ext cx="2370251" cy="50013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2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anfoss Power Electronics and Drives</a:t>
            </a:r>
          </a:p>
          <a:p>
            <a:pPr marL="108000" marR="0" lvl="0" indent="-108000" algn="l" defTabSz="914400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#2 </a:t>
            </a:r>
            <a:r>
              <a:rPr lang="sr-Latn-BA" sz="1200" dirty="0">
                <a:solidFill>
                  <a:srgbClr val="000000"/>
                </a:solidFill>
                <a:latin typeface="Verdana"/>
              </a:rPr>
              <a:t>pozicija na tržištu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id="{3109C9C8-5706-D34D-AFC1-36178096E480}"/>
              </a:ext>
            </a:extLst>
          </p:cNvPr>
          <p:cNvCxnSpPr>
            <a:cxnSpLocks/>
          </p:cNvCxnSpPr>
          <p:nvPr/>
        </p:nvCxnSpPr>
        <p:spPr>
          <a:xfrm>
            <a:off x="6357823" y="3374876"/>
            <a:ext cx="2270075" cy="0"/>
          </a:xfrm>
          <a:prstGeom prst="line">
            <a:avLst/>
          </a:prstGeom>
          <a:ln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TextBox 79">
            <a:extLst>
              <a:ext uri="{FF2B5EF4-FFF2-40B4-BE49-F238E27FC236}">
                <a16:creationId xmlns:a16="http://schemas.microsoft.com/office/drawing/2014/main" id="{7475B484-76F9-1E4A-9071-7F9F4D7EA745}"/>
              </a:ext>
            </a:extLst>
          </p:cNvPr>
          <p:cNvSpPr txBox="1"/>
          <p:nvPr/>
        </p:nvSpPr>
        <p:spPr>
          <a:xfrm>
            <a:off x="7019611" y="2765484"/>
            <a:ext cx="1872871" cy="1538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marL="107950" marR="0" lvl="0" indent="-107950" algn="l" defTabSz="914400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Verdana"/>
              <a:cs typeface="+mn-cs"/>
            </a:endParaRPr>
          </a:p>
        </p:txBody>
      </p:sp>
      <p:sp>
        <p:nvSpPr>
          <p:cNvPr id="69" name="Rectangle 10">
            <a:extLst>
              <a:ext uri="{FF2B5EF4-FFF2-40B4-BE49-F238E27FC236}">
                <a16:creationId xmlns:a16="http://schemas.microsoft.com/office/drawing/2014/main" id="{D982818C-887A-C749-9302-5AFCB54CD041}"/>
              </a:ext>
            </a:extLst>
          </p:cNvPr>
          <p:cNvSpPr/>
          <p:nvPr/>
        </p:nvSpPr>
        <p:spPr>
          <a:xfrm>
            <a:off x="389589" y="2626725"/>
            <a:ext cx="2496384" cy="2045713"/>
          </a:xfrm>
          <a:prstGeom prst="rect">
            <a:avLst/>
          </a:prstGeom>
          <a:solidFill>
            <a:schemeClr val="bg1"/>
          </a:solidFill>
          <a:ln w="952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aphicFrame>
        <p:nvGraphicFramePr>
          <p:cNvPr id="44" name="Chart 21">
            <a:extLst>
              <a:ext uri="{FF2B5EF4-FFF2-40B4-BE49-F238E27FC236}">
                <a16:creationId xmlns:a16="http://schemas.microsoft.com/office/drawing/2014/main" id="{AFBFB50A-1D64-3A42-9DCF-319CCF9357C0}"/>
              </a:ext>
            </a:extLst>
          </p:cNvPr>
          <p:cNvGraphicFramePr/>
          <p:nvPr/>
        </p:nvGraphicFramePr>
        <p:xfrm>
          <a:off x="35496" y="3865955"/>
          <a:ext cx="1681597" cy="8671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45" name="TextBox 61">
            <a:extLst>
              <a:ext uri="{FF2B5EF4-FFF2-40B4-BE49-F238E27FC236}">
                <a16:creationId xmlns:a16="http://schemas.microsoft.com/office/drawing/2014/main" id="{155038F6-5D57-5F4C-9A87-4225E946F171}"/>
              </a:ext>
            </a:extLst>
          </p:cNvPr>
          <p:cNvSpPr txBox="1"/>
          <p:nvPr/>
        </p:nvSpPr>
        <p:spPr>
          <a:xfrm>
            <a:off x="1258733" y="4117817"/>
            <a:ext cx="1289788" cy="70788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869199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43%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869199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of Group sal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869199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6" name="TextBox 61">
            <a:extLst>
              <a:ext uri="{FF2B5EF4-FFF2-40B4-BE49-F238E27FC236}">
                <a16:creationId xmlns:a16="http://schemas.microsoft.com/office/drawing/2014/main" id="{15215C28-6E9D-334C-AB97-C39BD0BD33B4}"/>
              </a:ext>
            </a:extLst>
          </p:cNvPr>
          <p:cNvSpPr txBox="1"/>
          <p:nvPr/>
        </p:nvSpPr>
        <p:spPr>
          <a:xfrm>
            <a:off x="521120" y="3417919"/>
            <a:ext cx="2332426" cy="36933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108000" marR="0" lvl="0" indent="-108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19,061 </a:t>
            </a:r>
            <a:r>
              <a:rPr lang="sr-Latn-BA" sz="800" dirty="0">
                <a:solidFill>
                  <a:srgbClr val="000000"/>
                </a:solidFill>
                <a:latin typeface="Verdana"/>
              </a:rPr>
              <a:t>zaposlenih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108000" marR="0" lvl="0" indent="-108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53 fa</a:t>
            </a:r>
            <a:r>
              <a:rPr kumimoji="0" lang="sr-Latn-BA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brika u 1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9 </a:t>
            </a:r>
            <a:r>
              <a:rPr lang="sr-Latn-BA" sz="800" dirty="0">
                <a:solidFill>
                  <a:srgbClr val="000000"/>
                </a:solidFill>
                <a:latin typeface="Verdana"/>
              </a:rPr>
              <a:t>zemalja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108000" marR="0" lvl="0" indent="-108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3.2bn EUR </a:t>
            </a:r>
            <a:r>
              <a:rPr kumimoji="0" lang="sr-Latn-BA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godišnji promet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E86B51D4-DF6A-0243-AD68-B7D496FC2859}"/>
              </a:ext>
            </a:extLst>
          </p:cNvPr>
          <p:cNvSpPr txBox="1"/>
          <p:nvPr/>
        </p:nvSpPr>
        <p:spPr>
          <a:xfrm>
            <a:off x="521120" y="2776505"/>
            <a:ext cx="2211065" cy="50013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2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anfoss Power Solutions</a:t>
            </a:r>
          </a:p>
          <a:p>
            <a:pPr marL="108000" marR="0" lvl="0" indent="-108000" algn="l" defTabSz="914400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108000" marR="0" lvl="0" indent="-108000" algn="l" defTabSz="914400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#2 </a:t>
            </a:r>
            <a:r>
              <a:rPr kumimoji="0" lang="sr-Latn-BA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ozicija na tržištu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6CA01BD8-A1CE-5542-A2D5-BEA1B9B91A48}"/>
              </a:ext>
            </a:extLst>
          </p:cNvPr>
          <p:cNvCxnSpPr/>
          <p:nvPr/>
        </p:nvCxnSpPr>
        <p:spPr>
          <a:xfrm>
            <a:off x="521120" y="3334158"/>
            <a:ext cx="2148716" cy="0"/>
          </a:xfrm>
          <a:prstGeom prst="line">
            <a:avLst/>
          </a:prstGeom>
          <a:ln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Rectangle 10">
            <a:extLst>
              <a:ext uri="{FF2B5EF4-FFF2-40B4-BE49-F238E27FC236}">
                <a16:creationId xmlns:a16="http://schemas.microsoft.com/office/drawing/2014/main" id="{030BE76E-A6F0-2E4A-ACE2-56D102528107}"/>
              </a:ext>
            </a:extLst>
          </p:cNvPr>
          <p:cNvSpPr/>
          <p:nvPr/>
        </p:nvSpPr>
        <p:spPr>
          <a:xfrm>
            <a:off x="3310057" y="2626725"/>
            <a:ext cx="2498888" cy="2041928"/>
          </a:xfrm>
          <a:prstGeom prst="rect">
            <a:avLst/>
          </a:prstGeom>
          <a:solidFill>
            <a:schemeClr val="bg1"/>
          </a:solidFill>
          <a:ln w="952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7" name="TextBox 61">
            <a:extLst>
              <a:ext uri="{FF2B5EF4-FFF2-40B4-BE49-F238E27FC236}">
                <a16:creationId xmlns:a16="http://schemas.microsoft.com/office/drawing/2014/main" id="{274CE918-D1B8-484E-AFC2-254C9EAA6E39}"/>
              </a:ext>
            </a:extLst>
          </p:cNvPr>
          <p:cNvSpPr txBox="1"/>
          <p:nvPr/>
        </p:nvSpPr>
        <p:spPr>
          <a:xfrm>
            <a:off x="4408359" y="4109640"/>
            <a:ext cx="1305442" cy="72092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869199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38%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869199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of Group sal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869199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3" name="TextBox 61">
            <a:extLst>
              <a:ext uri="{FF2B5EF4-FFF2-40B4-BE49-F238E27FC236}">
                <a16:creationId xmlns:a16="http://schemas.microsoft.com/office/drawing/2014/main" id="{B80AE22C-C073-A940-AC60-A22324C496E4}"/>
              </a:ext>
            </a:extLst>
          </p:cNvPr>
          <p:cNvSpPr txBox="1"/>
          <p:nvPr/>
        </p:nvSpPr>
        <p:spPr>
          <a:xfrm>
            <a:off x="3475902" y="3431761"/>
            <a:ext cx="2360734" cy="37613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108000" marR="0" lvl="0" indent="-108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11,235 </a:t>
            </a:r>
            <a:r>
              <a:rPr lang="sr-Latn-BA" sz="800" dirty="0">
                <a:solidFill>
                  <a:srgbClr val="000000"/>
                </a:solidFill>
                <a:latin typeface="Verdana"/>
              </a:rPr>
              <a:t>zaposlenih 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108000" marR="0" lvl="0" indent="-108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34 fa</a:t>
            </a:r>
            <a:r>
              <a:rPr kumimoji="0" lang="sr-Latn-BA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brike u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15 </a:t>
            </a:r>
            <a:r>
              <a:rPr kumimoji="0" lang="sr-Latn-BA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zemalja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108000" marR="0" lvl="0" indent="-108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2.9</a:t>
            </a:r>
            <a:r>
              <a:rPr kumimoji="0" lang="sr-Latn-BA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mlrd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EUR </a:t>
            </a:r>
            <a:r>
              <a:rPr kumimoji="0" lang="sr-Latn-BA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godišnji promet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930F1DCA-7E79-644E-B607-547748E1E205}"/>
              </a:ext>
            </a:extLst>
          </p:cNvPr>
          <p:cNvSpPr txBox="1"/>
          <p:nvPr/>
        </p:nvSpPr>
        <p:spPr>
          <a:xfrm>
            <a:off x="3421239" y="2776659"/>
            <a:ext cx="2333043" cy="50013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2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anfoss Climate Solutions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108000" marR="0" lvl="0" indent="-108000" algn="l" defTabSz="914400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108000" marR="0" lvl="0" indent="-108000" algn="l" defTabSz="914400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#2 </a:t>
            </a:r>
            <a:r>
              <a:rPr lang="sr-Latn-BA" sz="1200" dirty="0">
                <a:solidFill>
                  <a:srgbClr val="000000"/>
                </a:solidFill>
                <a:latin typeface="Verdana"/>
              </a:rPr>
              <a:t>pozicija na tržištu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839F8D9B-89E9-474E-BF64-025F9F0BABA3}"/>
              </a:ext>
            </a:extLst>
          </p:cNvPr>
          <p:cNvCxnSpPr/>
          <p:nvPr/>
        </p:nvCxnSpPr>
        <p:spPr>
          <a:xfrm>
            <a:off x="3475902" y="3346457"/>
            <a:ext cx="2174794" cy="0"/>
          </a:xfrm>
          <a:prstGeom prst="line">
            <a:avLst/>
          </a:prstGeom>
          <a:ln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8" name="Chart 21">
            <a:extLst>
              <a:ext uri="{FF2B5EF4-FFF2-40B4-BE49-F238E27FC236}">
                <a16:creationId xmlns:a16="http://schemas.microsoft.com/office/drawing/2014/main" id="{3A7C7657-0C3D-804D-982E-6293C253F49E}"/>
              </a:ext>
            </a:extLst>
          </p:cNvPr>
          <p:cNvGraphicFramePr/>
          <p:nvPr/>
        </p:nvGraphicFramePr>
        <p:xfrm>
          <a:off x="3097329" y="3810837"/>
          <a:ext cx="1468595" cy="9115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pic>
        <p:nvPicPr>
          <p:cNvPr id="5" name="Picture 4" descr="A picture containing sky, outdoor, ground, outdoor object&#10;&#10;Description automatically generated">
            <a:extLst>
              <a:ext uri="{FF2B5EF4-FFF2-40B4-BE49-F238E27FC236}">
                <a16:creationId xmlns:a16="http://schemas.microsoft.com/office/drawing/2014/main" id="{078E1EB9-7B3F-4369-9E93-DF367176DC0F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210" t="33859" r="28898" b="26368"/>
          <a:stretch/>
        </p:blipFill>
        <p:spPr>
          <a:xfrm>
            <a:off x="392684" y="929214"/>
            <a:ext cx="2498889" cy="16960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0064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3B9025-F295-4C8B-80C0-908F9FDBF2D9}"/>
              </a:ext>
            </a:extLst>
          </p:cNvPr>
          <p:cNvSpPr txBox="1">
            <a:spLocks/>
          </p:cNvSpPr>
          <p:nvPr/>
        </p:nvSpPr>
        <p:spPr>
          <a:xfrm>
            <a:off x="3156528" y="4144368"/>
            <a:ext cx="2821956" cy="492443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685800">
              <a:defRPr/>
            </a:pPr>
            <a:r>
              <a:rPr lang="sl-SI" sz="1600" b="1" kern="0" cap="all" dirty="0">
                <a:solidFill>
                  <a:schemeClr val="accent2"/>
                </a:solidFill>
              </a:rPr>
              <a:t>Obnovljivih izvora i </a:t>
            </a:r>
          </a:p>
          <a:p>
            <a:pPr algn="ctr" defTabSz="685800">
              <a:defRPr/>
            </a:pPr>
            <a:r>
              <a:rPr lang="sl-SI" sz="1600" b="1" kern="0" cap="all" dirty="0">
                <a:solidFill>
                  <a:schemeClr val="accent2"/>
                </a:solidFill>
              </a:rPr>
              <a:t>Viškova energije</a:t>
            </a:r>
            <a:endParaRPr lang="en-US" sz="1600" b="1" kern="0" cap="all" dirty="0">
              <a:solidFill>
                <a:schemeClr val="accent2"/>
              </a:solidFill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B93B9025-F295-4C8B-80C0-908F9FDBF2D9}"/>
              </a:ext>
            </a:extLst>
          </p:cNvPr>
          <p:cNvSpPr txBox="1">
            <a:spLocks/>
          </p:cNvSpPr>
          <p:nvPr/>
        </p:nvSpPr>
        <p:spPr>
          <a:xfrm>
            <a:off x="6115118" y="4141784"/>
            <a:ext cx="2821956" cy="492443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685800">
              <a:defRPr/>
            </a:pPr>
            <a:r>
              <a:rPr lang="sl-SI" sz="1600" b="1" kern="0" cap="all" dirty="0">
                <a:solidFill>
                  <a:schemeClr val="accent2"/>
                </a:solidFill>
              </a:rPr>
              <a:t>Niskotemperaturnih režima</a:t>
            </a:r>
            <a:endParaRPr lang="en-US" sz="1600" b="1" kern="0" cap="all" dirty="0">
              <a:solidFill>
                <a:schemeClr val="accent2"/>
              </a:solidFill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5FA98048-822D-4FED-BEC4-722FCE68DE2F}"/>
              </a:ext>
            </a:extLst>
          </p:cNvPr>
          <p:cNvSpPr txBox="1">
            <a:spLocks/>
          </p:cNvSpPr>
          <p:nvPr/>
        </p:nvSpPr>
        <p:spPr>
          <a:xfrm>
            <a:off x="3012981" y="3535257"/>
            <a:ext cx="3119872" cy="184666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685800">
              <a:defRPr/>
            </a:pPr>
            <a:r>
              <a:rPr lang="sl-SI" sz="1200" kern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Od fosilnih goriva do…</a:t>
            </a:r>
            <a:endParaRPr lang="en-US" sz="1200" kern="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5FA98048-822D-4FED-BEC4-722FCE68DE2F}"/>
              </a:ext>
            </a:extLst>
          </p:cNvPr>
          <p:cNvSpPr txBox="1">
            <a:spLocks/>
          </p:cNvSpPr>
          <p:nvPr/>
        </p:nvSpPr>
        <p:spPr>
          <a:xfrm>
            <a:off x="5976982" y="3532676"/>
            <a:ext cx="3119872" cy="184666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685800">
              <a:defRPr/>
            </a:pPr>
            <a:r>
              <a:rPr lang="sl-SI" sz="1200" kern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Od visokotemperaturnih režima do…</a:t>
            </a:r>
            <a:endParaRPr lang="en-US" sz="1200" kern="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cxnSp>
        <p:nvCxnSpPr>
          <p:cNvPr id="6" name="Straight Connector 70">
            <a:extLst>
              <a:ext uri="{FF2B5EF4-FFF2-40B4-BE49-F238E27FC236}">
                <a16:creationId xmlns:a16="http://schemas.microsoft.com/office/drawing/2014/main" id="{3365FA4D-1A14-476B-8541-CB3C5E4D3826}"/>
              </a:ext>
            </a:extLst>
          </p:cNvPr>
          <p:cNvCxnSpPr>
            <a:cxnSpLocks/>
          </p:cNvCxnSpPr>
          <p:nvPr/>
        </p:nvCxnSpPr>
        <p:spPr>
          <a:xfrm>
            <a:off x="6247039" y="3791684"/>
            <a:ext cx="2466949" cy="0"/>
          </a:xfrm>
          <a:prstGeom prst="line">
            <a:avLst/>
          </a:prstGeom>
          <a:ln w="158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70">
            <a:extLst>
              <a:ext uri="{FF2B5EF4-FFF2-40B4-BE49-F238E27FC236}">
                <a16:creationId xmlns:a16="http://schemas.microsoft.com/office/drawing/2014/main" id="{3365FA4D-1A14-476B-8541-CB3C5E4D3826}"/>
              </a:ext>
            </a:extLst>
          </p:cNvPr>
          <p:cNvCxnSpPr>
            <a:cxnSpLocks/>
          </p:cNvCxnSpPr>
          <p:nvPr/>
        </p:nvCxnSpPr>
        <p:spPr>
          <a:xfrm>
            <a:off x="6244284" y="3473534"/>
            <a:ext cx="2466949" cy="0"/>
          </a:xfrm>
          <a:prstGeom prst="line">
            <a:avLst/>
          </a:prstGeom>
          <a:ln w="158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Isosceles Triangle 18">
            <a:extLst>
              <a:ext uri="{FF2B5EF4-FFF2-40B4-BE49-F238E27FC236}">
                <a16:creationId xmlns:a16="http://schemas.microsoft.com/office/drawing/2014/main" id="{78E5D710-DDA0-4669-A1FE-24B4193C6FB1}"/>
              </a:ext>
            </a:extLst>
          </p:cNvPr>
          <p:cNvSpPr/>
          <p:nvPr/>
        </p:nvSpPr>
        <p:spPr>
          <a:xfrm rot="10800000">
            <a:off x="7266606" y="3800879"/>
            <a:ext cx="422305" cy="246724"/>
          </a:xfrm>
          <a:prstGeom prst="triangle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cxnSp>
        <p:nvCxnSpPr>
          <p:cNvPr id="9" name="Straight Connector 70">
            <a:extLst>
              <a:ext uri="{FF2B5EF4-FFF2-40B4-BE49-F238E27FC236}">
                <a16:creationId xmlns:a16="http://schemas.microsoft.com/office/drawing/2014/main" id="{3365FA4D-1A14-476B-8541-CB3C5E4D3826}"/>
              </a:ext>
            </a:extLst>
          </p:cNvPr>
          <p:cNvCxnSpPr>
            <a:cxnSpLocks/>
          </p:cNvCxnSpPr>
          <p:nvPr/>
        </p:nvCxnSpPr>
        <p:spPr>
          <a:xfrm>
            <a:off x="3341361" y="3791684"/>
            <a:ext cx="2466949" cy="0"/>
          </a:xfrm>
          <a:prstGeom prst="line">
            <a:avLst/>
          </a:prstGeom>
          <a:ln w="158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70">
            <a:extLst>
              <a:ext uri="{FF2B5EF4-FFF2-40B4-BE49-F238E27FC236}">
                <a16:creationId xmlns:a16="http://schemas.microsoft.com/office/drawing/2014/main" id="{3365FA4D-1A14-476B-8541-CB3C5E4D3826}"/>
              </a:ext>
            </a:extLst>
          </p:cNvPr>
          <p:cNvCxnSpPr>
            <a:cxnSpLocks/>
          </p:cNvCxnSpPr>
          <p:nvPr/>
        </p:nvCxnSpPr>
        <p:spPr>
          <a:xfrm>
            <a:off x="3338606" y="3473534"/>
            <a:ext cx="2466949" cy="0"/>
          </a:xfrm>
          <a:prstGeom prst="line">
            <a:avLst/>
          </a:prstGeom>
          <a:ln w="158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Isosceles Triangle 18">
            <a:extLst>
              <a:ext uri="{FF2B5EF4-FFF2-40B4-BE49-F238E27FC236}">
                <a16:creationId xmlns:a16="http://schemas.microsoft.com/office/drawing/2014/main" id="{78E5D710-DDA0-4669-A1FE-24B4193C6FB1}"/>
              </a:ext>
            </a:extLst>
          </p:cNvPr>
          <p:cNvSpPr/>
          <p:nvPr/>
        </p:nvSpPr>
        <p:spPr>
          <a:xfrm rot="10800000">
            <a:off x="4360928" y="3800879"/>
            <a:ext cx="422305" cy="246724"/>
          </a:xfrm>
          <a:prstGeom prst="triangle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B93B9025-F295-4C8B-80C0-908F9FDBF2D9}"/>
              </a:ext>
            </a:extLst>
          </p:cNvPr>
          <p:cNvSpPr txBox="1">
            <a:spLocks/>
          </p:cNvSpPr>
          <p:nvPr/>
        </p:nvSpPr>
        <p:spPr>
          <a:xfrm>
            <a:off x="259322" y="4264236"/>
            <a:ext cx="2821956" cy="24622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685800">
              <a:defRPr/>
            </a:pPr>
            <a:r>
              <a:rPr lang="sl-SI" sz="1600" b="1" kern="0" cap="all" dirty="0">
                <a:solidFill>
                  <a:schemeClr val="accent2"/>
                </a:solidFill>
              </a:rPr>
              <a:t>Više izvora</a:t>
            </a:r>
            <a:endParaRPr lang="en-US" sz="1600" b="1" kern="0" cap="all" dirty="0">
              <a:solidFill>
                <a:schemeClr val="accent2"/>
              </a:solidFill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5FA98048-822D-4FED-BEC4-722FCE68DE2F}"/>
              </a:ext>
            </a:extLst>
          </p:cNvPr>
          <p:cNvSpPr txBox="1">
            <a:spLocks/>
          </p:cNvSpPr>
          <p:nvPr/>
        </p:nvSpPr>
        <p:spPr>
          <a:xfrm>
            <a:off x="115775" y="3532015"/>
            <a:ext cx="3119872" cy="184666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685800">
              <a:defRPr/>
            </a:pPr>
            <a:r>
              <a:rPr lang="sl-SI" sz="1200" kern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Od pojedinačnih izvora do…</a:t>
            </a:r>
            <a:endParaRPr lang="en-US" sz="1200" kern="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cxnSp>
        <p:nvCxnSpPr>
          <p:cNvPr id="14" name="Straight Connector 70">
            <a:extLst>
              <a:ext uri="{FF2B5EF4-FFF2-40B4-BE49-F238E27FC236}">
                <a16:creationId xmlns:a16="http://schemas.microsoft.com/office/drawing/2014/main" id="{3365FA4D-1A14-476B-8541-CB3C5E4D3826}"/>
              </a:ext>
            </a:extLst>
          </p:cNvPr>
          <p:cNvCxnSpPr>
            <a:cxnSpLocks/>
          </p:cNvCxnSpPr>
          <p:nvPr/>
        </p:nvCxnSpPr>
        <p:spPr>
          <a:xfrm>
            <a:off x="434427" y="3788442"/>
            <a:ext cx="2466949" cy="0"/>
          </a:xfrm>
          <a:prstGeom prst="line">
            <a:avLst/>
          </a:prstGeom>
          <a:ln w="158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70">
            <a:extLst>
              <a:ext uri="{FF2B5EF4-FFF2-40B4-BE49-F238E27FC236}">
                <a16:creationId xmlns:a16="http://schemas.microsoft.com/office/drawing/2014/main" id="{3365FA4D-1A14-476B-8541-CB3C5E4D3826}"/>
              </a:ext>
            </a:extLst>
          </p:cNvPr>
          <p:cNvCxnSpPr>
            <a:cxnSpLocks/>
          </p:cNvCxnSpPr>
          <p:nvPr/>
        </p:nvCxnSpPr>
        <p:spPr>
          <a:xfrm>
            <a:off x="431672" y="3470292"/>
            <a:ext cx="2466949" cy="0"/>
          </a:xfrm>
          <a:prstGeom prst="line">
            <a:avLst/>
          </a:prstGeom>
          <a:ln w="158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Isosceles Triangle 18">
            <a:extLst>
              <a:ext uri="{FF2B5EF4-FFF2-40B4-BE49-F238E27FC236}">
                <a16:creationId xmlns:a16="http://schemas.microsoft.com/office/drawing/2014/main" id="{78E5D710-DDA0-4669-A1FE-24B4193C6FB1}"/>
              </a:ext>
            </a:extLst>
          </p:cNvPr>
          <p:cNvSpPr/>
          <p:nvPr/>
        </p:nvSpPr>
        <p:spPr>
          <a:xfrm rot="10800000">
            <a:off x="1463722" y="3797637"/>
            <a:ext cx="422305" cy="246724"/>
          </a:xfrm>
          <a:prstGeom prst="triangle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" name="Pravokotnik 16">
            <a:hlinkClick r:id="" action="ppaction://noaction"/>
          </p:cNvPr>
          <p:cNvSpPr/>
          <p:nvPr/>
        </p:nvSpPr>
        <p:spPr>
          <a:xfrm>
            <a:off x="-9728" y="71081"/>
            <a:ext cx="3588241" cy="64080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l-SI" noProof="0" dirty="0"/>
              <a:t> </a:t>
            </a:r>
          </a:p>
        </p:txBody>
      </p:sp>
      <p:sp>
        <p:nvSpPr>
          <p:cNvPr id="18" name="Rectangle 99">
            <a:extLst>
              <a:ext uri="{FF2B5EF4-FFF2-40B4-BE49-F238E27FC236}">
                <a16:creationId xmlns:a16="http://schemas.microsoft.com/office/drawing/2014/main" id="{A235EC5E-459B-43AE-AF13-020FC870FCB9}"/>
              </a:ext>
            </a:extLst>
          </p:cNvPr>
          <p:cNvSpPr/>
          <p:nvPr/>
        </p:nvSpPr>
        <p:spPr>
          <a:xfrm>
            <a:off x="-853046" y="66977"/>
            <a:ext cx="9997045" cy="640800"/>
          </a:xfrm>
          <a:custGeom>
            <a:avLst/>
            <a:gdLst>
              <a:gd name="connsiteX0" fmla="*/ 0 w 3590554"/>
              <a:gd name="connsiteY0" fmla="*/ 0 h 640800"/>
              <a:gd name="connsiteX1" fmla="*/ 3590554 w 3590554"/>
              <a:gd name="connsiteY1" fmla="*/ 0 h 640800"/>
              <a:gd name="connsiteX2" fmla="*/ 3590554 w 3590554"/>
              <a:gd name="connsiteY2" fmla="*/ 640800 h 640800"/>
              <a:gd name="connsiteX3" fmla="*/ 0 w 3590554"/>
              <a:gd name="connsiteY3" fmla="*/ 640800 h 640800"/>
              <a:gd name="connsiteX4" fmla="*/ 0 w 3590554"/>
              <a:gd name="connsiteY4" fmla="*/ 0 h 640800"/>
              <a:gd name="connsiteX0" fmla="*/ 0 w 3593306"/>
              <a:gd name="connsiteY0" fmla="*/ 302 h 641102"/>
              <a:gd name="connsiteX1" fmla="*/ 3590554 w 3593306"/>
              <a:gd name="connsiteY1" fmla="*/ 302 h 641102"/>
              <a:gd name="connsiteX2" fmla="*/ 3593306 w 3593306"/>
              <a:gd name="connsiteY2" fmla="*/ 0 h 641102"/>
              <a:gd name="connsiteX3" fmla="*/ 3590554 w 3593306"/>
              <a:gd name="connsiteY3" fmla="*/ 641102 h 641102"/>
              <a:gd name="connsiteX4" fmla="*/ 0 w 3593306"/>
              <a:gd name="connsiteY4" fmla="*/ 641102 h 641102"/>
              <a:gd name="connsiteX5" fmla="*/ 0 w 3593306"/>
              <a:gd name="connsiteY5" fmla="*/ 302 h 641102"/>
              <a:gd name="connsiteX0" fmla="*/ 0 w 3593675"/>
              <a:gd name="connsiteY0" fmla="*/ 302 h 641102"/>
              <a:gd name="connsiteX1" fmla="*/ 3590554 w 3593675"/>
              <a:gd name="connsiteY1" fmla="*/ 302 h 641102"/>
              <a:gd name="connsiteX2" fmla="*/ 3593306 w 3593675"/>
              <a:gd name="connsiteY2" fmla="*/ 0 h 641102"/>
              <a:gd name="connsiteX3" fmla="*/ 3590554 w 3593675"/>
              <a:gd name="connsiteY3" fmla="*/ 641102 h 641102"/>
              <a:gd name="connsiteX4" fmla="*/ 0 w 3593675"/>
              <a:gd name="connsiteY4" fmla="*/ 641102 h 641102"/>
              <a:gd name="connsiteX5" fmla="*/ 0 w 3593675"/>
              <a:gd name="connsiteY5" fmla="*/ 302 h 641102"/>
              <a:gd name="connsiteX0" fmla="*/ 0 w 3860011"/>
              <a:gd name="connsiteY0" fmla="*/ 0 h 640800"/>
              <a:gd name="connsiteX1" fmla="*/ 3590554 w 3860011"/>
              <a:gd name="connsiteY1" fmla="*/ 0 h 640800"/>
              <a:gd name="connsiteX2" fmla="*/ 3860006 w 3860011"/>
              <a:gd name="connsiteY2" fmla="*/ 485473 h 640800"/>
              <a:gd name="connsiteX3" fmla="*/ 3590554 w 3860011"/>
              <a:gd name="connsiteY3" fmla="*/ 640800 h 640800"/>
              <a:gd name="connsiteX4" fmla="*/ 0 w 3860011"/>
              <a:gd name="connsiteY4" fmla="*/ 640800 h 640800"/>
              <a:gd name="connsiteX5" fmla="*/ 0 w 3860011"/>
              <a:gd name="connsiteY5" fmla="*/ 0 h 640800"/>
              <a:gd name="connsiteX0" fmla="*/ 0 w 3733810"/>
              <a:gd name="connsiteY0" fmla="*/ 0 h 640800"/>
              <a:gd name="connsiteX1" fmla="*/ 3590554 w 3733810"/>
              <a:gd name="connsiteY1" fmla="*/ 0 h 640800"/>
              <a:gd name="connsiteX2" fmla="*/ 3733799 w 3733810"/>
              <a:gd name="connsiteY2" fmla="*/ 335454 h 640800"/>
              <a:gd name="connsiteX3" fmla="*/ 3590554 w 3733810"/>
              <a:gd name="connsiteY3" fmla="*/ 640800 h 640800"/>
              <a:gd name="connsiteX4" fmla="*/ 0 w 3733810"/>
              <a:gd name="connsiteY4" fmla="*/ 640800 h 640800"/>
              <a:gd name="connsiteX5" fmla="*/ 0 w 3733810"/>
              <a:gd name="connsiteY5" fmla="*/ 0 h 640800"/>
              <a:gd name="connsiteX0" fmla="*/ 0 w 3762383"/>
              <a:gd name="connsiteY0" fmla="*/ 0 h 640800"/>
              <a:gd name="connsiteX1" fmla="*/ 3590554 w 3762383"/>
              <a:gd name="connsiteY1" fmla="*/ 0 h 640800"/>
              <a:gd name="connsiteX2" fmla="*/ 3762374 w 3762383"/>
              <a:gd name="connsiteY2" fmla="*/ 314023 h 640800"/>
              <a:gd name="connsiteX3" fmla="*/ 3590554 w 3762383"/>
              <a:gd name="connsiteY3" fmla="*/ 640800 h 640800"/>
              <a:gd name="connsiteX4" fmla="*/ 0 w 3762383"/>
              <a:gd name="connsiteY4" fmla="*/ 640800 h 640800"/>
              <a:gd name="connsiteX5" fmla="*/ 0 w 3762383"/>
              <a:gd name="connsiteY5" fmla="*/ 0 h 640800"/>
              <a:gd name="connsiteX0" fmla="*/ 0 w 3762374"/>
              <a:gd name="connsiteY0" fmla="*/ 0 h 640800"/>
              <a:gd name="connsiteX1" fmla="*/ 3590554 w 3762374"/>
              <a:gd name="connsiteY1" fmla="*/ 0 h 640800"/>
              <a:gd name="connsiteX2" fmla="*/ 3762374 w 3762374"/>
              <a:gd name="connsiteY2" fmla="*/ 314023 h 640800"/>
              <a:gd name="connsiteX3" fmla="*/ 3590554 w 3762374"/>
              <a:gd name="connsiteY3" fmla="*/ 640800 h 640800"/>
              <a:gd name="connsiteX4" fmla="*/ 0 w 3762374"/>
              <a:gd name="connsiteY4" fmla="*/ 640800 h 640800"/>
              <a:gd name="connsiteX5" fmla="*/ 0 w 3762374"/>
              <a:gd name="connsiteY5" fmla="*/ 0 h 640800"/>
              <a:gd name="connsiteX0" fmla="*/ 0 w 3762374"/>
              <a:gd name="connsiteY0" fmla="*/ 0 h 640800"/>
              <a:gd name="connsiteX1" fmla="*/ 3590554 w 3762374"/>
              <a:gd name="connsiteY1" fmla="*/ 0 h 640800"/>
              <a:gd name="connsiteX2" fmla="*/ 3762374 w 3762374"/>
              <a:gd name="connsiteY2" fmla="*/ 314023 h 640800"/>
              <a:gd name="connsiteX3" fmla="*/ 3590554 w 3762374"/>
              <a:gd name="connsiteY3" fmla="*/ 640800 h 640800"/>
              <a:gd name="connsiteX4" fmla="*/ 0 w 3762374"/>
              <a:gd name="connsiteY4" fmla="*/ 640800 h 640800"/>
              <a:gd name="connsiteX5" fmla="*/ 0 w 3762374"/>
              <a:gd name="connsiteY5" fmla="*/ 0 h 640800"/>
              <a:gd name="connsiteX0" fmla="*/ 0 w 3762374"/>
              <a:gd name="connsiteY0" fmla="*/ 0 h 640800"/>
              <a:gd name="connsiteX1" fmla="*/ 3590554 w 3762374"/>
              <a:gd name="connsiteY1" fmla="*/ 0 h 640800"/>
              <a:gd name="connsiteX2" fmla="*/ 3762374 w 3762374"/>
              <a:gd name="connsiteY2" fmla="*/ 314023 h 640800"/>
              <a:gd name="connsiteX3" fmla="*/ 3590554 w 3762374"/>
              <a:gd name="connsiteY3" fmla="*/ 640800 h 640800"/>
              <a:gd name="connsiteX4" fmla="*/ 0 w 3762374"/>
              <a:gd name="connsiteY4" fmla="*/ 640800 h 640800"/>
              <a:gd name="connsiteX5" fmla="*/ 0 w 3762374"/>
              <a:gd name="connsiteY5" fmla="*/ 0 h 640800"/>
              <a:gd name="connsiteX0" fmla="*/ 0 w 3762374"/>
              <a:gd name="connsiteY0" fmla="*/ 0 h 640800"/>
              <a:gd name="connsiteX1" fmla="*/ 3590554 w 3762374"/>
              <a:gd name="connsiteY1" fmla="*/ 0 h 640800"/>
              <a:gd name="connsiteX2" fmla="*/ 3762374 w 3762374"/>
              <a:gd name="connsiteY2" fmla="*/ 314023 h 640800"/>
              <a:gd name="connsiteX3" fmla="*/ 3590554 w 3762374"/>
              <a:gd name="connsiteY3" fmla="*/ 640800 h 640800"/>
              <a:gd name="connsiteX4" fmla="*/ 0 w 3762374"/>
              <a:gd name="connsiteY4" fmla="*/ 640800 h 640800"/>
              <a:gd name="connsiteX5" fmla="*/ 0 w 3762374"/>
              <a:gd name="connsiteY5" fmla="*/ 0 h 640800"/>
              <a:gd name="connsiteX0" fmla="*/ 0 w 3767136"/>
              <a:gd name="connsiteY0" fmla="*/ 0 h 640800"/>
              <a:gd name="connsiteX1" fmla="*/ 3590554 w 3767136"/>
              <a:gd name="connsiteY1" fmla="*/ 0 h 640800"/>
              <a:gd name="connsiteX2" fmla="*/ 3767136 w 3767136"/>
              <a:gd name="connsiteY2" fmla="*/ 323548 h 640800"/>
              <a:gd name="connsiteX3" fmla="*/ 3590554 w 3767136"/>
              <a:gd name="connsiteY3" fmla="*/ 640800 h 640800"/>
              <a:gd name="connsiteX4" fmla="*/ 0 w 3767136"/>
              <a:gd name="connsiteY4" fmla="*/ 640800 h 640800"/>
              <a:gd name="connsiteX5" fmla="*/ 0 w 3767136"/>
              <a:gd name="connsiteY5" fmla="*/ 0 h 640800"/>
              <a:gd name="connsiteX0" fmla="*/ 0 w 3767136"/>
              <a:gd name="connsiteY0" fmla="*/ 0 h 640800"/>
              <a:gd name="connsiteX1" fmla="*/ 3590554 w 3767136"/>
              <a:gd name="connsiteY1" fmla="*/ 0 h 640800"/>
              <a:gd name="connsiteX2" fmla="*/ 3767136 w 3767136"/>
              <a:gd name="connsiteY2" fmla="*/ 323548 h 640800"/>
              <a:gd name="connsiteX3" fmla="*/ 3590554 w 3767136"/>
              <a:gd name="connsiteY3" fmla="*/ 640800 h 640800"/>
              <a:gd name="connsiteX4" fmla="*/ 0 w 3767136"/>
              <a:gd name="connsiteY4" fmla="*/ 640800 h 640800"/>
              <a:gd name="connsiteX5" fmla="*/ 0 w 3767136"/>
              <a:gd name="connsiteY5" fmla="*/ 0 h 640800"/>
              <a:gd name="connsiteX0" fmla="*/ 0 w 3767136"/>
              <a:gd name="connsiteY0" fmla="*/ 0 h 640800"/>
              <a:gd name="connsiteX1" fmla="*/ 3590554 w 3767136"/>
              <a:gd name="connsiteY1" fmla="*/ 0 h 640800"/>
              <a:gd name="connsiteX2" fmla="*/ 3767136 w 3767136"/>
              <a:gd name="connsiteY2" fmla="*/ 323548 h 640800"/>
              <a:gd name="connsiteX3" fmla="*/ 3590554 w 3767136"/>
              <a:gd name="connsiteY3" fmla="*/ 640800 h 640800"/>
              <a:gd name="connsiteX4" fmla="*/ 0 w 3767136"/>
              <a:gd name="connsiteY4" fmla="*/ 640800 h 640800"/>
              <a:gd name="connsiteX5" fmla="*/ 0 w 3767136"/>
              <a:gd name="connsiteY5" fmla="*/ 0 h 640800"/>
              <a:gd name="connsiteX0" fmla="*/ 0 w 3590554"/>
              <a:gd name="connsiteY0" fmla="*/ 0 h 640800"/>
              <a:gd name="connsiteX1" fmla="*/ 3590554 w 3590554"/>
              <a:gd name="connsiteY1" fmla="*/ 0 h 640800"/>
              <a:gd name="connsiteX2" fmla="*/ 3590554 w 3590554"/>
              <a:gd name="connsiteY2" fmla="*/ 640800 h 640800"/>
              <a:gd name="connsiteX3" fmla="*/ 0 w 3590554"/>
              <a:gd name="connsiteY3" fmla="*/ 640800 h 640800"/>
              <a:gd name="connsiteX4" fmla="*/ 0 w 3590554"/>
              <a:gd name="connsiteY4" fmla="*/ 0 h 640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90554" h="640800">
                <a:moveTo>
                  <a:pt x="0" y="0"/>
                </a:moveTo>
                <a:lnTo>
                  <a:pt x="3590554" y="0"/>
                </a:lnTo>
                <a:lnTo>
                  <a:pt x="3590554" y="640800"/>
                </a:lnTo>
                <a:lnTo>
                  <a:pt x="0" y="640800"/>
                </a:lnTo>
                <a:lnTo>
                  <a:pt x="0" y="0"/>
                </a:lnTo>
                <a:close/>
              </a:path>
            </a:pathLst>
          </a:custGeom>
          <a:solidFill>
            <a:schemeClr val="bg2">
              <a:lumMod val="60000"/>
              <a:lumOff val="40000"/>
              <a:alpha val="32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 err="1"/>
          </a:p>
        </p:txBody>
      </p:sp>
      <p:sp>
        <p:nvSpPr>
          <p:cNvPr id="19" name="Rectangle 98">
            <a:extLst>
              <a:ext uri="{FF2B5EF4-FFF2-40B4-BE49-F238E27FC236}">
                <a16:creationId xmlns:a16="http://schemas.microsoft.com/office/drawing/2014/main" id="{EA530C59-B890-40C2-926B-BA4A08962C6C}"/>
              </a:ext>
            </a:extLst>
          </p:cNvPr>
          <p:cNvSpPr/>
          <p:nvPr/>
        </p:nvSpPr>
        <p:spPr>
          <a:xfrm>
            <a:off x="889404" y="218101"/>
            <a:ext cx="4785064" cy="33855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defTabSz="685800">
              <a:defRPr/>
            </a:pPr>
            <a:r>
              <a:rPr lang="sl-SI" sz="1600" b="1" dirty="0">
                <a:solidFill>
                  <a:schemeClr val="accent2"/>
                </a:solidFill>
              </a:rPr>
              <a:t>Trendovi</a:t>
            </a:r>
            <a:r>
              <a:rPr lang="en-GB" sz="1600" dirty="0"/>
              <a:t> </a:t>
            </a:r>
            <a:r>
              <a:rPr lang="sl-SI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u sektoru daljinskog grejanja- 4G</a:t>
            </a:r>
            <a:endParaRPr lang="en-US" sz="16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0" name="Arrow: Right 100">
            <a:extLst>
              <a:ext uri="{FF2B5EF4-FFF2-40B4-BE49-F238E27FC236}">
                <a16:creationId xmlns:a16="http://schemas.microsoft.com/office/drawing/2014/main" id="{AD7EA9FF-D035-48EB-A38D-D08A1E6ED458}"/>
              </a:ext>
            </a:extLst>
          </p:cNvPr>
          <p:cNvSpPr/>
          <p:nvPr/>
        </p:nvSpPr>
        <p:spPr>
          <a:xfrm>
            <a:off x="0" y="66977"/>
            <a:ext cx="889200" cy="640800"/>
          </a:xfrm>
          <a:prstGeom prst="rightArrow">
            <a:avLst>
              <a:gd name="adj1" fmla="val 100000"/>
              <a:gd name="adj2" fmla="val 27281"/>
            </a:avLst>
          </a:prstGeom>
          <a:gradFill flip="none" rotWithShape="1">
            <a:gsLst>
              <a:gs pos="0">
                <a:schemeClr val="accent2">
                  <a:shade val="30000"/>
                  <a:satMod val="115000"/>
                  <a:lumMod val="85000"/>
                  <a:lumOff val="15000"/>
                </a:schemeClr>
              </a:gs>
              <a:gs pos="10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0" scaled="1"/>
            <a:tileRect/>
          </a:gradFill>
          <a:ln w="9525">
            <a:noFill/>
          </a:ln>
          <a:effectLst>
            <a:outerShdw blurRad="127000" dist="38100" algn="l" rotWithShape="0">
              <a:prstClr val="black">
                <a:alpha val="5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 err="1"/>
          </a:p>
        </p:txBody>
      </p:sp>
      <p:pic>
        <p:nvPicPr>
          <p:cNvPr id="21" name="Slika 2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7783" y="921296"/>
            <a:ext cx="6431433" cy="2357579"/>
          </a:xfrm>
          <a:prstGeom prst="rect">
            <a:avLst/>
          </a:prstGeom>
        </p:spPr>
      </p:pic>
      <p:pic>
        <p:nvPicPr>
          <p:cNvPr id="23" name="Picture 22" descr="A red sign with white text&#10;&#10;AI-generated content may be incorrect.">
            <a:extLst>
              <a:ext uri="{FF2B5EF4-FFF2-40B4-BE49-F238E27FC236}">
                <a16:creationId xmlns:a16="http://schemas.microsoft.com/office/drawing/2014/main" id="{EC95A1A4-BE1D-4BEC-EB15-12B783937EFB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4100" y="113595"/>
            <a:ext cx="1203205" cy="527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9688132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7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63" presetClass="path" presetSubtype="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16667E-6 1.35802E-6 L 0.05625 1.35802E-6 " pathEditMode="relative" rAng="0" ptsTypes="AA">
                                      <p:cBhvr>
                                        <p:cTn id="17" dur="750" spd="-100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812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250"/>
                            </p:stCondLst>
                            <p:childTnLst>
                              <p:par>
                                <p:cTn id="1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750"/>
                            </p:stCondLst>
                            <p:childTnLst>
                              <p:par>
                                <p:cTn id="23" presetID="16" presetClass="entr" presetSubtype="4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25" dur="2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000"/>
                            </p:stCondLst>
                            <p:childTnLst>
                              <p:par>
                                <p:cTn id="27" presetID="16" presetClass="entr" presetSubtype="37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2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6" presetClass="entr" presetSubtype="37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3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2500"/>
                            </p:stCondLst>
                            <p:childTnLst>
                              <p:par>
                                <p:cTn id="34" presetID="17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6" dur="25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25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25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25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2750"/>
                            </p:stCondLst>
                            <p:childTnLst>
                              <p:par>
                                <p:cTn id="4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3250"/>
                            </p:stCondLst>
                            <p:childTnLst>
                              <p:par>
                                <p:cTn id="45" presetID="16" presetClass="entr" presetSubtype="4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47" dur="2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3500"/>
                            </p:stCondLst>
                            <p:childTnLst>
                              <p:par>
                                <p:cTn id="49" presetID="16" presetClass="entr" presetSubtype="37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5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6" presetClass="entr" presetSubtype="37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54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4000"/>
                            </p:stCondLst>
                            <p:childTnLst>
                              <p:par>
                                <p:cTn id="56" presetID="17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8" dur="2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" dur="2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" dur="2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2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5" fill="hold">
                            <p:stCondLst>
                              <p:cond delay="4500"/>
                            </p:stCondLst>
                            <p:childTnLst>
                              <p:par>
                                <p:cTn id="66" presetID="16" presetClass="entr" presetSubtype="4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68" dur="2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9" fill="hold">
                            <p:stCondLst>
                              <p:cond delay="4750"/>
                            </p:stCondLst>
                            <p:childTnLst>
                              <p:par>
                                <p:cTn id="70" presetID="16" presetClass="entr" presetSubtype="37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7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16" presetClass="entr" presetSubtype="37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7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5250"/>
                            </p:stCondLst>
                            <p:childTnLst>
                              <p:par>
                                <p:cTn id="77" presetID="17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9" dur="2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0" dur="2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1" dur="2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2" dur="2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/>
      <p:bldP spid="4" grpId="0"/>
      <p:bldP spid="5" grpId="0"/>
      <p:bldP spid="8" grpId="0" animBg="1"/>
      <p:bldP spid="11" grpId="0" animBg="1"/>
      <p:bldP spid="12" grpId="0"/>
      <p:bldP spid="13" grpId="0"/>
      <p:bldP spid="16" grpId="0" animBg="1"/>
      <p:bldP spid="18" grpId="0" animBg="1"/>
      <p:bldP spid="19" grpId="0"/>
      <p:bldP spid="19" grpId="1"/>
      <p:bldP spid="20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296E0D4-DCAC-4A8A-BFFF-40D2EB3F445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4600" y="1176727"/>
            <a:ext cx="4464354" cy="2162982"/>
          </a:xfrm>
          <a:prstGeom prst="rect">
            <a:avLst/>
          </a:prstGeom>
        </p:spPr>
      </p:pic>
      <p:sp>
        <p:nvSpPr>
          <p:cNvPr id="4" name="Rectangle 99">
            <a:extLst>
              <a:ext uri="{FF2B5EF4-FFF2-40B4-BE49-F238E27FC236}">
                <a16:creationId xmlns:a16="http://schemas.microsoft.com/office/drawing/2014/main" id="{BCA26B17-3E56-D45F-FB3D-8A33D1E6BFFA}"/>
              </a:ext>
            </a:extLst>
          </p:cNvPr>
          <p:cNvSpPr/>
          <p:nvPr/>
        </p:nvSpPr>
        <p:spPr>
          <a:xfrm>
            <a:off x="59961" y="28014"/>
            <a:ext cx="9084039" cy="640800"/>
          </a:xfrm>
          <a:custGeom>
            <a:avLst/>
            <a:gdLst>
              <a:gd name="connsiteX0" fmla="*/ 0 w 3590554"/>
              <a:gd name="connsiteY0" fmla="*/ 0 h 640800"/>
              <a:gd name="connsiteX1" fmla="*/ 3590554 w 3590554"/>
              <a:gd name="connsiteY1" fmla="*/ 0 h 640800"/>
              <a:gd name="connsiteX2" fmla="*/ 3590554 w 3590554"/>
              <a:gd name="connsiteY2" fmla="*/ 640800 h 640800"/>
              <a:gd name="connsiteX3" fmla="*/ 0 w 3590554"/>
              <a:gd name="connsiteY3" fmla="*/ 640800 h 640800"/>
              <a:gd name="connsiteX4" fmla="*/ 0 w 3590554"/>
              <a:gd name="connsiteY4" fmla="*/ 0 h 640800"/>
              <a:gd name="connsiteX0" fmla="*/ 0 w 3593306"/>
              <a:gd name="connsiteY0" fmla="*/ 302 h 641102"/>
              <a:gd name="connsiteX1" fmla="*/ 3590554 w 3593306"/>
              <a:gd name="connsiteY1" fmla="*/ 302 h 641102"/>
              <a:gd name="connsiteX2" fmla="*/ 3593306 w 3593306"/>
              <a:gd name="connsiteY2" fmla="*/ 0 h 641102"/>
              <a:gd name="connsiteX3" fmla="*/ 3590554 w 3593306"/>
              <a:gd name="connsiteY3" fmla="*/ 641102 h 641102"/>
              <a:gd name="connsiteX4" fmla="*/ 0 w 3593306"/>
              <a:gd name="connsiteY4" fmla="*/ 641102 h 641102"/>
              <a:gd name="connsiteX5" fmla="*/ 0 w 3593306"/>
              <a:gd name="connsiteY5" fmla="*/ 302 h 641102"/>
              <a:gd name="connsiteX0" fmla="*/ 0 w 3593675"/>
              <a:gd name="connsiteY0" fmla="*/ 302 h 641102"/>
              <a:gd name="connsiteX1" fmla="*/ 3590554 w 3593675"/>
              <a:gd name="connsiteY1" fmla="*/ 302 h 641102"/>
              <a:gd name="connsiteX2" fmla="*/ 3593306 w 3593675"/>
              <a:gd name="connsiteY2" fmla="*/ 0 h 641102"/>
              <a:gd name="connsiteX3" fmla="*/ 3590554 w 3593675"/>
              <a:gd name="connsiteY3" fmla="*/ 641102 h 641102"/>
              <a:gd name="connsiteX4" fmla="*/ 0 w 3593675"/>
              <a:gd name="connsiteY4" fmla="*/ 641102 h 641102"/>
              <a:gd name="connsiteX5" fmla="*/ 0 w 3593675"/>
              <a:gd name="connsiteY5" fmla="*/ 302 h 641102"/>
              <a:gd name="connsiteX0" fmla="*/ 0 w 3860011"/>
              <a:gd name="connsiteY0" fmla="*/ 0 h 640800"/>
              <a:gd name="connsiteX1" fmla="*/ 3590554 w 3860011"/>
              <a:gd name="connsiteY1" fmla="*/ 0 h 640800"/>
              <a:gd name="connsiteX2" fmla="*/ 3860006 w 3860011"/>
              <a:gd name="connsiteY2" fmla="*/ 485473 h 640800"/>
              <a:gd name="connsiteX3" fmla="*/ 3590554 w 3860011"/>
              <a:gd name="connsiteY3" fmla="*/ 640800 h 640800"/>
              <a:gd name="connsiteX4" fmla="*/ 0 w 3860011"/>
              <a:gd name="connsiteY4" fmla="*/ 640800 h 640800"/>
              <a:gd name="connsiteX5" fmla="*/ 0 w 3860011"/>
              <a:gd name="connsiteY5" fmla="*/ 0 h 640800"/>
              <a:gd name="connsiteX0" fmla="*/ 0 w 3733810"/>
              <a:gd name="connsiteY0" fmla="*/ 0 h 640800"/>
              <a:gd name="connsiteX1" fmla="*/ 3590554 w 3733810"/>
              <a:gd name="connsiteY1" fmla="*/ 0 h 640800"/>
              <a:gd name="connsiteX2" fmla="*/ 3733799 w 3733810"/>
              <a:gd name="connsiteY2" fmla="*/ 335454 h 640800"/>
              <a:gd name="connsiteX3" fmla="*/ 3590554 w 3733810"/>
              <a:gd name="connsiteY3" fmla="*/ 640800 h 640800"/>
              <a:gd name="connsiteX4" fmla="*/ 0 w 3733810"/>
              <a:gd name="connsiteY4" fmla="*/ 640800 h 640800"/>
              <a:gd name="connsiteX5" fmla="*/ 0 w 3733810"/>
              <a:gd name="connsiteY5" fmla="*/ 0 h 640800"/>
              <a:gd name="connsiteX0" fmla="*/ 0 w 3762383"/>
              <a:gd name="connsiteY0" fmla="*/ 0 h 640800"/>
              <a:gd name="connsiteX1" fmla="*/ 3590554 w 3762383"/>
              <a:gd name="connsiteY1" fmla="*/ 0 h 640800"/>
              <a:gd name="connsiteX2" fmla="*/ 3762374 w 3762383"/>
              <a:gd name="connsiteY2" fmla="*/ 314023 h 640800"/>
              <a:gd name="connsiteX3" fmla="*/ 3590554 w 3762383"/>
              <a:gd name="connsiteY3" fmla="*/ 640800 h 640800"/>
              <a:gd name="connsiteX4" fmla="*/ 0 w 3762383"/>
              <a:gd name="connsiteY4" fmla="*/ 640800 h 640800"/>
              <a:gd name="connsiteX5" fmla="*/ 0 w 3762383"/>
              <a:gd name="connsiteY5" fmla="*/ 0 h 640800"/>
              <a:gd name="connsiteX0" fmla="*/ 0 w 3762374"/>
              <a:gd name="connsiteY0" fmla="*/ 0 h 640800"/>
              <a:gd name="connsiteX1" fmla="*/ 3590554 w 3762374"/>
              <a:gd name="connsiteY1" fmla="*/ 0 h 640800"/>
              <a:gd name="connsiteX2" fmla="*/ 3762374 w 3762374"/>
              <a:gd name="connsiteY2" fmla="*/ 314023 h 640800"/>
              <a:gd name="connsiteX3" fmla="*/ 3590554 w 3762374"/>
              <a:gd name="connsiteY3" fmla="*/ 640800 h 640800"/>
              <a:gd name="connsiteX4" fmla="*/ 0 w 3762374"/>
              <a:gd name="connsiteY4" fmla="*/ 640800 h 640800"/>
              <a:gd name="connsiteX5" fmla="*/ 0 w 3762374"/>
              <a:gd name="connsiteY5" fmla="*/ 0 h 640800"/>
              <a:gd name="connsiteX0" fmla="*/ 0 w 3762374"/>
              <a:gd name="connsiteY0" fmla="*/ 0 h 640800"/>
              <a:gd name="connsiteX1" fmla="*/ 3590554 w 3762374"/>
              <a:gd name="connsiteY1" fmla="*/ 0 h 640800"/>
              <a:gd name="connsiteX2" fmla="*/ 3762374 w 3762374"/>
              <a:gd name="connsiteY2" fmla="*/ 314023 h 640800"/>
              <a:gd name="connsiteX3" fmla="*/ 3590554 w 3762374"/>
              <a:gd name="connsiteY3" fmla="*/ 640800 h 640800"/>
              <a:gd name="connsiteX4" fmla="*/ 0 w 3762374"/>
              <a:gd name="connsiteY4" fmla="*/ 640800 h 640800"/>
              <a:gd name="connsiteX5" fmla="*/ 0 w 3762374"/>
              <a:gd name="connsiteY5" fmla="*/ 0 h 640800"/>
              <a:gd name="connsiteX0" fmla="*/ 0 w 3762374"/>
              <a:gd name="connsiteY0" fmla="*/ 0 h 640800"/>
              <a:gd name="connsiteX1" fmla="*/ 3590554 w 3762374"/>
              <a:gd name="connsiteY1" fmla="*/ 0 h 640800"/>
              <a:gd name="connsiteX2" fmla="*/ 3762374 w 3762374"/>
              <a:gd name="connsiteY2" fmla="*/ 314023 h 640800"/>
              <a:gd name="connsiteX3" fmla="*/ 3590554 w 3762374"/>
              <a:gd name="connsiteY3" fmla="*/ 640800 h 640800"/>
              <a:gd name="connsiteX4" fmla="*/ 0 w 3762374"/>
              <a:gd name="connsiteY4" fmla="*/ 640800 h 640800"/>
              <a:gd name="connsiteX5" fmla="*/ 0 w 3762374"/>
              <a:gd name="connsiteY5" fmla="*/ 0 h 640800"/>
              <a:gd name="connsiteX0" fmla="*/ 0 w 3762374"/>
              <a:gd name="connsiteY0" fmla="*/ 0 h 640800"/>
              <a:gd name="connsiteX1" fmla="*/ 3590554 w 3762374"/>
              <a:gd name="connsiteY1" fmla="*/ 0 h 640800"/>
              <a:gd name="connsiteX2" fmla="*/ 3762374 w 3762374"/>
              <a:gd name="connsiteY2" fmla="*/ 314023 h 640800"/>
              <a:gd name="connsiteX3" fmla="*/ 3590554 w 3762374"/>
              <a:gd name="connsiteY3" fmla="*/ 640800 h 640800"/>
              <a:gd name="connsiteX4" fmla="*/ 0 w 3762374"/>
              <a:gd name="connsiteY4" fmla="*/ 640800 h 640800"/>
              <a:gd name="connsiteX5" fmla="*/ 0 w 3762374"/>
              <a:gd name="connsiteY5" fmla="*/ 0 h 640800"/>
              <a:gd name="connsiteX0" fmla="*/ 0 w 3767136"/>
              <a:gd name="connsiteY0" fmla="*/ 0 h 640800"/>
              <a:gd name="connsiteX1" fmla="*/ 3590554 w 3767136"/>
              <a:gd name="connsiteY1" fmla="*/ 0 h 640800"/>
              <a:gd name="connsiteX2" fmla="*/ 3767136 w 3767136"/>
              <a:gd name="connsiteY2" fmla="*/ 323548 h 640800"/>
              <a:gd name="connsiteX3" fmla="*/ 3590554 w 3767136"/>
              <a:gd name="connsiteY3" fmla="*/ 640800 h 640800"/>
              <a:gd name="connsiteX4" fmla="*/ 0 w 3767136"/>
              <a:gd name="connsiteY4" fmla="*/ 640800 h 640800"/>
              <a:gd name="connsiteX5" fmla="*/ 0 w 3767136"/>
              <a:gd name="connsiteY5" fmla="*/ 0 h 640800"/>
              <a:gd name="connsiteX0" fmla="*/ 0 w 3767136"/>
              <a:gd name="connsiteY0" fmla="*/ 0 h 640800"/>
              <a:gd name="connsiteX1" fmla="*/ 3590554 w 3767136"/>
              <a:gd name="connsiteY1" fmla="*/ 0 h 640800"/>
              <a:gd name="connsiteX2" fmla="*/ 3767136 w 3767136"/>
              <a:gd name="connsiteY2" fmla="*/ 323548 h 640800"/>
              <a:gd name="connsiteX3" fmla="*/ 3590554 w 3767136"/>
              <a:gd name="connsiteY3" fmla="*/ 640800 h 640800"/>
              <a:gd name="connsiteX4" fmla="*/ 0 w 3767136"/>
              <a:gd name="connsiteY4" fmla="*/ 640800 h 640800"/>
              <a:gd name="connsiteX5" fmla="*/ 0 w 3767136"/>
              <a:gd name="connsiteY5" fmla="*/ 0 h 640800"/>
              <a:gd name="connsiteX0" fmla="*/ 0 w 3767136"/>
              <a:gd name="connsiteY0" fmla="*/ 0 h 640800"/>
              <a:gd name="connsiteX1" fmla="*/ 3590554 w 3767136"/>
              <a:gd name="connsiteY1" fmla="*/ 0 h 640800"/>
              <a:gd name="connsiteX2" fmla="*/ 3767136 w 3767136"/>
              <a:gd name="connsiteY2" fmla="*/ 323548 h 640800"/>
              <a:gd name="connsiteX3" fmla="*/ 3590554 w 3767136"/>
              <a:gd name="connsiteY3" fmla="*/ 640800 h 640800"/>
              <a:gd name="connsiteX4" fmla="*/ 0 w 3767136"/>
              <a:gd name="connsiteY4" fmla="*/ 640800 h 640800"/>
              <a:gd name="connsiteX5" fmla="*/ 0 w 3767136"/>
              <a:gd name="connsiteY5" fmla="*/ 0 h 640800"/>
              <a:gd name="connsiteX0" fmla="*/ 0 w 3590554"/>
              <a:gd name="connsiteY0" fmla="*/ 0 h 640800"/>
              <a:gd name="connsiteX1" fmla="*/ 3590554 w 3590554"/>
              <a:gd name="connsiteY1" fmla="*/ 0 h 640800"/>
              <a:gd name="connsiteX2" fmla="*/ 3590554 w 3590554"/>
              <a:gd name="connsiteY2" fmla="*/ 640800 h 640800"/>
              <a:gd name="connsiteX3" fmla="*/ 0 w 3590554"/>
              <a:gd name="connsiteY3" fmla="*/ 640800 h 640800"/>
              <a:gd name="connsiteX4" fmla="*/ 0 w 3590554"/>
              <a:gd name="connsiteY4" fmla="*/ 0 h 640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90554" h="640800">
                <a:moveTo>
                  <a:pt x="0" y="0"/>
                </a:moveTo>
                <a:lnTo>
                  <a:pt x="3590554" y="0"/>
                </a:lnTo>
                <a:lnTo>
                  <a:pt x="3590554" y="640800"/>
                </a:lnTo>
                <a:lnTo>
                  <a:pt x="0" y="640800"/>
                </a:lnTo>
                <a:lnTo>
                  <a:pt x="0" y="0"/>
                </a:lnTo>
                <a:close/>
              </a:path>
            </a:pathLst>
          </a:custGeom>
          <a:solidFill>
            <a:schemeClr val="bg2">
              <a:lumMod val="60000"/>
              <a:lumOff val="40000"/>
              <a:alpha val="32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 err="1"/>
          </a:p>
        </p:txBody>
      </p:sp>
      <p:sp>
        <p:nvSpPr>
          <p:cNvPr id="5" name="Rectangle 98">
            <a:extLst>
              <a:ext uri="{FF2B5EF4-FFF2-40B4-BE49-F238E27FC236}">
                <a16:creationId xmlns:a16="http://schemas.microsoft.com/office/drawing/2014/main" id="{0A60A4D3-E609-CD66-6542-D7922AC78D92}"/>
              </a:ext>
            </a:extLst>
          </p:cNvPr>
          <p:cNvSpPr/>
          <p:nvPr/>
        </p:nvSpPr>
        <p:spPr>
          <a:xfrm>
            <a:off x="949161" y="228598"/>
            <a:ext cx="7805095" cy="33855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defTabSz="685800">
              <a:defRPr/>
            </a:pPr>
            <a:r>
              <a:rPr lang="sl-SI" sz="1600" b="1" dirty="0">
                <a:solidFill>
                  <a:schemeClr val="accent2"/>
                </a:solidFill>
              </a:rPr>
              <a:t>Trendovi</a:t>
            </a:r>
            <a:r>
              <a:rPr lang="en-GB" sz="1600" dirty="0"/>
              <a:t> </a:t>
            </a:r>
            <a:r>
              <a:rPr lang="sl-SI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u sektoru daljinskog grejanja – 4G</a:t>
            </a:r>
            <a:endParaRPr lang="en-US" sz="12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6" name="Arrow: Right 100">
            <a:extLst>
              <a:ext uri="{FF2B5EF4-FFF2-40B4-BE49-F238E27FC236}">
                <a16:creationId xmlns:a16="http://schemas.microsoft.com/office/drawing/2014/main" id="{19D2623B-F51E-6E71-DB71-21BAF8740B37}"/>
              </a:ext>
            </a:extLst>
          </p:cNvPr>
          <p:cNvSpPr/>
          <p:nvPr/>
        </p:nvSpPr>
        <p:spPr>
          <a:xfrm>
            <a:off x="0" y="66977"/>
            <a:ext cx="889200" cy="640800"/>
          </a:xfrm>
          <a:prstGeom prst="rightArrow">
            <a:avLst>
              <a:gd name="adj1" fmla="val 100000"/>
              <a:gd name="adj2" fmla="val 27281"/>
            </a:avLst>
          </a:prstGeom>
          <a:gradFill flip="none" rotWithShape="1">
            <a:gsLst>
              <a:gs pos="0">
                <a:schemeClr val="accent2">
                  <a:shade val="30000"/>
                  <a:satMod val="115000"/>
                  <a:lumMod val="85000"/>
                  <a:lumOff val="15000"/>
                </a:schemeClr>
              </a:gs>
              <a:gs pos="10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0" scaled="1"/>
            <a:tileRect/>
          </a:gradFill>
          <a:ln w="9525">
            <a:noFill/>
          </a:ln>
          <a:effectLst>
            <a:outerShdw blurRad="127000" dist="38100" algn="l" rotWithShape="0">
              <a:prstClr val="black">
                <a:alpha val="5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 err="1"/>
          </a:p>
        </p:txBody>
      </p:sp>
      <p:sp>
        <p:nvSpPr>
          <p:cNvPr id="9" name="Rectangle 98">
            <a:extLst>
              <a:ext uri="{FF2B5EF4-FFF2-40B4-BE49-F238E27FC236}">
                <a16:creationId xmlns:a16="http://schemas.microsoft.com/office/drawing/2014/main" id="{0C45BB0D-3D41-C852-1FB2-F8CAB9F76A4B}"/>
              </a:ext>
            </a:extLst>
          </p:cNvPr>
          <p:cNvSpPr/>
          <p:nvPr/>
        </p:nvSpPr>
        <p:spPr>
          <a:xfrm>
            <a:off x="5300270" y="843354"/>
            <a:ext cx="2674498" cy="52322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defTabSz="685800">
              <a:defRPr/>
            </a:pPr>
            <a:r>
              <a:rPr lang="sl-SI" sz="1400" dirty="0"/>
              <a:t>Trend </a:t>
            </a:r>
            <a:r>
              <a:rPr lang="sl-SI" sz="1400" b="1" dirty="0">
                <a:solidFill>
                  <a:schemeClr val="accent2"/>
                </a:solidFill>
              </a:rPr>
              <a:t>rasta OIE </a:t>
            </a:r>
            <a:r>
              <a:rPr lang="sl-SI" sz="1400" dirty="0"/>
              <a:t>do 2050 godine</a:t>
            </a:r>
            <a:endParaRPr lang="en-US" sz="1400" dirty="0"/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44CA8F66-6D4C-C7BD-9F5C-8498DE6BFA2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44446359"/>
              </p:ext>
            </p:extLst>
          </p:nvPr>
        </p:nvGraphicFramePr>
        <p:xfrm>
          <a:off x="5300269" y="1458999"/>
          <a:ext cx="2809409" cy="14967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itle 1">
            <a:extLst>
              <a:ext uri="{FF2B5EF4-FFF2-40B4-BE49-F238E27FC236}">
                <a16:creationId xmlns:a16="http://schemas.microsoft.com/office/drawing/2014/main" id="{BDA1F7E8-7308-21E4-DF62-723C0A0A95DB}"/>
              </a:ext>
            </a:extLst>
          </p:cNvPr>
          <p:cNvSpPr txBox="1">
            <a:spLocks/>
          </p:cNvSpPr>
          <p:nvPr/>
        </p:nvSpPr>
        <p:spPr>
          <a:xfrm>
            <a:off x="319282" y="3339709"/>
            <a:ext cx="4464354" cy="369332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685800">
              <a:defRPr/>
            </a:pPr>
            <a:r>
              <a:rPr lang="sl-SI" sz="1200" b="1" kern="0" cap="all" dirty="0">
                <a:solidFill>
                  <a:schemeClr val="tx1"/>
                </a:solidFill>
              </a:rPr>
              <a:t>Cilj: do 2050 godine fosilna goriva zameniti </a:t>
            </a:r>
            <a:r>
              <a:rPr lang="sl-SI" sz="1200" b="1" kern="0" cap="all" dirty="0">
                <a:solidFill>
                  <a:srgbClr val="FF0000"/>
                </a:solidFill>
              </a:rPr>
              <a:t>obnovljivim</a:t>
            </a:r>
            <a:r>
              <a:rPr lang="sl-SI" sz="1200" b="1" kern="0" cap="all" dirty="0">
                <a:solidFill>
                  <a:schemeClr val="tx1"/>
                </a:solidFill>
              </a:rPr>
              <a:t> izvorima energije</a:t>
            </a:r>
            <a:endParaRPr lang="en-US" sz="1200" b="1" kern="0" cap="all" dirty="0">
              <a:solidFill>
                <a:schemeClr val="tx1"/>
              </a:solidFill>
            </a:endParaRPr>
          </a:p>
        </p:txBody>
      </p:sp>
      <p:sp>
        <p:nvSpPr>
          <p:cNvPr id="11" name="Rectangle 98">
            <a:extLst>
              <a:ext uri="{FF2B5EF4-FFF2-40B4-BE49-F238E27FC236}">
                <a16:creationId xmlns:a16="http://schemas.microsoft.com/office/drawing/2014/main" id="{8FEC7D71-444B-CADE-DFD7-F0B56C10A20C}"/>
              </a:ext>
            </a:extLst>
          </p:cNvPr>
          <p:cNvSpPr/>
          <p:nvPr/>
        </p:nvSpPr>
        <p:spPr>
          <a:xfrm>
            <a:off x="5626708" y="2852038"/>
            <a:ext cx="3708819" cy="276999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defTabSz="685800">
              <a:defRPr/>
            </a:pPr>
            <a:r>
              <a:rPr lang="sl-SI" sz="1200" b="1" dirty="0">
                <a:solidFill>
                  <a:schemeClr val="accent2"/>
                </a:solidFill>
              </a:rPr>
              <a:t>Udeo OIE </a:t>
            </a:r>
            <a:r>
              <a:rPr lang="sl-SI" sz="1200" dirty="0"/>
              <a:t>u Srbiji</a:t>
            </a:r>
            <a:endParaRPr lang="en-US" sz="1200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8A156F22-1158-9EFF-07F0-BD580DCFC29F}"/>
              </a:ext>
            </a:extLst>
          </p:cNvPr>
          <p:cNvSpPr txBox="1">
            <a:spLocks/>
          </p:cNvSpPr>
          <p:nvPr/>
        </p:nvSpPr>
        <p:spPr>
          <a:xfrm>
            <a:off x="259322" y="3847622"/>
            <a:ext cx="4464354" cy="738664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685800">
              <a:defRPr/>
            </a:pPr>
            <a:r>
              <a:rPr lang="sl-SI" sz="1200" b="1" kern="0" cap="all" dirty="0">
                <a:solidFill>
                  <a:schemeClr val="tx1"/>
                </a:solidFill>
              </a:rPr>
              <a:t>ALTERNATIVNI 	i oie :                                      BIOMASA, HIDROPOTENCIJAL, SUNČEVA ENERGIJA, ENERGIJA VETRA, GEOTERMALNA ENERGIJA, OTPADNA TOPLOTA</a:t>
            </a:r>
            <a:endParaRPr lang="en-US" sz="1200" b="1" kern="0" cap="all" dirty="0">
              <a:solidFill>
                <a:schemeClr val="tx1"/>
              </a:solidFill>
            </a:endParaRPr>
          </a:p>
        </p:txBody>
      </p: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8E4381D9-0A93-624C-13B0-9F865F0C1EE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72035372"/>
              </p:ext>
            </p:extLst>
          </p:nvPr>
        </p:nvGraphicFramePr>
        <p:xfrm>
          <a:off x="5441430" y="3048157"/>
          <a:ext cx="2809408" cy="17026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pic>
        <p:nvPicPr>
          <p:cNvPr id="10" name="Picture 9" descr="A red sign with white text&#10;&#10;AI-generated content may be incorrect.">
            <a:extLst>
              <a:ext uri="{FF2B5EF4-FFF2-40B4-BE49-F238E27FC236}">
                <a16:creationId xmlns:a16="http://schemas.microsoft.com/office/drawing/2014/main" id="{890AA49C-B3DA-6992-B4E8-E48F0235764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4100" y="113595"/>
            <a:ext cx="1203205" cy="527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057979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3" presetClass="path" presetSubtype="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33333E-6 1.60494E-6 L 0.05625 1.60494E-6 " pathEditMode="relative" rAng="0" ptsTypes="AA">
                                      <p:cBhvr>
                                        <p:cTn id="12" dur="750" spd="-100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812" y="0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17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63" presetClass="path" presetSubtype="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94444E-6 -4.81481E-6 L 0.05625 -4.81481E-6 " pathEditMode="relative" rAng="0" ptsTypes="AA">
                                      <p:cBhvr>
                                        <p:cTn id="21" dur="750" spd="-100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812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750"/>
                            </p:stCondLst>
                            <p:childTnLst>
                              <p:par>
                                <p:cTn id="2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63" presetClass="path" presetSubtype="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-1.48148E-6 L 0.05625 -1.48148E-6 " pathEditMode="relative" rAng="0" ptsTypes="AA">
                                      <p:cBhvr>
                                        <p:cTn id="30" dur="750" spd="-100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812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1500"/>
                            </p:stCondLst>
                            <p:childTnLst>
                              <p:par>
                                <p:cTn id="3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/>
      <p:bldP spid="5" grpId="1"/>
      <p:bldP spid="6" grpId="0" animBg="1"/>
      <p:bldP spid="9" grpId="0"/>
      <p:bldP spid="9" grpId="1"/>
      <p:bldP spid="7" grpId="0"/>
      <p:bldP spid="11" grpId="0"/>
      <p:bldP spid="11" grpId="1"/>
      <p:bldP spid="12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296E0D4-DCAC-4A8A-BFFF-40D2EB3F445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8593" y="1773587"/>
            <a:ext cx="4464354" cy="2162982"/>
          </a:xfrm>
          <a:prstGeom prst="rect">
            <a:avLst/>
          </a:prstGeom>
        </p:spPr>
      </p:pic>
      <p:sp>
        <p:nvSpPr>
          <p:cNvPr id="4" name="Rectangle 99">
            <a:extLst>
              <a:ext uri="{FF2B5EF4-FFF2-40B4-BE49-F238E27FC236}">
                <a16:creationId xmlns:a16="http://schemas.microsoft.com/office/drawing/2014/main" id="{BCA26B17-3E56-D45F-FB3D-8A33D1E6BFFA}"/>
              </a:ext>
            </a:extLst>
          </p:cNvPr>
          <p:cNvSpPr/>
          <p:nvPr/>
        </p:nvSpPr>
        <p:spPr>
          <a:xfrm>
            <a:off x="59961" y="28014"/>
            <a:ext cx="9084039" cy="640800"/>
          </a:xfrm>
          <a:custGeom>
            <a:avLst/>
            <a:gdLst>
              <a:gd name="connsiteX0" fmla="*/ 0 w 3590554"/>
              <a:gd name="connsiteY0" fmla="*/ 0 h 640800"/>
              <a:gd name="connsiteX1" fmla="*/ 3590554 w 3590554"/>
              <a:gd name="connsiteY1" fmla="*/ 0 h 640800"/>
              <a:gd name="connsiteX2" fmla="*/ 3590554 w 3590554"/>
              <a:gd name="connsiteY2" fmla="*/ 640800 h 640800"/>
              <a:gd name="connsiteX3" fmla="*/ 0 w 3590554"/>
              <a:gd name="connsiteY3" fmla="*/ 640800 h 640800"/>
              <a:gd name="connsiteX4" fmla="*/ 0 w 3590554"/>
              <a:gd name="connsiteY4" fmla="*/ 0 h 640800"/>
              <a:gd name="connsiteX0" fmla="*/ 0 w 3593306"/>
              <a:gd name="connsiteY0" fmla="*/ 302 h 641102"/>
              <a:gd name="connsiteX1" fmla="*/ 3590554 w 3593306"/>
              <a:gd name="connsiteY1" fmla="*/ 302 h 641102"/>
              <a:gd name="connsiteX2" fmla="*/ 3593306 w 3593306"/>
              <a:gd name="connsiteY2" fmla="*/ 0 h 641102"/>
              <a:gd name="connsiteX3" fmla="*/ 3590554 w 3593306"/>
              <a:gd name="connsiteY3" fmla="*/ 641102 h 641102"/>
              <a:gd name="connsiteX4" fmla="*/ 0 w 3593306"/>
              <a:gd name="connsiteY4" fmla="*/ 641102 h 641102"/>
              <a:gd name="connsiteX5" fmla="*/ 0 w 3593306"/>
              <a:gd name="connsiteY5" fmla="*/ 302 h 641102"/>
              <a:gd name="connsiteX0" fmla="*/ 0 w 3593675"/>
              <a:gd name="connsiteY0" fmla="*/ 302 h 641102"/>
              <a:gd name="connsiteX1" fmla="*/ 3590554 w 3593675"/>
              <a:gd name="connsiteY1" fmla="*/ 302 h 641102"/>
              <a:gd name="connsiteX2" fmla="*/ 3593306 w 3593675"/>
              <a:gd name="connsiteY2" fmla="*/ 0 h 641102"/>
              <a:gd name="connsiteX3" fmla="*/ 3590554 w 3593675"/>
              <a:gd name="connsiteY3" fmla="*/ 641102 h 641102"/>
              <a:gd name="connsiteX4" fmla="*/ 0 w 3593675"/>
              <a:gd name="connsiteY4" fmla="*/ 641102 h 641102"/>
              <a:gd name="connsiteX5" fmla="*/ 0 w 3593675"/>
              <a:gd name="connsiteY5" fmla="*/ 302 h 641102"/>
              <a:gd name="connsiteX0" fmla="*/ 0 w 3860011"/>
              <a:gd name="connsiteY0" fmla="*/ 0 h 640800"/>
              <a:gd name="connsiteX1" fmla="*/ 3590554 w 3860011"/>
              <a:gd name="connsiteY1" fmla="*/ 0 h 640800"/>
              <a:gd name="connsiteX2" fmla="*/ 3860006 w 3860011"/>
              <a:gd name="connsiteY2" fmla="*/ 485473 h 640800"/>
              <a:gd name="connsiteX3" fmla="*/ 3590554 w 3860011"/>
              <a:gd name="connsiteY3" fmla="*/ 640800 h 640800"/>
              <a:gd name="connsiteX4" fmla="*/ 0 w 3860011"/>
              <a:gd name="connsiteY4" fmla="*/ 640800 h 640800"/>
              <a:gd name="connsiteX5" fmla="*/ 0 w 3860011"/>
              <a:gd name="connsiteY5" fmla="*/ 0 h 640800"/>
              <a:gd name="connsiteX0" fmla="*/ 0 w 3733810"/>
              <a:gd name="connsiteY0" fmla="*/ 0 h 640800"/>
              <a:gd name="connsiteX1" fmla="*/ 3590554 w 3733810"/>
              <a:gd name="connsiteY1" fmla="*/ 0 h 640800"/>
              <a:gd name="connsiteX2" fmla="*/ 3733799 w 3733810"/>
              <a:gd name="connsiteY2" fmla="*/ 335454 h 640800"/>
              <a:gd name="connsiteX3" fmla="*/ 3590554 w 3733810"/>
              <a:gd name="connsiteY3" fmla="*/ 640800 h 640800"/>
              <a:gd name="connsiteX4" fmla="*/ 0 w 3733810"/>
              <a:gd name="connsiteY4" fmla="*/ 640800 h 640800"/>
              <a:gd name="connsiteX5" fmla="*/ 0 w 3733810"/>
              <a:gd name="connsiteY5" fmla="*/ 0 h 640800"/>
              <a:gd name="connsiteX0" fmla="*/ 0 w 3762383"/>
              <a:gd name="connsiteY0" fmla="*/ 0 h 640800"/>
              <a:gd name="connsiteX1" fmla="*/ 3590554 w 3762383"/>
              <a:gd name="connsiteY1" fmla="*/ 0 h 640800"/>
              <a:gd name="connsiteX2" fmla="*/ 3762374 w 3762383"/>
              <a:gd name="connsiteY2" fmla="*/ 314023 h 640800"/>
              <a:gd name="connsiteX3" fmla="*/ 3590554 w 3762383"/>
              <a:gd name="connsiteY3" fmla="*/ 640800 h 640800"/>
              <a:gd name="connsiteX4" fmla="*/ 0 w 3762383"/>
              <a:gd name="connsiteY4" fmla="*/ 640800 h 640800"/>
              <a:gd name="connsiteX5" fmla="*/ 0 w 3762383"/>
              <a:gd name="connsiteY5" fmla="*/ 0 h 640800"/>
              <a:gd name="connsiteX0" fmla="*/ 0 w 3762374"/>
              <a:gd name="connsiteY0" fmla="*/ 0 h 640800"/>
              <a:gd name="connsiteX1" fmla="*/ 3590554 w 3762374"/>
              <a:gd name="connsiteY1" fmla="*/ 0 h 640800"/>
              <a:gd name="connsiteX2" fmla="*/ 3762374 w 3762374"/>
              <a:gd name="connsiteY2" fmla="*/ 314023 h 640800"/>
              <a:gd name="connsiteX3" fmla="*/ 3590554 w 3762374"/>
              <a:gd name="connsiteY3" fmla="*/ 640800 h 640800"/>
              <a:gd name="connsiteX4" fmla="*/ 0 w 3762374"/>
              <a:gd name="connsiteY4" fmla="*/ 640800 h 640800"/>
              <a:gd name="connsiteX5" fmla="*/ 0 w 3762374"/>
              <a:gd name="connsiteY5" fmla="*/ 0 h 640800"/>
              <a:gd name="connsiteX0" fmla="*/ 0 w 3762374"/>
              <a:gd name="connsiteY0" fmla="*/ 0 h 640800"/>
              <a:gd name="connsiteX1" fmla="*/ 3590554 w 3762374"/>
              <a:gd name="connsiteY1" fmla="*/ 0 h 640800"/>
              <a:gd name="connsiteX2" fmla="*/ 3762374 w 3762374"/>
              <a:gd name="connsiteY2" fmla="*/ 314023 h 640800"/>
              <a:gd name="connsiteX3" fmla="*/ 3590554 w 3762374"/>
              <a:gd name="connsiteY3" fmla="*/ 640800 h 640800"/>
              <a:gd name="connsiteX4" fmla="*/ 0 w 3762374"/>
              <a:gd name="connsiteY4" fmla="*/ 640800 h 640800"/>
              <a:gd name="connsiteX5" fmla="*/ 0 w 3762374"/>
              <a:gd name="connsiteY5" fmla="*/ 0 h 640800"/>
              <a:gd name="connsiteX0" fmla="*/ 0 w 3762374"/>
              <a:gd name="connsiteY0" fmla="*/ 0 h 640800"/>
              <a:gd name="connsiteX1" fmla="*/ 3590554 w 3762374"/>
              <a:gd name="connsiteY1" fmla="*/ 0 h 640800"/>
              <a:gd name="connsiteX2" fmla="*/ 3762374 w 3762374"/>
              <a:gd name="connsiteY2" fmla="*/ 314023 h 640800"/>
              <a:gd name="connsiteX3" fmla="*/ 3590554 w 3762374"/>
              <a:gd name="connsiteY3" fmla="*/ 640800 h 640800"/>
              <a:gd name="connsiteX4" fmla="*/ 0 w 3762374"/>
              <a:gd name="connsiteY4" fmla="*/ 640800 h 640800"/>
              <a:gd name="connsiteX5" fmla="*/ 0 w 3762374"/>
              <a:gd name="connsiteY5" fmla="*/ 0 h 640800"/>
              <a:gd name="connsiteX0" fmla="*/ 0 w 3762374"/>
              <a:gd name="connsiteY0" fmla="*/ 0 h 640800"/>
              <a:gd name="connsiteX1" fmla="*/ 3590554 w 3762374"/>
              <a:gd name="connsiteY1" fmla="*/ 0 h 640800"/>
              <a:gd name="connsiteX2" fmla="*/ 3762374 w 3762374"/>
              <a:gd name="connsiteY2" fmla="*/ 314023 h 640800"/>
              <a:gd name="connsiteX3" fmla="*/ 3590554 w 3762374"/>
              <a:gd name="connsiteY3" fmla="*/ 640800 h 640800"/>
              <a:gd name="connsiteX4" fmla="*/ 0 w 3762374"/>
              <a:gd name="connsiteY4" fmla="*/ 640800 h 640800"/>
              <a:gd name="connsiteX5" fmla="*/ 0 w 3762374"/>
              <a:gd name="connsiteY5" fmla="*/ 0 h 640800"/>
              <a:gd name="connsiteX0" fmla="*/ 0 w 3767136"/>
              <a:gd name="connsiteY0" fmla="*/ 0 h 640800"/>
              <a:gd name="connsiteX1" fmla="*/ 3590554 w 3767136"/>
              <a:gd name="connsiteY1" fmla="*/ 0 h 640800"/>
              <a:gd name="connsiteX2" fmla="*/ 3767136 w 3767136"/>
              <a:gd name="connsiteY2" fmla="*/ 323548 h 640800"/>
              <a:gd name="connsiteX3" fmla="*/ 3590554 w 3767136"/>
              <a:gd name="connsiteY3" fmla="*/ 640800 h 640800"/>
              <a:gd name="connsiteX4" fmla="*/ 0 w 3767136"/>
              <a:gd name="connsiteY4" fmla="*/ 640800 h 640800"/>
              <a:gd name="connsiteX5" fmla="*/ 0 w 3767136"/>
              <a:gd name="connsiteY5" fmla="*/ 0 h 640800"/>
              <a:gd name="connsiteX0" fmla="*/ 0 w 3767136"/>
              <a:gd name="connsiteY0" fmla="*/ 0 h 640800"/>
              <a:gd name="connsiteX1" fmla="*/ 3590554 w 3767136"/>
              <a:gd name="connsiteY1" fmla="*/ 0 h 640800"/>
              <a:gd name="connsiteX2" fmla="*/ 3767136 w 3767136"/>
              <a:gd name="connsiteY2" fmla="*/ 323548 h 640800"/>
              <a:gd name="connsiteX3" fmla="*/ 3590554 w 3767136"/>
              <a:gd name="connsiteY3" fmla="*/ 640800 h 640800"/>
              <a:gd name="connsiteX4" fmla="*/ 0 w 3767136"/>
              <a:gd name="connsiteY4" fmla="*/ 640800 h 640800"/>
              <a:gd name="connsiteX5" fmla="*/ 0 w 3767136"/>
              <a:gd name="connsiteY5" fmla="*/ 0 h 640800"/>
              <a:gd name="connsiteX0" fmla="*/ 0 w 3767136"/>
              <a:gd name="connsiteY0" fmla="*/ 0 h 640800"/>
              <a:gd name="connsiteX1" fmla="*/ 3590554 w 3767136"/>
              <a:gd name="connsiteY1" fmla="*/ 0 h 640800"/>
              <a:gd name="connsiteX2" fmla="*/ 3767136 w 3767136"/>
              <a:gd name="connsiteY2" fmla="*/ 323548 h 640800"/>
              <a:gd name="connsiteX3" fmla="*/ 3590554 w 3767136"/>
              <a:gd name="connsiteY3" fmla="*/ 640800 h 640800"/>
              <a:gd name="connsiteX4" fmla="*/ 0 w 3767136"/>
              <a:gd name="connsiteY4" fmla="*/ 640800 h 640800"/>
              <a:gd name="connsiteX5" fmla="*/ 0 w 3767136"/>
              <a:gd name="connsiteY5" fmla="*/ 0 h 640800"/>
              <a:gd name="connsiteX0" fmla="*/ 0 w 3590554"/>
              <a:gd name="connsiteY0" fmla="*/ 0 h 640800"/>
              <a:gd name="connsiteX1" fmla="*/ 3590554 w 3590554"/>
              <a:gd name="connsiteY1" fmla="*/ 0 h 640800"/>
              <a:gd name="connsiteX2" fmla="*/ 3590554 w 3590554"/>
              <a:gd name="connsiteY2" fmla="*/ 640800 h 640800"/>
              <a:gd name="connsiteX3" fmla="*/ 0 w 3590554"/>
              <a:gd name="connsiteY3" fmla="*/ 640800 h 640800"/>
              <a:gd name="connsiteX4" fmla="*/ 0 w 3590554"/>
              <a:gd name="connsiteY4" fmla="*/ 0 h 640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90554" h="640800">
                <a:moveTo>
                  <a:pt x="0" y="0"/>
                </a:moveTo>
                <a:lnTo>
                  <a:pt x="3590554" y="0"/>
                </a:lnTo>
                <a:lnTo>
                  <a:pt x="3590554" y="640800"/>
                </a:lnTo>
                <a:lnTo>
                  <a:pt x="0" y="640800"/>
                </a:lnTo>
                <a:lnTo>
                  <a:pt x="0" y="0"/>
                </a:lnTo>
                <a:close/>
              </a:path>
            </a:pathLst>
          </a:custGeom>
          <a:solidFill>
            <a:schemeClr val="bg2">
              <a:lumMod val="60000"/>
              <a:lumOff val="40000"/>
              <a:alpha val="32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" name="Arrow: Right 100">
            <a:extLst>
              <a:ext uri="{FF2B5EF4-FFF2-40B4-BE49-F238E27FC236}">
                <a16:creationId xmlns:a16="http://schemas.microsoft.com/office/drawing/2014/main" id="{19D2623B-F51E-6E71-DB71-21BAF8740B37}"/>
              </a:ext>
            </a:extLst>
          </p:cNvPr>
          <p:cNvSpPr/>
          <p:nvPr/>
        </p:nvSpPr>
        <p:spPr>
          <a:xfrm>
            <a:off x="0" y="66977"/>
            <a:ext cx="889200" cy="640800"/>
          </a:xfrm>
          <a:prstGeom prst="rightArrow">
            <a:avLst>
              <a:gd name="adj1" fmla="val 100000"/>
              <a:gd name="adj2" fmla="val 27281"/>
            </a:avLst>
          </a:prstGeom>
          <a:gradFill flip="none" rotWithShape="1">
            <a:gsLst>
              <a:gs pos="0">
                <a:schemeClr val="accent2">
                  <a:shade val="30000"/>
                  <a:satMod val="115000"/>
                  <a:lumMod val="85000"/>
                  <a:lumOff val="15000"/>
                </a:schemeClr>
              </a:gs>
              <a:gs pos="10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0" scaled="1"/>
            <a:tileRect/>
          </a:gradFill>
          <a:ln w="9525">
            <a:noFill/>
          </a:ln>
          <a:effectLst>
            <a:outerShdw blurRad="127000" dist="38100" algn="l" rotWithShape="0">
              <a:prstClr val="black">
                <a:alpha val="5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" name="Rectangle 98">
            <a:extLst>
              <a:ext uri="{FF2B5EF4-FFF2-40B4-BE49-F238E27FC236}">
                <a16:creationId xmlns:a16="http://schemas.microsoft.com/office/drawing/2014/main" id="{9EFE6B17-F443-295D-7E4D-BCD328B73B95}"/>
              </a:ext>
            </a:extLst>
          </p:cNvPr>
          <p:cNvSpPr/>
          <p:nvPr/>
        </p:nvSpPr>
        <p:spPr>
          <a:xfrm>
            <a:off x="5246557" y="869398"/>
            <a:ext cx="3897443" cy="353943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l-SI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/>
                <a:ea typeface="+mn-ea"/>
                <a:cs typeface="+mn-cs"/>
              </a:rPr>
              <a:t>U energetici </a:t>
            </a:r>
            <a:r>
              <a:rPr kumimoji="0" lang="sl-SI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/>
                <a:ea typeface="+mn-ea"/>
                <a:cs typeface="+mn-cs"/>
              </a:rPr>
              <a:t>je planiranje</a:t>
            </a:r>
            <a:r>
              <a:rPr kumimoji="0" lang="sl-SI" sz="1400" b="1" i="0" u="none" strike="noStrike" kern="1200" cap="none" spc="0" normalizeH="0" baseline="0" noProof="0" dirty="0">
                <a:ln>
                  <a:noFill/>
                </a:ln>
                <a:solidFill>
                  <a:srgbClr val="E60A1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sl-SI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/>
                <a:ea typeface="+mn-ea"/>
                <a:cs typeface="+mn-cs"/>
              </a:rPr>
              <a:t>proizvodnje </a:t>
            </a:r>
            <a:r>
              <a:rPr kumimoji="0" lang="sl-SI" sz="1400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sl-SI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sl-SI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/>
                <a:ea typeface="+mn-ea"/>
                <a:cs typeface="+mn-cs"/>
              </a:rPr>
              <a:t>i</a:t>
            </a:r>
            <a:r>
              <a:rPr kumimoji="0" lang="sl-SI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sl-SI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/>
                <a:ea typeface="+mn-ea"/>
                <a:cs typeface="+mn-cs"/>
              </a:rPr>
              <a:t>potrošnje</a:t>
            </a:r>
            <a:r>
              <a:rPr kumimoji="0" lang="sl-SI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sl-SI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/>
                <a:ea typeface="+mn-ea"/>
                <a:cs typeface="+mn-cs"/>
              </a:rPr>
              <a:t>veoma</a:t>
            </a:r>
            <a:r>
              <a:rPr kumimoji="0" lang="sl-SI" sz="1400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latin typeface="Verdana"/>
                <a:ea typeface="+mn-ea"/>
                <a:cs typeface="+mn-cs"/>
              </a:rPr>
              <a:t> važno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l-SI" sz="1400" i="0" u="none" strike="noStrike" kern="1200" cap="none" spc="0" normalizeH="0" noProof="0" dirty="0">
              <a:ln>
                <a:noFill/>
              </a:ln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defTabSz="685800">
              <a:defRPr/>
            </a:pPr>
            <a:r>
              <a:rPr lang="sl-SI" sz="1400" dirty="0"/>
              <a:t>Intermitentnost / nepredvidivost OIE</a:t>
            </a:r>
          </a:p>
          <a:p>
            <a:pPr defTabSz="685800">
              <a:defRPr/>
            </a:pPr>
            <a:endParaRPr lang="sl-SI" sz="1400" dirty="0"/>
          </a:p>
          <a:p>
            <a:pPr defTabSz="685800">
              <a:defRPr/>
            </a:pPr>
            <a:r>
              <a:rPr lang="sl-SI" sz="1400" dirty="0"/>
              <a:t>Održavanje </a:t>
            </a:r>
            <a:r>
              <a:rPr lang="sl-SI" sz="1400" b="1" dirty="0"/>
              <a:t>stabilnosti</a:t>
            </a:r>
            <a:r>
              <a:rPr lang="sl-SI" sz="1400" dirty="0">
                <a:solidFill>
                  <a:srgbClr val="E2000F"/>
                </a:solidFill>
              </a:rPr>
              <a:t> </a:t>
            </a:r>
            <a:r>
              <a:rPr lang="sl-SI" sz="1400" dirty="0"/>
              <a:t>sistema</a:t>
            </a:r>
          </a:p>
          <a:p>
            <a:pPr defTabSz="685800">
              <a:defRPr/>
            </a:pPr>
            <a:endParaRPr lang="sl-SI" sz="1400" dirty="0"/>
          </a:p>
          <a:p>
            <a:pPr defTabSz="685800">
              <a:defRPr/>
            </a:pPr>
            <a:r>
              <a:rPr lang="sr-Latn-BA" sz="1400" b="1" dirty="0">
                <a:solidFill>
                  <a:schemeClr val="accent2"/>
                </a:solidFill>
              </a:rPr>
              <a:t>Planiranje</a:t>
            </a:r>
            <a:r>
              <a:rPr lang="sr-Latn-BA" sz="1400" dirty="0"/>
              <a:t> proizvodnje i potrošnje</a:t>
            </a:r>
          </a:p>
          <a:p>
            <a:pPr defTabSz="685800">
              <a:defRPr/>
            </a:pPr>
            <a:endParaRPr lang="sr-Latn-BA" sz="1400" dirty="0"/>
          </a:p>
          <a:p>
            <a:pPr lvl="0" defTabSz="685800">
              <a:defRPr/>
            </a:pPr>
            <a:r>
              <a:rPr lang="sr-Latn-BA" sz="1400" dirty="0"/>
              <a:t>Delta T optimizacija – ekonomski </a:t>
            </a:r>
          </a:p>
          <a:p>
            <a:pPr lvl="0" defTabSz="685800">
              <a:defRPr/>
            </a:pPr>
            <a:r>
              <a:rPr lang="sr-Latn-BA" sz="1400" dirty="0"/>
              <a:t>balans temperature i protoka</a:t>
            </a:r>
          </a:p>
          <a:p>
            <a:pPr lvl="0" defTabSz="685800">
              <a:defRPr/>
            </a:pPr>
            <a:endParaRPr lang="sr-Latn-BA" sz="1400" dirty="0"/>
          </a:p>
          <a:p>
            <a:pPr defTabSz="685800">
              <a:defRPr/>
            </a:pPr>
            <a:r>
              <a:rPr lang="sr-Latn-BA" sz="1400" dirty="0"/>
              <a:t>Visok nivo automatizacije</a:t>
            </a:r>
          </a:p>
          <a:p>
            <a:pPr defTabSz="685800">
              <a:defRPr/>
            </a:pPr>
            <a:endParaRPr lang="sr-Latn-BA" sz="1400" dirty="0"/>
          </a:p>
          <a:p>
            <a:pPr defTabSz="685800">
              <a:defRPr/>
            </a:pPr>
            <a:r>
              <a:rPr lang="sr-Latn-BA" sz="1400" dirty="0"/>
              <a:t>Troškovi investicije /CAPEX / OPEX</a:t>
            </a:r>
            <a:endParaRPr lang="en-US" sz="1400" dirty="0"/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" name="Rectangle 98">
            <a:extLst>
              <a:ext uri="{FF2B5EF4-FFF2-40B4-BE49-F238E27FC236}">
                <a16:creationId xmlns:a16="http://schemas.microsoft.com/office/drawing/2014/main" id="{0EDD8FEB-3783-D8C3-7B17-17D7D83E5861}"/>
              </a:ext>
            </a:extLst>
          </p:cNvPr>
          <p:cNvSpPr/>
          <p:nvPr/>
        </p:nvSpPr>
        <p:spPr>
          <a:xfrm>
            <a:off x="949161" y="228598"/>
            <a:ext cx="7805095" cy="33855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defTabSz="685800">
              <a:defRPr/>
            </a:pPr>
            <a:r>
              <a:rPr lang="sl-SI" sz="1600" b="1" dirty="0">
                <a:solidFill>
                  <a:schemeClr val="accent2"/>
                </a:solidFill>
              </a:rPr>
              <a:t>Izazovi</a:t>
            </a:r>
            <a:r>
              <a:rPr lang="en-GB" sz="1600" dirty="0"/>
              <a:t> </a:t>
            </a:r>
            <a:r>
              <a:rPr lang="sl-SI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u sektoru daljinskog grejanja – 4G</a:t>
            </a:r>
            <a:endParaRPr lang="en-US" sz="12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5" name="Picture 4" descr="A red sign with white text&#10;&#10;AI-generated content may be incorrect.">
            <a:extLst>
              <a:ext uri="{FF2B5EF4-FFF2-40B4-BE49-F238E27FC236}">
                <a16:creationId xmlns:a16="http://schemas.microsoft.com/office/drawing/2014/main" id="{C318CF52-DA79-B1B3-0F5A-D4CF40F1D86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4100" y="113595"/>
            <a:ext cx="1203205" cy="527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307906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7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63" presetClass="path" presetSubtype="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-2.96296E-6 L 0.05625 -2.96296E-6 " pathEditMode="relative" rAng="0" ptsTypes="AA">
                                      <p:cBhvr>
                                        <p:cTn id="16" dur="750" spd="-100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812" y="0"/>
                                    </p:animMotion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63" presetClass="path" presetSubtype="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33333E-6 1.60494E-6 L 0.05625 1.60494E-6 " pathEditMode="relative" rAng="0" ptsTypes="AA">
                                      <p:cBhvr>
                                        <p:cTn id="21" dur="750" spd="-100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812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6" grpId="0" animBg="1"/>
      <p:bldP spid="8" grpId="0"/>
      <p:bldP spid="8" grpId="1"/>
      <p:bldP spid="14" grpId="0"/>
      <p:bldP spid="14" grpId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9" name="Slika 168">
            <a:extLst>
              <a:ext uri="{FF2B5EF4-FFF2-40B4-BE49-F238E27FC236}">
                <a16:creationId xmlns:a16="http://schemas.microsoft.com/office/drawing/2014/main" id="{9BB3692D-64C3-726C-6FB8-E04C192DF968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alphaModFix amt="50000"/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b="11868"/>
          <a:stretch/>
        </p:blipFill>
        <p:spPr>
          <a:xfrm>
            <a:off x="4217798" y="157279"/>
            <a:ext cx="4837595" cy="3566336"/>
          </a:xfrm>
          <a:prstGeom prst="snip2DiagRect">
            <a:avLst>
              <a:gd name="adj1" fmla="val 0"/>
              <a:gd name="adj2" fmla="val 50000"/>
            </a:avLst>
          </a:prstGeom>
        </p:spPr>
      </p:pic>
      <p:grpSp>
        <p:nvGrpSpPr>
          <p:cNvPr id="363" name="Skupina 362">
            <a:extLst>
              <a:ext uri="{FF2B5EF4-FFF2-40B4-BE49-F238E27FC236}">
                <a16:creationId xmlns:a16="http://schemas.microsoft.com/office/drawing/2014/main" id="{D5ECFE6F-234D-9EC0-808D-93B4E673483A}"/>
              </a:ext>
            </a:extLst>
          </p:cNvPr>
          <p:cNvGrpSpPr/>
          <p:nvPr/>
        </p:nvGrpSpPr>
        <p:grpSpPr>
          <a:xfrm>
            <a:off x="4869278" y="2855612"/>
            <a:ext cx="675000" cy="675000"/>
            <a:chOff x="6596543" y="3807483"/>
            <a:chExt cx="900000" cy="900000"/>
          </a:xfrm>
        </p:grpSpPr>
        <p:sp>
          <p:nvSpPr>
            <p:cNvPr id="178" name="Dvanajsterokotnik 177">
              <a:extLst>
                <a:ext uri="{FF2B5EF4-FFF2-40B4-BE49-F238E27FC236}">
                  <a16:creationId xmlns:a16="http://schemas.microsoft.com/office/drawing/2014/main" id="{40A90739-77F4-0D6E-92FC-1BB99AC06D7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596543" y="3807483"/>
              <a:ext cx="900000" cy="900000"/>
            </a:xfrm>
            <a:prstGeom prst="dodecagon">
              <a:avLst/>
            </a:prstGeom>
            <a:solidFill>
              <a:srgbClr val="F3F4F4"/>
            </a:solidFill>
            <a:ln w="1905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83"/>
              <a:endParaRPr lang="en-US" sz="1050" dirty="0">
                <a:solidFill>
                  <a:prstClr val="white">
                    <a:lumMod val="50000"/>
                  </a:prstClr>
                </a:solidFill>
                <a:latin typeface="Verdana"/>
              </a:endParaRPr>
            </a:p>
          </p:txBody>
        </p:sp>
        <p:sp>
          <p:nvSpPr>
            <p:cNvPr id="267" name="Diagram poteka: povezovalnik 266">
              <a:extLst>
                <a:ext uri="{FF2B5EF4-FFF2-40B4-BE49-F238E27FC236}">
                  <a16:creationId xmlns:a16="http://schemas.microsoft.com/office/drawing/2014/main" id="{E31A5FF4-EA1A-5DD7-8466-A3A3EEE5C1A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866543" y="4087644"/>
              <a:ext cx="360000" cy="360000"/>
            </a:xfrm>
            <a:prstGeom prst="flowChartConnector">
              <a:avLst/>
            </a:pr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83"/>
              <a:endParaRPr lang="sl-SI" sz="1013" dirty="0" err="1">
                <a:solidFill>
                  <a:prstClr val="white"/>
                </a:solidFill>
                <a:latin typeface="Verdana"/>
              </a:endParaRPr>
            </a:p>
          </p:txBody>
        </p:sp>
      </p:grpSp>
      <p:grpSp>
        <p:nvGrpSpPr>
          <p:cNvPr id="336" name="Skupina 335">
            <a:extLst>
              <a:ext uri="{FF2B5EF4-FFF2-40B4-BE49-F238E27FC236}">
                <a16:creationId xmlns:a16="http://schemas.microsoft.com/office/drawing/2014/main" id="{EB0FE1A5-F313-E491-6DA5-0197ECCB4532}"/>
              </a:ext>
            </a:extLst>
          </p:cNvPr>
          <p:cNvGrpSpPr/>
          <p:nvPr/>
        </p:nvGrpSpPr>
        <p:grpSpPr>
          <a:xfrm>
            <a:off x="7010205" y="153200"/>
            <a:ext cx="2081763" cy="1395455"/>
            <a:chOff x="9675114" y="-600399"/>
            <a:chExt cx="2775684" cy="1721886"/>
          </a:xfrm>
        </p:grpSpPr>
        <p:sp>
          <p:nvSpPr>
            <p:cNvPr id="341" name="Rectangle 116">
              <a:extLst>
                <a:ext uri="{FF2B5EF4-FFF2-40B4-BE49-F238E27FC236}">
                  <a16:creationId xmlns:a16="http://schemas.microsoft.com/office/drawing/2014/main" id="{2E818211-7246-95B9-C55D-E015BD6D3FEA}"/>
                </a:ext>
              </a:extLst>
            </p:cNvPr>
            <p:cNvSpPr/>
            <p:nvPr/>
          </p:nvSpPr>
          <p:spPr>
            <a:xfrm>
              <a:off x="9675114" y="-587875"/>
              <a:ext cx="2743909" cy="1709362"/>
            </a:xfrm>
            <a:prstGeom prst="rect">
              <a:avLst/>
            </a:prstGeom>
            <a:solidFill>
              <a:srgbClr val="FFFFFF">
                <a:alpha val="60000"/>
              </a:srgbClr>
            </a:solidFill>
            <a:ln w="9525" cap="flat" cmpd="sng" algn="ctr">
              <a:noFill/>
              <a:prstDash val="solid"/>
            </a:ln>
            <a:effectLst>
              <a:outerShdw blurRad="63500" dist="38100" dir="5400000" algn="t" rotWithShape="0">
                <a:prstClr val="black">
                  <a:alpha val="30000"/>
                </a:prstClr>
              </a:outerShdw>
            </a:effectLst>
          </p:spPr>
          <p:txBody>
            <a:bodyPr rtlCol="0" anchor="ctr"/>
            <a:lstStyle/>
            <a:p>
              <a:pPr algn="ctr" defTabSz="685766">
                <a:defRPr/>
              </a:pPr>
              <a:endParaRPr lang="id-ID" kern="0" err="1">
                <a:solidFill>
                  <a:prstClr val="white"/>
                </a:solidFill>
                <a:latin typeface="Verdana"/>
              </a:endParaRPr>
            </a:p>
          </p:txBody>
        </p:sp>
        <p:sp>
          <p:nvSpPr>
            <p:cNvPr id="342" name="TextBox 117">
              <a:extLst>
                <a:ext uri="{FF2B5EF4-FFF2-40B4-BE49-F238E27FC236}">
                  <a16:creationId xmlns:a16="http://schemas.microsoft.com/office/drawing/2014/main" id="{22BE6EAF-15A9-CED2-6033-A659DED87DA8}"/>
                </a:ext>
              </a:extLst>
            </p:cNvPr>
            <p:cNvSpPr txBox="1"/>
            <p:nvPr/>
          </p:nvSpPr>
          <p:spPr>
            <a:xfrm>
              <a:off x="9772844" y="259662"/>
              <a:ext cx="779947" cy="2215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defTabSz="685766">
                <a:lnSpc>
                  <a:spcPct val="90000"/>
                </a:lnSpc>
                <a:spcBef>
                  <a:spcPts val="450"/>
                </a:spcBef>
                <a:buClr>
                  <a:srgbClr val="878786"/>
                </a:buClr>
                <a:buSzPct val="100000"/>
                <a:defRPr/>
              </a:pPr>
              <a:r>
                <a:rPr lang="sl-SI" sz="600" b="1" kern="0" dirty="0">
                  <a:solidFill>
                    <a:prstClr val="white">
                      <a:lumMod val="50000"/>
                    </a:prstClr>
                  </a:solidFill>
                  <a:latin typeface="Verdana"/>
                </a:rPr>
                <a:t>Leanheat </a:t>
              </a:r>
              <a:r>
                <a:rPr lang="en-US" sz="600" b="1" kern="0" dirty="0">
                  <a:solidFill>
                    <a:prstClr val="white">
                      <a:lumMod val="50000"/>
                    </a:prstClr>
                  </a:solidFill>
                  <a:latin typeface="Verdana"/>
                </a:rPr>
                <a:t>Building</a:t>
              </a:r>
            </a:p>
          </p:txBody>
        </p:sp>
        <p:sp>
          <p:nvSpPr>
            <p:cNvPr id="343" name="TextBox 118">
              <a:extLst>
                <a:ext uri="{FF2B5EF4-FFF2-40B4-BE49-F238E27FC236}">
                  <a16:creationId xmlns:a16="http://schemas.microsoft.com/office/drawing/2014/main" id="{FC1A37A0-AD7A-3BCB-00D3-085789D578A9}"/>
                </a:ext>
              </a:extLst>
            </p:cNvPr>
            <p:cNvSpPr txBox="1"/>
            <p:nvPr/>
          </p:nvSpPr>
          <p:spPr>
            <a:xfrm>
              <a:off x="10648618" y="382475"/>
              <a:ext cx="840333" cy="3323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defTabSz="685766">
                <a:lnSpc>
                  <a:spcPct val="90000"/>
                </a:lnSpc>
                <a:spcBef>
                  <a:spcPts val="450"/>
                </a:spcBef>
                <a:buClr>
                  <a:srgbClr val="878786"/>
                </a:buClr>
                <a:buSzPct val="100000"/>
                <a:defRPr/>
              </a:pPr>
              <a:r>
                <a:rPr lang="en-US" sz="600" b="1" kern="0" dirty="0">
                  <a:solidFill>
                    <a:prstClr val="white">
                      <a:lumMod val="50000"/>
                    </a:prstClr>
                  </a:solidFill>
                  <a:latin typeface="Verdana"/>
                </a:rPr>
                <a:t>Leanheat Monitor</a:t>
              </a:r>
              <a:r>
                <a:rPr lang="sl-SI" sz="600" b="1" kern="0" dirty="0">
                  <a:solidFill>
                    <a:prstClr val="white">
                      <a:lumMod val="50000"/>
                    </a:prstClr>
                  </a:solidFill>
                  <a:latin typeface="Verdana"/>
                </a:rPr>
                <a:t> + TITAN</a:t>
              </a:r>
              <a:endParaRPr lang="en-US" sz="600" b="1" kern="0" dirty="0">
                <a:solidFill>
                  <a:prstClr val="white">
                    <a:lumMod val="50000"/>
                  </a:prstClr>
                </a:solidFill>
                <a:latin typeface="Verdana"/>
              </a:endParaRPr>
            </a:p>
          </p:txBody>
        </p:sp>
        <p:sp>
          <p:nvSpPr>
            <p:cNvPr id="344" name="TextBox 9">
              <a:extLst>
                <a:ext uri="{FF2B5EF4-FFF2-40B4-BE49-F238E27FC236}">
                  <a16:creationId xmlns:a16="http://schemas.microsoft.com/office/drawing/2014/main" id="{D37504C6-0558-E4F3-A277-52A81EC92F9D}"/>
                </a:ext>
              </a:extLst>
            </p:cNvPr>
            <p:cNvSpPr txBox="1"/>
            <p:nvPr/>
          </p:nvSpPr>
          <p:spPr>
            <a:xfrm>
              <a:off x="10697517" y="-503456"/>
              <a:ext cx="1035907" cy="88639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defTabSz="685783">
                <a:lnSpc>
                  <a:spcPct val="90000"/>
                </a:lnSpc>
                <a:defRPr/>
              </a:pPr>
              <a:r>
                <a:rPr lang="sl-SI" sz="600" kern="0" dirty="0">
                  <a:solidFill>
                    <a:srgbClr val="000000"/>
                  </a:solidFill>
                  <a:latin typeface="Verdana"/>
                </a:rPr>
                <a:t>Live praćenje podataka </a:t>
              </a:r>
              <a:r>
                <a:rPr lang="sr-Latn-RS" sz="600" kern="0" dirty="0">
                  <a:solidFill>
                    <a:srgbClr val="000000"/>
                  </a:solidFill>
                  <a:latin typeface="Verdana"/>
                </a:rPr>
                <a:t>i preventivno održavanje</a:t>
              </a:r>
            </a:p>
            <a:p>
              <a:pPr defTabSz="685783">
                <a:lnSpc>
                  <a:spcPct val="90000"/>
                </a:lnSpc>
                <a:defRPr/>
              </a:pPr>
              <a:r>
                <a:rPr lang="sr-Latn-RS" sz="600" kern="0" dirty="0">
                  <a:solidFill>
                    <a:srgbClr val="000000"/>
                  </a:solidFill>
                  <a:latin typeface="Verdana"/>
                </a:rPr>
                <a:t>Automatsko puštanje u rad o kontinualna optimizacija</a:t>
              </a:r>
              <a:endParaRPr lang="en-US" sz="600" kern="0" dirty="0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345" name="TextBox 9">
              <a:extLst>
                <a:ext uri="{FF2B5EF4-FFF2-40B4-BE49-F238E27FC236}">
                  <a16:creationId xmlns:a16="http://schemas.microsoft.com/office/drawing/2014/main" id="{F633EF43-5FAB-DE19-13BF-5373900B2B44}"/>
                </a:ext>
              </a:extLst>
            </p:cNvPr>
            <p:cNvSpPr txBox="1"/>
            <p:nvPr/>
          </p:nvSpPr>
          <p:spPr>
            <a:xfrm>
              <a:off x="11730798" y="-213425"/>
              <a:ext cx="720000" cy="332398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>
              <a:defPPr>
                <a:defRPr lang="sl-SI"/>
              </a:defPPr>
              <a:lvl1pPr marR="0" lvl="0" indent="0" fontAlgn="auto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800" i="0" u="none" strike="noStrike" cap="none" spc="0" normalizeH="0" baseline="0">
                  <a:ln>
                    <a:noFill/>
                  </a:ln>
                  <a:effectLst/>
                  <a:uLnTx/>
                  <a:uFillTx/>
                  <a:latin typeface="Verdana"/>
                </a:defRPr>
              </a:lvl1pPr>
            </a:lstStyle>
            <a:p>
              <a:pPr defTabSz="685783">
                <a:defRPr/>
              </a:pPr>
              <a:r>
                <a:rPr lang="en-US" sz="600" kern="0" dirty="0">
                  <a:solidFill>
                    <a:srgbClr val="000000"/>
                  </a:solidFill>
                </a:rPr>
                <a:t>Virtual Heat Storage (VHS)</a:t>
              </a:r>
            </a:p>
          </p:txBody>
        </p:sp>
        <p:cxnSp>
          <p:nvCxnSpPr>
            <p:cNvPr id="346" name="Straight Connector 9">
              <a:extLst>
                <a:ext uri="{FF2B5EF4-FFF2-40B4-BE49-F238E27FC236}">
                  <a16:creationId xmlns:a16="http://schemas.microsoft.com/office/drawing/2014/main" id="{7498D561-69F0-19DF-BD78-209C62AF4628}"/>
                </a:ext>
              </a:extLst>
            </p:cNvPr>
            <p:cNvCxnSpPr>
              <a:cxnSpLocks/>
            </p:cNvCxnSpPr>
            <p:nvPr/>
          </p:nvCxnSpPr>
          <p:spPr>
            <a:xfrm>
              <a:off x="10638520" y="259662"/>
              <a:ext cx="0" cy="221599"/>
            </a:xfrm>
            <a:prstGeom prst="line">
              <a:avLst/>
            </a:prstGeom>
            <a:noFill/>
            <a:ln w="6350" cap="flat" cmpd="sng" algn="ctr">
              <a:solidFill>
                <a:srgbClr val="E60A11"/>
              </a:solidFill>
              <a:prstDash val="solid"/>
            </a:ln>
            <a:effectLst/>
          </p:spPr>
        </p:cxnSp>
        <p:cxnSp>
          <p:nvCxnSpPr>
            <p:cNvPr id="347" name="Straight Connector 14">
              <a:extLst>
                <a:ext uri="{FF2B5EF4-FFF2-40B4-BE49-F238E27FC236}">
                  <a16:creationId xmlns:a16="http://schemas.microsoft.com/office/drawing/2014/main" id="{F57A0D86-F46B-4F17-3E21-B449F8D3F4D9}"/>
                </a:ext>
              </a:extLst>
            </p:cNvPr>
            <p:cNvCxnSpPr/>
            <p:nvPr/>
          </p:nvCxnSpPr>
          <p:spPr>
            <a:xfrm>
              <a:off x="11546083" y="-358569"/>
              <a:ext cx="0" cy="530747"/>
            </a:xfrm>
            <a:prstGeom prst="line">
              <a:avLst/>
            </a:prstGeom>
            <a:noFill/>
            <a:ln w="6350" cap="flat" cmpd="sng" algn="ctr">
              <a:solidFill>
                <a:sysClr val="window" lastClr="FFFFFF">
                  <a:lumMod val="75000"/>
                </a:sysClr>
              </a:solidFill>
              <a:prstDash val="solid"/>
            </a:ln>
            <a:effectLst/>
          </p:spPr>
        </p:cxnSp>
        <p:sp>
          <p:nvSpPr>
            <p:cNvPr id="348" name="TextBox 9">
              <a:extLst>
                <a:ext uri="{FF2B5EF4-FFF2-40B4-BE49-F238E27FC236}">
                  <a16:creationId xmlns:a16="http://schemas.microsoft.com/office/drawing/2014/main" id="{50287DA9-2503-364A-AB84-DF48F50BD31E}"/>
                </a:ext>
              </a:extLst>
            </p:cNvPr>
            <p:cNvSpPr txBox="1"/>
            <p:nvPr/>
          </p:nvSpPr>
          <p:spPr>
            <a:xfrm>
              <a:off x="9783753" y="-600399"/>
              <a:ext cx="2492474" cy="1385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defTabSz="685783">
                <a:lnSpc>
                  <a:spcPct val="90000"/>
                </a:lnSpc>
                <a:defRPr/>
              </a:pPr>
              <a:r>
                <a:rPr lang="sr-Latn-RS" sz="750" b="1" kern="0" dirty="0">
                  <a:solidFill>
                    <a:srgbClr val="E60A11"/>
                  </a:solidFill>
                  <a:latin typeface="Verdana"/>
                </a:rPr>
                <a:t>Alati za nadzor </a:t>
              </a:r>
              <a:r>
                <a:rPr lang="en-US" sz="750" b="1" kern="0" dirty="0">
                  <a:solidFill>
                    <a:srgbClr val="E60A11"/>
                  </a:solidFill>
                  <a:latin typeface="Verdana"/>
                </a:rPr>
                <a:t>&amp; </a:t>
              </a:r>
              <a:r>
                <a:rPr lang="sr-Latn-RS" sz="750" b="1" kern="0" dirty="0">
                  <a:solidFill>
                    <a:srgbClr val="E60A11"/>
                  </a:solidFill>
                  <a:latin typeface="Verdana"/>
                </a:rPr>
                <a:t>optimizaciju</a:t>
              </a:r>
              <a:endParaRPr lang="en-US" sz="750" b="1" kern="0" dirty="0">
                <a:solidFill>
                  <a:srgbClr val="E60A11"/>
                </a:solidFill>
                <a:latin typeface="Verdana"/>
              </a:endParaRPr>
            </a:p>
          </p:txBody>
        </p:sp>
        <p:sp>
          <p:nvSpPr>
            <p:cNvPr id="349" name="TextBox 115">
              <a:extLst>
                <a:ext uri="{FF2B5EF4-FFF2-40B4-BE49-F238E27FC236}">
                  <a16:creationId xmlns:a16="http://schemas.microsoft.com/office/drawing/2014/main" id="{6E443C96-9F55-50A9-23AF-6C7F2764CE4B}"/>
                </a:ext>
              </a:extLst>
            </p:cNvPr>
            <p:cNvSpPr txBox="1"/>
            <p:nvPr/>
          </p:nvSpPr>
          <p:spPr>
            <a:xfrm>
              <a:off x="11639499" y="259663"/>
              <a:ext cx="779947" cy="2215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defTabSz="685766">
                <a:lnSpc>
                  <a:spcPct val="90000"/>
                </a:lnSpc>
                <a:spcBef>
                  <a:spcPts val="450"/>
                </a:spcBef>
                <a:buClr>
                  <a:srgbClr val="878786"/>
                </a:buClr>
                <a:buSzPct val="100000"/>
                <a:defRPr/>
              </a:pPr>
              <a:r>
                <a:rPr lang="sl-SI" sz="600" b="1" kern="0" dirty="0">
                  <a:solidFill>
                    <a:prstClr val="white">
                      <a:lumMod val="50000"/>
                    </a:prstClr>
                  </a:solidFill>
                  <a:latin typeface="Verdana"/>
                </a:rPr>
                <a:t>Leanheat Production</a:t>
              </a:r>
              <a:endParaRPr lang="en-US" sz="600" b="1" kern="0" dirty="0">
                <a:solidFill>
                  <a:prstClr val="white">
                    <a:lumMod val="50000"/>
                  </a:prstClr>
                </a:solidFill>
                <a:latin typeface="Verdana"/>
              </a:endParaRPr>
            </a:p>
          </p:txBody>
        </p:sp>
        <p:cxnSp>
          <p:nvCxnSpPr>
            <p:cNvPr id="350" name="Straight Connector 143">
              <a:extLst>
                <a:ext uri="{FF2B5EF4-FFF2-40B4-BE49-F238E27FC236}">
                  <a16:creationId xmlns:a16="http://schemas.microsoft.com/office/drawing/2014/main" id="{ACDCA1F7-D6D4-D7B8-06F4-6A13B2A1FBF0}"/>
                </a:ext>
              </a:extLst>
            </p:cNvPr>
            <p:cNvCxnSpPr>
              <a:cxnSpLocks/>
            </p:cNvCxnSpPr>
            <p:nvPr/>
          </p:nvCxnSpPr>
          <p:spPr>
            <a:xfrm>
              <a:off x="11528675" y="264282"/>
              <a:ext cx="0" cy="221599"/>
            </a:xfrm>
            <a:prstGeom prst="line">
              <a:avLst/>
            </a:prstGeom>
            <a:noFill/>
            <a:ln w="6350" cap="flat" cmpd="sng" algn="ctr">
              <a:solidFill>
                <a:srgbClr val="E60A11"/>
              </a:solidFill>
              <a:prstDash val="solid"/>
            </a:ln>
            <a:effectLst/>
          </p:spPr>
        </p:cxnSp>
        <p:sp>
          <p:nvSpPr>
            <p:cNvPr id="351" name="TextBox 9">
              <a:extLst>
                <a:ext uri="{FF2B5EF4-FFF2-40B4-BE49-F238E27FC236}">
                  <a16:creationId xmlns:a16="http://schemas.microsoft.com/office/drawing/2014/main" id="{FD41F20B-5579-512A-6352-679D4047CDC9}"/>
                </a:ext>
              </a:extLst>
            </p:cNvPr>
            <p:cNvSpPr txBox="1"/>
            <p:nvPr/>
          </p:nvSpPr>
          <p:spPr>
            <a:xfrm>
              <a:off x="9784012" y="-337257"/>
              <a:ext cx="840332" cy="55399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defTabSz="685783">
                <a:lnSpc>
                  <a:spcPct val="90000"/>
                </a:lnSpc>
                <a:defRPr/>
              </a:pPr>
              <a:r>
                <a:rPr lang="sr-Latn-RS" sz="600" kern="0" dirty="0">
                  <a:solidFill>
                    <a:srgbClr val="000000"/>
                  </a:solidFill>
                  <a:latin typeface="Verdana"/>
                </a:rPr>
                <a:t>Smanjivanje pikova potrošnje</a:t>
              </a:r>
              <a:r>
                <a:rPr lang="en-US" sz="600" kern="0" dirty="0">
                  <a:solidFill>
                    <a:srgbClr val="000000"/>
                  </a:solidFill>
                  <a:latin typeface="Verdana"/>
                </a:rPr>
                <a:t>/ </a:t>
              </a:r>
              <a:r>
                <a:rPr lang="sr-Latn-RS" sz="600" kern="0" dirty="0">
                  <a:solidFill>
                    <a:srgbClr val="000000"/>
                  </a:solidFill>
                  <a:latin typeface="Verdana"/>
                </a:rPr>
                <a:t>Optimizacija potrošnje</a:t>
              </a:r>
              <a:endParaRPr lang="en-US" sz="600" kern="0" dirty="0">
                <a:solidFill>
                  <a:srgbClr val="000000"/>
                </a:solidFill>
                <a:latin typeface="Verdana"/>
              </a:endParaRPr>
            </a:p>
          </p:txBody>
        </p:sp>
        <p:cxnSp>
          <p:nvCxnSpPr>
            <p:cNvPr id="352" name="Straight Connector 14">
              <a:extLst>
                <a:ext uri="{FF2B5EF4-FFF2-40B4-BE49-F238E27FC236}">
                  <a16:creationId xmlns:a16="http://schemas.microsoft.com/office/drawing/2014/main" id="{0B250117-5AF3-0D49-DFFB-D2BEE01801F4}"/>
                </a:ext>
              </a:extLst>
            </p:cNvPr>
            <p:cNvCxnSpPr>
              <a:cxnSpLocks/>
            </p:cNvCxnSpPr>
            <p:nvPr/>
          </p:nvCxnSpPr>
          <p:spPr>
            <a:xfrm>
              <a:off x="10638520" y="-325633"/>
              <a:ext cx="0" cy="530747"/>
            </a:xfrm>
            <a:prstGeom prst="line">
              <a:avLst/>
            </a:prstGeom>
            <a:noFill/>
            <a:ln w="6350" cap="flat" cmpd="sng" algn="ctr">
              <a:solidFill>
                <a:sysClr val="window" lastClr="FFFFFF">
                  <a:lumMod val="75000"/>
                </a:sysClr>
              </a:solidFill>
              <a:prstDash val="solid"/>
            </a:ln>
            <a:effectLst/>
          </p:spPr>
        </p:cxnSp>
        <p:grpSp>
          <p:nvGrpSpPr>
            <p:cNvPr id="353" name="Skupina 352">
              <a:extLst>
                <a:ext uri="{FF2B5EF4-FFF2-40B4-BE49-F238E27FC236}">
                  <a16:creationId xmlns:a16="http://schemas.microsoft.com/office/drawing/2014/main" id="{C63A1AB7-0EE7-6B78-CB18-410732F2F08D}"/>
                </a:ext>
              </a:extLst>
            </p:cNvPr>
            <p:cNvGrpSpPr/>
            <p:nvPr/>
          </p:nvGrpSpPr>
          <p:grpSpPr>
            <a:xfrm>
              <a:off x="9826374" y="527306"/>
              <a:ext cx="2297968" cy="565636"/>
              <a:chOff x="9826374" y="593981"/>
              <a:chExt cx="2297968" cy="565636"/>
            </a:xfrm>
          </p:grpSpPr>
          <p:pic>
            <p:nvPicPr>
              <p:cNvPr id="354" name="Slika 353">
                <a:extLst>
                  <a:ext uri="{FF2B5EF4-FFF2-40B4-BE49-F238E27FC236}">
                    <a16:creationId xmlns:a16="http://schemas.microsoft.com/office/drawing/2014/main" id="{62BD8FC1-94D2-F6E9-D120-6DB773C3D51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1383303" y="594417"/>
                <a:ext cx="741039" cy="565200"/>
              </a:xfrm>
              <a:prstGeom prst="rect">
                <a:avLst/>
              </a:prstGeom>
            </p:spPr>
          </p:pic>
          <p:pic>
            <p:nvPicPr>
              <p:cNvPr id="355" name="Slika 354">
                <a:extLst>
                  <a:ext uri="{FF2B5EF4-FFF2-40B4-BE49-F238E27FC236}">
                    <a16:creationId xmlns:a16="http://schemas.microsoft.com/office/drawing/2014/main" id="{B6BD7091-2F62-ABFD-7473-2F72DF0D43B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9826374" y="593981"/>
                <a:ext cx="742163" cy="565200"/>
              </a:xfrm>
              <a:prstGeom prst="rect">
                <a:avLst/>
              </a:prstGeom>
            </p:spPr>
          </p:pic>
        </p:grpSp>
      </p:grpSp>
      <p:pic>
        <p:nvPicPr>
          <p:cNvPr id="182" name="Grafika 181">
            <a:extLst>
              <a:ext uri="{FF2B5EF4-FFF2-40B4-BE49-F238E27FC236}">
                <a16:creationId xmlns:a16="http://schemas.microsoft.com/office/drawing/2014/main" id="{757007DB-89B2-56FD-C117-58A6E260793B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l="15438" r="15343" b="19574"/>
          <a:stretch/>
        </p:blipFill>
        <p:spPr>
          <a:xfrm>
            <a:off x="463949" y="1806434"/>
            <a:ext cx="697143" cy="810000"/>
          </a:xfrm>
          <a:prstGeom prst="rect">
            <a:avLst/>
          </a:prstGeom>
        </p:spPr>
      </p:pic>
      <p:sp>
        <p:nvSpPr>
          <p:cNvPr id="186" name="PoljeZBesedilom 185">
            <a:extLst>
              <a:ext uri="{FF2B5EF4-FFF2-40B4-BE49-F238E27FC236}">
                <a16:creationId xmlns:a16="http://schemas.microsoft.com/office/drawing/2014/main" id="{631256AC-0392-3A9F-AEF5-8ACD3E5C176B}"/>
              </a:ext>
            </a:extLst>
          </p:cNvPr>
          <p:cNvSpPr txBox="1"/>
          <p:nvPr/>
        </p:nvSpPr>
        <p:spPr>
          <a:xfrm>
            <a:off x="411430" y="2547710"/>
            <a:ext cx="818948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85629">
              <a:defRPr/>
            </a:pPr>
            <a:r>
              <a:rPr lang="en-US" sz="750" dirty="0" err="1">
                <a:solidFill>
                  <a:prstClr val="white">
                    <a:lumMod val="50000"/>
                  </a:prstClr>
                </a:solidFill>
                <a:latin typeface="Verdana" panose="020B0604030504040204" pitchFamily="34" charset="0"/>
                <a:ea typeface="Verdana" panose="020B0604030504040204" pitchFamily="34" charset="0"/>
                <a:cs typeface="Open Sans Light" panose="020B0306030504020204" pitchFamily="34" charset="0"/>
              </a:rPr>
              <a:t>Geotermal</a:t>
            </a:r>
            <a:r>
              <a:rPr lang="sr-Latn-RS" sz="750" dirty="0">
                <a:solidFill>
                  <a:prstClr val="white">
                    <a:lumMod val="50000"/>
                  </a:prstClr>
                </a:solidFill>
                <a:latin typeface="Verdana" panose="020B0604030504040204" pitchFamily="34" charset="0"/>
                <a:ea typeface="Verdana" panose="020B0604030504040204" pitchFamily="34" charset="0"/>
                <a:cs typeface="Open Sans Light" panose="020B0306030504020204" pitchFamily="34" charset="0"/>
              </a:rPr>
              <a:t>na energija</a:t>
            </a:r>
            <a:endParaRPr lang="en-US" sz="750" dirty="0">
              <a:solidFill>
                <a:prstClr val="white">
                  <a:lumMod val="50000"/>
                </a:prstClr>
              </a:solidFill>
              <a:latin typeface="Verdana" panose="020B0604030504040204" pitchFamily="34" charset="0"/>
              <a:ea typeface="Verdana" panose="020B0604030504040204" pitchFamily="34" charset="0"/>
              <a:cs typeface="Open Sans Light" panose="020B0306030504020204" pitchFamily="34" charset="0"/>
            </a:endParaRPr>
          </a:p>
        </p:txBody>
      </p:sp>
      <p:pic>
        <p:nvPicPr>
          <p:cNvPr id="191" name="Grafika 190">
            <a:extLst>
              <a:ext uri="{FF2B5EF4-FFF2-40B4-BE49-F238E27FC236}">
                <a16:creationId xmlns:a16="http://schemas.microsoft.com/office/drawing/2014/main" id="{7827C516-DCDB-816B-E060-CF0286741268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rcRect l="9621" t="2696" r="10237" b="26524"/>
          <a:stretch/>
        </p:blipFill>
        <p:spPr>
          <a:xfrm>
            <a:off x="1914663" y="1720221"/>
            <a:ext cx="810000" cy="715381"/>
          </a:xfrm>
          <a:prstGeom prst="rect">
            <a:avLst/>
          </a:prstGeom>
        </p:spPr>
      </p:pic>
      <p:sp>
        <p:nvSpPr>
          <p:cNvPr id="192" name="PoljeZBesedilom 191">
            <a:extLst>
              <a:ext uri="{FF2B5EF4-FFF2-40B4-BE49-F238E27FC236}">
                <a16:creationId xmlns:a16="http://schemas.microsoft.com/office/drawing/2014/main" id="{6E2D4BE2-67F0-474A-77F1-B2ECBD152DAB}"/>
              </a:ext>
            </a:extLst>
          </p:cNvPr>
          <p:cNvSpPr txBox="1"/>
          <p:nvPr/>
        </p:nvSpPr>
        <p:spPr>
          <a:xfrm>
            <a:off x="1920274" y="2381319"/>
            <a:ext cx="818948" cy="4385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85629">
              <a:defRPr/>
            </a:pPr>
            <a:r>
              <a:rPr lang="en-US" sz="750" dirty="0" err="1">
                <a:solidFill>
                  <a:prstClr val="white">
                    <a:lumMod val="50000"/>
                  </a:prstClr>
                </a:solidFill>
                <a:latin typeface="Verdana" panose="020B0604030504040204" pitchFamily="34" charset="0"/>
                <a:ea typeface="Verdana" panose="020B0604030504040204" pitchFamily="34" charset="0"/>
                <a:cs typeface="Open Sans Light" panose="020B0306030504020204" pitchFamily="34" charset="0"/>
              </a:rPr>
              <a:t>Industr</a:t>
            </a:r>
            <a:r>
              <a:rPr lang="sr-Latn-RS" sz="750" dirty="0">
                <a:solidFill>
                  <a:prstClr val="white">
                    <a:lumMod val="50000"/>
                  </a:prstClr>
                </a:solidFill>
                <a:latin typeface="Verdana" panose="020B0604030504040204" pitchFamily="34" charset="0"/>
                <a:ea typeface="Verdana" panose="020B0604030504040204" pitchFamily="34" charset="0"/>
                <a:cs typeface="Open Sans Light" panose="020B0306030504020204" pitchFamily="34" charset="0"/>
              </a:rPr>
              <a:t>ijska otpadna toplota</a:t>
            </a:r>
            <a:endParaRPr lang="en-US" sz="750" dirty="0">
              <a:solidFill>
                <a:prstClr val="white">
                  <a:lumMod val="50000"/>
                </a:prstClr>
              </a:solidFill>
              <a:latin typeface="Verdana" panose="020B0604030504040204" pitchFamily="34" charset="0"/>
              <a:ea typeface="Verdana" panose="020B0604030504040204" pitchFamily="34" charset="0"/>
              <a:cs typeface="Open Sans Light" panose="020B0306030504020204" pitchFamily="34" charset="0"/>
            </a:endParaRPr>
          </a:p>
        </p:txBody>
      </p:sp>
      <p:pic>
        <p:nvPicPr>
          <p:cNvPr id="198" name="Grafika 197">
            <a:extLst>
              <a:ext uri="{FF2B5EF4-FFF2-40B4-BE49-F238E27FC236}">
                <a16:creationId xmlns:a16="http://schemas.microsoft.com/office/drawing/2014/main" id="{541BD5DD-DF65-1049-6D8B-CFA11D1A7A17}"/>
              </a:ext>
            </a:extLst>
          </p:cNvPr>
          <p:cNvPicPr>
            <a:picLocks noChangeAspect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rcRect l="16807" t="19432" r="16807" b="37590"/>
          <a:stretch/>
        </p:blipFill>
        <p:spPr>
          <a:xfrm>
            <a:off x="1573757" y="3884223"/>
            <a:ext cx="810000" cy="524407"/>
          </a:xfrm>
          <a:prstGeom prst="rect">
            <a:avLst/>
          </a:prstGeom>
        </p:spPr>
      </p:pic>
      <p:sp>
        <p:nvSpPr>
          <p:cNvPr id="199" name="PoljeZBesedilom 198">
            <a:extLst>
              <a:ext uri="{FF2B5EF4-FFF2-40B4-BE49-F238E27FC236}">
                <a16:creationId xmlns:a16="http://schemas.microsoft.com/office/drawing/2014/main" id="{C044E373-3680-56B8-D0FD-BA961F4CE3C8}"/>
              </a:ext>
            </a:extLst>
          </p:cNvPr>
          <p:cNvSpPr txBox="1"/>
          <p:nvPr/>
        </p:nvSpPr>
        <p:spPr>
          <a:xfrm>
            <a:off x="1182570" y="4352658"/>
            <a:ext cx="1252744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85629">
              <a:defRPr/>
            </a:pPr>
            <a:r>
              <a:rPr lang="sr-Latn-RS" sz="750" dirty="0">
                <a:solidFill>
                  <a:prstClr val="white">
                    <a:lumMod val="50000"/>
                  </a:prstClr>
                </a:solidFill>
                <a:latin typeface="Verdana" panose="020B0604030504040204" pitchFamily="34" charset="0"/>
                <a:ea typeface="Verdana" panose="020B0604030504040204" pitchFamily="34" charset="0"/>
                <a:cs typeface="Open Sans Light" panose="020B0306030504020204" pitchFamily="34" charset="0"/>
              </a:rPr>
              <a:t>Tretman otpadnih i kanalizacionih voda</a:t>
            </a:r>
            <a:endParaRPr lang="en-US" sz="750" dirty="0">
              <a:solidFill>
                <a:prstClr val="white">
                  <a:lumMod val="50000"/>
                </a:prstClr>
              </a:solidFill>
              <a:latin typeface="Verdana" panose="020B0604030504040204" pitchFamily="34" charset="0"/>
              <a:ea typeface="Verdana" panose="020B0604030504040204" pitchFamily="34" charset="0"/>
              <a:cs typeface="Open Sans Light" panose="020B0306030504020204" pitchFamily="34" charset="0"/>
            </a:endParaRPr>
          </a:p>
        </p:txBody>
      </p:sp>
      <p:pic>
        <p:nvPicPr>
          <p:cNvPr id="207" name="Slika 206">
            <a:extLst>
              <a:ext uri="{FF2B5EF4-FFF2-40B4-BE49-F238E27FC236}">
                <a16:creationId xmlns:a16="http://schemas.microsoft.com/office/drawing/2014/main" id="{70923DAF-1839-378F-686C-E17D9C21B901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24808" y="4241781"/>
            <a:ext cx="810000" cy="278659"/>
          </a:xfrm>
          <a:prstGeom prst="rect">
            <a:avLst/>
          </a:prstGeom>
        </p:spPr>
      </p:pic>
      <p:sp>
        <p:nvSpPr>
          <p:cNvPr id="210" name="PoljeZBesedilom 209">
            <a:extLst>
              <a:ext uri="{FF2B5EF4-FFF2-40B4-BE49-F238E27FC236}">
                <a16:creationId xmlns:a16="http://schemas.microsoft.com/office/drawing/2014/main" id="{DD4055EC-3471-84F4-B2E9-AFBCBAA86822}"/>
              </a:ext>
            </a:extLst>
          </p:cNvPr>
          <p:cNvSpPr txBox="1"/>
          <p:nvPr/>
        </p:nvSpPr>
        <p:spPr>
          <a:xfrm>
            <a:off x="3599983" y="4524018"/>
            <a:ext cx="1459650" cy="20774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85629">
              <a:defRPr/>
            </a:pPr>
            <a:r>
              <a:rPr lang="sr-Latn-RS" sz="750" dirty="0">
                <a:solidFill>
                  <a:prstClr val="white">
                    <a:lumMod val="50000"/>
                  </a:prstClr>
                </a:solidFill>
                <a:latin typeface="Verdana" panose="020B0604030504040204" pitchFamily="34" charset="0"/>
                <a:ea typeface="Verdana" panose="020B0604030504040204" pitchFamily="34" charset="0"/>
                <a:cs typeface="Open Sans Light" panose="020B0306030504020204" pitchFamily="34" charset="0"/>
              </a:rPr>
              <a:t>Sezonska skladišta toplote </a:t>
            </a:r>
            <a:endParaRPr lang="en-US" sz="750" dirty="0">
              <a:solidFill>
                <a:prstClr val="white">
                  <a:lumMod val="50000"/>
                </a:prstClr>
              </a:solidFill>
              <a:latin typeface="Verdana" panose="020B0604030504040204" pitchFamily="34" charset="0"/>
              <a:ea typeface="Verdana" panose="020B0604030504040204" pitchFamily="34" charset="0"/>
              <a:cs typeface="Open Sans Light" panose="020B0306030504020204" pitchFamily="34" charset="0"/>
            </a:endParaRPr>
          </a:p>
        </p:txBody>
      </p:sp>
      <p:pic>
        <p:nvPicPr>
          <p:cNvPr id="214" name="Grafika 213">
            <a:extLst>
              <a:ext uri="{FF2B5EF4-FFF2-40B4-BE49-F238E27FC236}">
                <a16:creationId xmlns:a16="http://schemas.microsoft.com/office/drawing/2014/main" id="{B7045C04-38CC-A430-AF05-39961A3CB42E}"/>
              </a:ext>
            </a:extLst>
          </p:cNvPr>
          <p:cNvPicPr>
            <a:picLocks noChangeAspect="1"/>
          </p:cNvPicPr>
          <p:nvPr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rcRect l="14367" t="16596" r="12648" b="43404"/>
          <a:stretch/>
        </p:blipFill>
        <p:spPr>
          <a:xfrm>
            <a:off x="2665880" y="3952909"/>
            <a:ext cx="810000" cy="443926"/>
          </a:xfrm>
          <a:prstGeom prst="rect">
            <a:avLst/>
          </a:prstGeom>
        </p:spPr>
      </p:pic>
      <p:sp>
        <p:nvSpPr>
          <p:cNvPr id="215" name="PoljeZBesedilom 214">
            <a:extLst>
              <a:ext uri="{FF2B5EF4-FFF2-40B4-BE49-F238E27FC236}">
                <a16:creationId xmlns:a16="http://schemas.microsoft.com/office/drawing/2014/main" id="{20E2476B-4866-D65D-CED3-B32512F8C69A}"/>
              </a:ext>
            </a:extLst>
          </p:cNvPr>
          <p:cNvSpPr txBox="1"/>
          <p:nvPr/>
        </p:nvSpPr>
        <p:spPr>
          <a:xfrm>
            <a:off x="2330177" y="4377068"/>
            <a:ext cx="1459650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85629">
              <a:defRPr/>
            </a:pPr>
            <a:r>
              <a:rPr lang="sr-Latn-RS" sz="750" dirty="0">
                <a:solidFill>
                  <a:prstClr val="white">
                    <a:lumMod val="50000"/>
                  </a:prstClr>
                </a:solidFill>
                <a:latin typeface="Verdana" panose="020B0604030504040204" pitchFamily="34" charset="0"/>
                <a:ea typeface="Verdana" panose="020B0604030504040204" pitchFamily="34" charset="0"/>
                <a:cs typeface="Open Sans Light" panose="020B0306030504020204" pitchFamily="34" charset="0"/>
              </a:rPr>
              <a:t>Otpadna toplota iz data centara</a:t>
            </a:r>
            <a:endParaRPr lang="en-US" sz="750" dirty="0">
              <a:solidFill>
                <a:prstClr val="white">
                  <a:lumMod val="50000"/>
                </a:prstClr>
              </a:solidFill>
              <a:latin typeface="Verdana" panose="020B0604030504040204" pitchFamily="34" charset="0"/>
              <a:ea typeface="Verdana" panose="020B060403050404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219" name="Povezovalnik: kolenski 218">
            <a:extLst>
              <a:ext uri="{FF2B5EF4-FFF2-40B4-BE49-F238E27FC236}">
                <a16:creationId xmlns:a16="http://schemas.microsoft.com/office/drawing/2014/main" id="{788EEC65-4816-F878-BCC6-6E5F34A0B30D}"/>
              </a:ext>
            </a:extLst>
          </p:cNvPr>
          <p:cNvCxnSpPr>
            <a:cxnSpLocks/>
            <a:stCxn id="186" idx="2"/>
            <a:endCxn id="178" idx="8"/>
          </p:cNvCxnSpPr>
          <p:nvPr/>
        </p:nvCxnSpPr>
        <p:spPr>
          <a:xfrm rot="16200000" flipH="1">
            <a:off x="2729191" y="962588"/>
            <a:ext cx="231800" cy="4048374"/>
          </a:xfrm>
          <a:prstGeom prst="bentConnector2">
            <a:avLst/>
          </a:prstGeom>
          <a:ln>
            <a:solidFill>
              <a:schemeClr val="bg1">
                <a:lumMod val="50000"/>
              </a:schemeClr>
            </a:solidFill>
            <a:prstDash val="lgDash"/>
            <a:tailEnd type="diamond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3" name="Povezovalnik: kolenski 222">
            <a:extLst>
              <a:ext uri="{FF2B5EF4-FFF2-40B4-BE49-F238E27FC236}">
                <a16:creationId xmlns:a16="http://schemas.microsoft.com/office/drawing/2014/main" id="{4495A004-E8D9-6430-A569-4352C150949F}"/>
              </a:ext>
            </a:extLst>
          </p:cNvPr>
          <p:cNvCxnSpPr>
            <a:cxnSpLocks/>
            <a:stCxn id="191" idx="3"/>
            <a:endCxn id="178" idx="9"/>
          </p:cNvCxnSpPr>
          <p:nvPr/>
        </p:nvCxnSpPr>
        <p:spPr>
          <a:xfrm>
            <a:off x="2724663" y="2077911"/>
            <a:ext cx="2235053" cy="868139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  <a:prstDash val="lgDash"/>
            <a:tailEnd type="diamond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7" name="Povezovalnik: kolenski 226">
            <a:extLst>
              <a:ext uri="{FF2B5EF4-FFF2-40B4-BE49-F238E27FC236}">
                <a16:creationId xmlns:a16="http://schemas.microsoft.com/office/drawing/2014/main" id="{DC5FE3BF-7829-31BB-C6D5-45E50FBF56D4}"/>
              </a:ext>
            </a:extLst>
          </p:cNvPr>
          <p:cNvCxnSpPr>
            <a:cxnSpLocks/>
            <a:stCxn id="214" idx="3"/>
            <a:endCxn id="178" idx="6"/>
          </p:cNvCxnSpPr>
          <p:nvPr/>
        </p:nvCxnSpPr>
        <p:spPr>
          <a:xfrm flipV="1">
            <a:off x="3475880" y="3440175"/>
            <a:ext cx="1483836" cy="734697"/>
          </a:xfrm>
          <a:prstGeom prst="bentConnector3">
            <a:avLst>
              <a:gd name="adj1" fmla="val 26354"/>
            </a:avLst>
          </a:prstGeom>
          <a:ln>
            <a:solidFill>
              <a:schemeClr val="bg1">
                <a:lumMod val="50000"/>
              </a:schemeClr>
            </a:solidFill>
            <a:prstDash val="lgDash"/>
            <a:tailEnd type="diamond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9" name="Povezovalnik: kolenski 228">
            <a:extLst>
              <a:ext uri="{FF2B5EF4-FFF2-40B4-BE49-F238E27FC236}">
                <a16:creationId xmlns:a16="http://schemas.microsoft.com/office/drawing/2014/main" id="{B06D779E-022F-D34C-9B19-8110DFF9D8FB}"/>
              </a:ext>
            </a:extLst>
          </p:cNvPr>
          <p:cNvCxnSpPr>
            <a:cxnSpLocks/>
            <a:stCxn id="198" idx="0"/>
            <a:endCxn id="178" idx="7"/>
          </p:cNvCxnSpPr>
          <p:nvPr/>
        </p:nvCxnSpPr>
        <p:spPr>
          <a:xfrm rot="5400000" flipH="1" flipV="1">
            <a:off x="3123680" y="2138626"/>
            <a:ext cx="600674" cy="2890522"/>
          </a:xfrm>
          <a:prstGeom prst="bentConnector2">
            <a:avLst/>
          </a:prstGeom>
          <a:ln>
            <a:solidFill>
              <a:schemeClr val="bg1">
                <a:lumMod val="50000"/>
              </a:schemeClr>
            </a:solidFill>
            <a:prstDash val="lgDash"/>
            <a:tailEnd type="diamond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5" name="Povezovalnik: kolenski 254">
            <a:extLst>
              <a:ext uri="{FF2B5EF4-FFF2-40B4-BE49-F238E27FC236}">
                <a16:creationId xmlns:a16="http://schemas.microsoft.com/office/drawing/2014/main" id="{8974D7AE-62F8-AE6B-0118-5614CCCD9A06}"/>
              </a:ext>
            </a:extLst>
          </p:cNvPr>
          <p:cNvCxnSpPr>
            <a:cxnSpLocks/>
            <a:stCxn id="261" idx="1"/>
            <a:endCxn id="178" idx="11"/>
          </p:cNvCxnSpPr>
          <p:nvPr/>
        </p:nvCxnSpPr>
        <p:spPr>
          <a:xfrm>
            <a:off x="4908582" y="2111363"/>
            <a:ext cx="388634" cy="744251"/>
          </a:xfrm>
          <a:prstGeom prst="bentConnector2">
            <a:avLst/>
          </a:prstGeom>
          <a:ln>
            <a:solidFill>
              <a:schemeClr val="bg1">
                <a:lumMod val="50000"/>
              </a:schemeClr>
            </a:solidFill>
            <a:prstDash val="lgDash"/>
            <a:tailEnd type="diamond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8" name="PoljeZBesedilom 247">
            <a:extLst>
              <a:ext uri="{FF2B5EF4-FFF2-40B4-BE49-F238E27FC236}">
                <a16:creationId xmlns:a16="http://schemas.microsoft.com/office/drawing/2014/main" id="{9EE482E7-B7B9-1A01-4B37-0668AD4F8B14}"/>
              </a:ext>
            </a:extLst>
          </p:cNvPr>
          <p:cNvSpPr txBox="1"/>
          <p:nvPr/>
        </p:nvSpPr>
        <p:spPr>
          <a:xfrm>
            <a:off x="4098581" y="2354629"/>
            <a:ext cx="810000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85629">
              <a:defRPr/>
            </a:pPr>
            <a:r>
              <a:rPr lang="sr-Latn-RS" sz="750" dirty="0">
                <a:solidFill>
                  <a:prstClr val="white">
                    <a:lumMod val="50000"/>
                  </a:prstClr>
                </a:solidFill>
                <a:latin typeface="Verdana" panose="020B0604030504040204" pitchFamily="34" charset="0"/>
                <a:ea typeface="Verdana" panose="020B0604030504040204" pitchFamily="34" charset="0"/>
                <a:cs typeface="Open Sans Light" panose="020B0306030504020204" pitchFamily="34" charset="0"/>
              </a:rPr>
              <a:t>DG povratna cev</a:t>
            </a:r>
            <a:endParaRPr lang="en-US" sz="750" dirty="0">
              <a:solidFill>
                <a:prstClr val="white">
                  <a:lumMod val="50000"/>
                </a:prstClr>
              </a:solidFill>
              <a:latin typeface="Verdana" panose="020B0604030504040204" pitchFamily="34" charset="0"/>
              <a:ea typeface="Verdana" panose="020B0604030504040204" pitchFamily="34" charset="0"/>
              <a:cs typeface="Open Sans Light" panose="020B0306030504020204" pitchFamily="34" charset="0"/>
            </a:endParaRPr>
          </a:p>
        </p:txBody>
      </p:sp>
      <p:pic>
        <p:nvPicPr>
          <p:cNvPr id="261" name="Grafika 260">
            <a:extLst>
              <a:ext uri="{FF2B5EF4-FFF2-40B4-BE49-F238E27FC236}">
                <a16:creationId xmlns:a16="http://schemas.microsoft.com/office/drawing/2014/main" id="{242D2EB9-6325-7E4F-E9D7-CA980F9AFD9E}"/>
              </a:ext>
            </a:extLst>
          </p:cNvPr>
          <p:cNvPicPr>
            <a:picLocks noChangeAspect="1"/>
          </p:cNvPicPr>
          <p:nvPr/>
        </p:nvPicPr>
        <p:blipFill rotWithShape="1">
          <a:blip r:embed="rId1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 l="11648" t="12347" r="12513" b="29944"/>
          <a:stretch/>
        </p:blipFill>
        <p:spPr>
          <a:xfrm rot="10800000">
            <a:off x="4098581" y="1803179"/>
            <a:ext cx="810000" cy="616367"/>
          </a:xfrm>
          <a:prstGeom prst="rect">
            <a:avLst/>
          </a:prstGeom>
        </p:spPr>
      </p:pic>
      <p:grpSp>
        <p:nvGrpSpPr>
          <p:cNvPr id="4" name="Skupina 3">
            <a:extLst>
              <a:ext uri="{FF2B5EF4-FFF2-40B4-BE49-F238E27FC236}">
                <a16:creationId xmlns:a16="http://schemas.microsoft.com/office/drawing/2014/main" id="{5B5C3C9B-0FDF-BDB5-D2A4-4D5416937B50}"/>
              </a:ext>
            </a:extLst>
          </p:cNvPr>
          <p:cNvGrpSpPr/>
          <p:nvPr/>
        </p:nvGrpSpPr>
        <p:grpSpPr>
          <a:xfrm>
            <a:off x="2544628" y="2706881"/>
            <a:ext cx="1270368" cy="793781"/>
            <a:chOff x="3392837" y="3609175"/>
            <a:chExt cx="1693824" cy="1058374"/>
          </a:xfrm>
        </p:grpSpPr>
        <p:sp>
          <p:nvSpPr>
            <p:cNvPr id="309" name="TextBox 9">
              <a:extLst>
                <a:ext uri="{FF2B5EF4-FFF2-40B4-BE49-F238E27FC236}">
                  <a16:creationId xmlns:a16="http://schemas.microsoft.com/office/drawing/2014/main" id="{ADE93EC7-F560-278D-EBD0-CAD266A073DA}"/>
                </a:ext>
              </a:extLst>
            </p:cNvPr>
            <p:cNvSpPr txBox="1"/>
            <p:nvPr/>
          </p:nvSpPr>
          <p:spPr>
            <a:xfrm>
              <a:off x="3392838" y="3609175"/>
              <a:ext cx="1693823" cy="13850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sl-SI"/>
              </a:defPPr>
              <a:lvl1pPr marR="0" lvl="0" indent="0" fontAlgn="auto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878786"/>
                </a:buClr>
                <a:buSzPct val="100000"/>
                <a:buFontTx/>
                <a:buNone/>
                <a:tabLst/>
                <a:defRPr sz="1400" b="1">
                  <a:solidFill>
                    <a:srgbClr val="B6000F"/>
                  </a:solidFill>
                </a:defRPr>
              </a:lvl1pPr>
            </a:lstStyle>
            <a:p>
              <a:pPr defTabSz="685783">
                <a:spcBef>
                  <a:spcPts val="450"/>
                </a:spcBef>
              </a:pPr>
              <a:r>
                <a:rPr lang="sr-Latn-RS" sz="750" dirty="0">
                  <a:latin typeface="Verdana"/>
                </a:rPr>
                <a:t>Razmenjivači toplote</a:t>
              </a:r>
              <a:endParaRPr lang="en-US" sz="750" dirty="0">
                <a:latin typeface="Verdana"/>
              </a:endParaRPr>
            </a:p>
          </p:txBody>
        </p:sp>
        <p:pic>
          <p:nvPicPr>
            <p:cNvPr id="294" name="Slika 293">
              <a:extLst>
                <a:ext uri="{FF2B5EF4-FFF2-40B4-BE49-F238E27FC236}">
                  <a16:creationId xmlns:a16="http://schemas.microsoft.com/office/drawing/2014/main" id="{4E3F1EFB-BB96-BDB6-A0BF-504FF66D616A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392837" y="3865166"/>
              <a:ext cx="1080000" cy="802383"/>
            </a:xfrm>
            <a:prstGeom prst="rect">
              <a:avLst/>
            </a:prstGeom>
          </p:spPr>
        </p:pic>
      </p:grpSp>
      <p:grpSp>
        <p:nvGrpSpPr>
          <p:cNvPr id="3" name="Skupina 2">
            <a:extLst>
              <a:ext uri="{FF2B5EF4-FFF2-40B4-BE49-F238E27FC236}">
                <a16:creationId xmlns:a16="http://schemas.microsoft.com/office/drawing/2014/main" id="{074EA675-86D7-63E3-7675-475BCA04B1F2}"/>
              </a:ext>
            </a:extLst>
          </p:cNvPr>
          <p:cNvGrpSpPr/>
          <p:nvPr/>
        </p:nvGrpSpPr>
        <p:grpSpPr>
          <a:xfrm>
            <a:off x="1336917" y="2712820"/>
            <a:ext cx="5384610" cy="1850442"/>
            <a:chOff x="1591772" y="3718241"/>
            <a:chExt cx="7179477" cy="2467255"/>
          </a:xfrm>
        </p:grpSpPr>
        <p:pic>
          <p:nvPicPr>
            <p:cNvPr id="295" name="Slika 294">
              <a:extLst>
                <a:ext uri="{FF2B5EF4-FFF2-40B4-BE49-F238E27FC236}">
                  <a16:creationId xmlns:a16="http://schemas.microsoft.com/office/drawing/2014/main" id="{B4C22724-184B-9953-673E-8C12BD2A0833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591772" y="3718241"/>
              <a:ext cx="1080000" cy="958119"/>
            </a:xfrm>
            <a:prstGeom prst="rect">
              <a:avLst/>
            </a:prstGeom>
          </p:spPr>
        </p:pic>
        <p:grpSp>
          <p:nvGrpSpPr>
            <p:cNvPr id="300" name="Skupina 299">
              <a:extLst>
                <a:ext uri="{FF2B5EF4-FFF2-40B4-BE49-F238E27FC236}">
                  <a16:creationId xmlns:a16="http://schemas.microsoft.com/office/drawing/2014/main" id="{C02AB443-660D-5236-A9A2-A84C18A94756}"/>
                </a:ext>
              </a:extLst>
            </p:cNvPr>
            <p:cNvGrpSpPr/>
            <p:nvPr/>
          </p:nvGrpSpPr>
          <p:grpSpPr>
            <a:xfrm>
              <a:off x="7123947" y="5280111"/>
              <a:ext cx="1647302" cy="905385"/>
              <a:chOff x="4808177" y="7801070"/>
              <a:chExt cx="1647302" cy="905385"/>
            </a:xfrm>
          </p:grpSpPr>
          <p:sp>
            <p:nvSpPr>
              <p:cNvPr id="296" name="TextBox 13">
                <a:extLst>
                  <a:ext uri="{FF2B5EF4-FFF2-40B4-BE49-F238E27FC236}">
                    <a16:creationId xmlns:a16="http://schemas.microsoft.com/office/drawing/2014/main" id="{84131B94-E7A9-958F-69D7-E8A07146D110}"/>
                  </a:ext>
                </a:extLst>
              </p:cNvPr>
              <p:cNvSpPr txBox="1"/>
              <p:nvPr/>
            </p:nvSpPr>
            <p:spPr>
              <a:xfrm>
                <a:off x="4838192" y="7801070"/>
                <a:ext cx="1617287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zh-CN"/>
                </a:defPPr>
                <a:lvl1pPr>
                  <a:lnSpc>
                    <a:spcPct val="90000"/>
                  </a:lnSpc>
                  <a:spcBef>
                    <a:spcPts val="600"/>
                  </a:spcBef>
                  <a:buClr>
                    <a:schemeClr val="tx2"/>
                  </a:buClr>
                  <a:buSzPct val="100000"/>
                  <a:defRPr sz="1200" b="1">
                    <a:solidFill>
                      <a:schemeClr val="tx1">
                        <a:lumMod val="75000"/>
                        <a:lumOff val="25000"/>
                      </a:schemeClr>
                    </a:solidFill>
                  </a:defRPr>
                </a:lvl1pPr>
              </a:lstStyle>
              <a:p>
                <a:pPr defTabSz="685783">
                  <a:spcBef>
                    <a:spcPts val="450"/>
                  </a:spcBef>
                  <a:buClr>
                    <a:srgbClr val="878786"/>
                  </a:buClr>
                  <a:defRPr/>
                </a:pPr>
                <a:r>
                  <a:rPr lang="en-US" sz="750" dirty="0">
                    <a:solidFill>
                      <a:srgbClr val="B6000F"/>
                    </a:solidFill>
                    <a:latin typeface="Verdana"/>
                  </a:rPr>
                  <a:t>Oil-free</a:t>
                </a:r>
                <a:r>
                  <a:rPr lang="zh-CN" altLang="en-US" sz="750" dirty="0">
                    <a:solidFill>
                      <a:srgbClr val="B6000F"/>
                    </a:solidFill>
                    <a:latin typeface="Verdana"/>
                    <a:ea typeface="微软雅黑" panose="020B0503020204020204" pitchFamily="34" charset="-122"/>
                  </a:rPr>
                  <a:t> </a:t>
                </a:r>
                <a:r>
                  <a:rPr lang="sr-Latn-RS" altLang="zh-CN" sz="750" dirty="0">
                    <a:solidFill>
                      <a:srgbClr val="B6000F"/>
                    </a:solidFill>
                    <a:latin typeface="Verdana"/>
                    <a:ea typeface="微软雅黑" panose="020B0503020204020204" pitchFamily="34" charset="-122"/>
                  </a:rPr>
                  <a:t>Toplotne pumpe</a:t>
                </a:r>
                <a:endParaRPr lang="en-US" sz="750" dirty="0">
                  <a:solidFill>
                    <a:srgbClr val="B6000F"/>
                  </a:solidFill>
                  <a:latin typeface="Verdana"/>
                </a:endParaRPr>
              </a:p>
            </p:txBody>
          </p:sp>
          <p:sp>
            <p:nvSpPr>
              <p:cNvPr id="297" name="TextBox 14">
                <a:extLst>
                  <a:ext uri="{FF2B5EF4-FFF2-40B4-BE49-F238E27FC236}">
                    <a16:creationId xmlns:a16="http://schemas.microsoft.com/office/drawing/2014/main" id="{B69E103D-2325-FD92-4612-903D57E5F719}"/>
                  </a:ext>
                </a:extLst>
              </p:cNvPr>
              <p:cNvSpPr txBox="1"/>
              <p:nvPr/>
            </p:nvSpPr>
            <p:spPr>
              <a:xfrm>
                <a:off x="4808177" y="8090902"/>
                <a:ext cx="1617287" cy="61555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128582" indent="-128582" defTabSz="685783">
                  <a:buFont typeface="Arial" panose="020B0604020202020204" pitchFamily="34" charset="0"/>
                  <a:buChar char="•"/>
                  <a:defRPr/>
                </a:pPr>
                <a:r>
                  <a:rPr lang="en-US" altLang="zh-CN" sz="600" dirty="0">
                    <a:ln w="0"/>
                    <a:solidFill>
                      <a:srgbClr val="000000"/>
                    </a:solidFill>
                    <a:latin typeface="Verdana"/>
                    <a:ea typeface="微软雅黑" panose="020B0503020204020204" pitchFamily="34" charset="-122"/>
                  </a:rPr>
                  <a:t>Max. </a:t>
                </a:r>
                <a:r>
                  <a:rPr lang="sr-Latn-RS" altLang="zh-CN" sz="600" dirty="0">
                    <a:ln w="0"/>
                    <a:solidFill>
                      <a:srgbClr val="000000"/>
                    </a:solidFill>
                    <a:latin typeface="Verdana"/>
                    <a:ea typeface="微软雅黑" panose="020B0503020204020204" pitchFamily="34" charset="-122"/>
                  </a:rPr>
                  <a:t>Temoerature </a:t>
                </a:r>
                <a:r>
                  <a:rPr lang="en-US" altLang="zh-CN" sz="600" dirty="0">
                    <a:ln w="0"/>
                    <a:solidFill>
                      <a:srgbClr val="000000"/>
                    </a:solidFill>
                    <a:latin typeface="Verdana"/>
                    <a:ea typeface="微软雅黑" panose="020B0503020204020204" pitchFamily="34" charset="-122"/>
                  </a:rPr>
                  <a:t>67</a:t>
                </a:r>
                <a:r>
                  <a:rPr lang="sl-SI" altLang="zh-CN" sz="600" dirty="0">
                    <a:ln w="0"/>
                    <a:solidFill>
                      <a:srgbClr val="000000"/>
                    </a:solidFill>
                    <a:latin typeface="Verdana"/>
                    <a:ea typeface="微软雅黑" panose="020B0503020204020204" pitchFamily="34" charset="-122"/>
                  </a:rPr>
                  <a:t>°C (</a:t>
                </a:r>
                <a:r>
                  <a:rPr lang="en-US" altLang="zh-CN" sz="600" dirty="0">
                    <a:ln w="0"/>
                    <a:solidFill>
                      <a:srgbClr val="000000"/>
                    </a:solidFill>
                    <a:latin typeface="Verdana"/>
                    <a:ea typeface="微软雅黑" panose="020B0503020204020204" pitchFamily="34" charset="-122"/>
                  </a:rPr>
                  <a:t>7</a:t>
                </a:r>
                <a:r>
                  <a:rPr lang="sl-SI" altLang="zh-CN" sz="600" dirty="0">
                    <a:ln w="0"/>
                    <a:solidFill>
                      <a:srgbClr val="000000"/>
                    </a:solidFill>
                    <a:latin typeface="Verdana"/>
                    <a:ea typeface="微软雅黑" panose="020B0503020204020204" pitchFamily="34" charset="-122"/>
                  </a:rPr>
                  <a:t>5°C</a:t>
                </a:r>
                <a:r>
                  <a:rPr lang="zh-CN" altLang="en-US" sz="600" dirty="0">
                    <a:ln w="0"/>
                    <a:solidFill>
                      <a:srgbClr val="000000"/>
                    </a:solidFill>
                    <a:latin typeface="Verdana"/>
                    <a:ea typeface="微软雅黑" panose="020B0503020204020204" pitchFamily="34" charset="-122"/>
                  </a:rPr>
                  <a:t>）</a:t>
                </a:r>
                <a:endParaRPr lang="en-US" altLang="zh-CN" sz="600" dirty="0">
                  <a:ln w="0"/>
                  <a:solidFill>
                    <a:srgbClr val="000000"/>
                  </a:solidFill>
                  <a:latin typeface="Verdana"/>
                  <a:ea typeface="微软雅黑" panose="020B0503020204020204" pitchFamily="34" charset="-122"/>
                </a:endParaRPr>
              </a:p>
              <a:p>
                <a:pPr marL="128582" indent="-128582" defTabSz="685783">
                  <a:buFont typeface="Arial" panose="020B0604020202020204" pitchFamily="34" charset="0"/>
                  <a:buChar char="•"/>
                  <a:defRPr/>
                </a:pPr>
                <a:r>
                  <a:rPr lang="sr-Latn-RS" altLang="zh-CN" sz="600" dirty="0">
                    <a:ln w="0"/>
                    <a:solidFill>
                      <a:srgbClr val="000000"/>
                    </a:solidFill>
                    <a:latin typeface="Verdana"/>
                    <a:ea typeface="微软雅黑" panose="020B0503020204020204" pitchFamily="34" charset="-122"/>
                  </a:rPr>
                  <a:t>Scenarijia sa velikim </a:t>
                </a:r>
                <a:r>
                  <a:rPr lang="el-GR" altLang="zh-CN" sz="600" dirty="0">
                    <a:ln w="0"/>
                    <a:solidFill>
                      <a:srgbClr val="000000"/>
                    </a:solidFill>
                    <a:latin typeface="Verdana"/>
                    <a:ea typeface="微软雅黑" panose="020B0503020204020204" pitchFamily="34" charset="-122"/>
                  </a:rPr>
                  <a:t>Δ</a:t>
                </a:r>
                <a:r>
                  <a:rPr lang="en-US" altLang="zh-CN" sz="600" dirty="0">
                    <a:ln w="0"/>
                    <a:solidFill>
                      <a:srgbClr val="000000"/>
                    </a:solidFill>
                    <a:latin typeface="Verdana"/>
                    <a:ea typeface="微软雅黑" panose="020B0503020204020204" pitchFamily="34" charset="-122"/>
                  </a:rPr>
                  <a:t>T </a:t>
                </a:r>
                <a:r>
                  <a:rPr lang="sr-Latn-RS" altLang="zh-CN" sz="600" dirty="0">
                    <a:ln w="0"/>
                    <a:solidFill>
                      <a:srgbClr val="000000"/>
                    </a:solidFill>
                    <a:latin typeface="Verdana"/>
                    <a:ea typeface="微软雅黑" panose="020B0503020204020204" pitchFamily="34" charset="-122"/>
                  </a:rPr>
                  <a:t>pogoduju mrežama daljinkosg grejanja</a:t>
                </a:r>
                <a:endParaRPr lang="en-US" altLang="zh-CN" sz="600" dirty="0">
                  <a:ln w="0"/>
                  <a:solidFill>
                    <a:srgbClr val="000000"/>
                  </a:solidFill>
                  <a:latin typeface="Verdana"/>
                  <a:ea typeface="微软雅黑" panose="020B0503020204020204" pitchFamily="34" charset="-122"/>
                </a:endParaRPr>
              </a:p>
            </p:txBody>
          </p:sp>
        </p:grpSp>
        <p:cxnSp>
          <p:nvCxnSpPr>
            <p:cNvPr id="307" name="Povezovalnik: kolenski 306">
              <a:extLst>
                <a:ext uri="{FF2B5EF4-FFF2-40B4-BE49-F238E27FC236}">
                  <a16:creationId xmlns:a16="http://schemas.microsoft.com/office/drawing/2014/main" id="{FF13DF79-C49A-BDFA-C761-5CB7CC8B49BA}"/>
                </a:ext>
              </a:extLst>
            </p:cNvPr>
            <p:cNvCxnSpPr>
              <a:cxnSpLocks/>
              <a:endCxn id="295" idx="0"/>
            </p:cNvCxnSpPr>
            <p:nvPr/>
          </p:nvCxnSpPr>
          <p:spPr>
            <a:xfrm rot="10800000">
              <a:off x="2131773" y="3718241"/>
              <a:ext cx="5046015" cy="1949402"/>
            </a:xfrm>
            <a:prstGeom prst="bentConnector4">
              <a:avLst>
                <a:gd name="adj1" fmla="val 44649"/>
                <a:gd name="adj2" fmla="val 50162"/>
              </a:avLst>
            </a:prstGeom>
            <a:ln>
              <a:solidFill>
                <a:srgbClr val="B6000F"/>
              </a:solidFill>
              <a:headEnd type="none" w="med" len="med"/>
              <a:tailEnd type="diamon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61" name="Povezovalnik: kolenski 360">
            <a:extLst>
              <a:ext uri="{FF2B5EF4-FFF2-40B4-BE49-F238E27FC236}">
                <a16:creationId xmlns:a16="http://schemas.microsoft.com/office/drawing/2014/main" id="{081AF488-0005-D285-531F-85AD9C3B6B0B}"/>
              </a:ext>
            </a:extLst>
          </p:cNvPr>
          <p:cNvCxnSpPr>
            <a:stCxn id="207" idx="0"/>
            <a:endCxn id="178" idx="4"/>
          </p:cNvCxnSpPr>
          <p:nvPr/>
        </p:nvCxnSpPr>
        <p:spPr>
          <a:xfrm rot="5400000" flipH="1" flipV="1">
            <a:off x="4457927" y="3402493"/>
            <a:ext cx="711168" cy="967408"/>
          </a:xfrm>
          <a:prstGeom prst="bentConnector3">
            <a:avLst/>
          </a:prstGeom>
          <a:ln>
            <a:solidFill>
              <a:schemeClr val="bg1">
                <a:lumMod val="50000"/>
              </a:schemeClr>
            </a:solidFill>
            <a:prstDash val="lgDash"/>
            <a:tailEnd type="diamond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8" name="Group 47">
            <a:extLst>
              <a:ext uri="{FF2B5EF4-FFF2-40B4-BE49-F238E27FC236}">
                <a16:creationId xmlns:a16="http://schemas.microsoft.com/office/drawing/2014/main" id="{55407A7B-F43D-34EA-3379-347ADA5374D1}"/>
              </a:ext>
            </a:extLst>
          </p:cNvPr>
          <p:cNvGrpSpPr/>
          <p:nvPr/>
        </p:nvGrpSpPr>
        <p:grpSpPr>
          <a:xfrm>
            <a:off x="100246" y="761984"/>
            <a:ext cx="5016094" cy="2093628"/>
            <a:chOff x="100246" y="761984"/>
            <a:chExt cx="5016094" cy="2093628"/>
          </a:xfrm>
        </p:grpSpPr>
        <p:grpSp>
          <p:nvGrpSpPr>
            <p:cNvPr id="311" name="Skupina 310">
              <a:extLst>
                <a:ext uri="{FF2B5EF4-FFF2-40B4-BE49-F238E27FC236}">
                  <a16:creationId xmlns:a16="http://schemas.microsoft.com/office/drawing/2014/main" id="{88429849-BACD-D428-51AF-2B898F4E42DF}"/>
                </a:ext>
              </a:extLst>
            </p:cNvPr>
            <p:cNvGrpSpPr/>
            <p:nvPr/>
          </p:nvGrpSpPr>
          <p:grpSpPr>
            <a:xfrm>
              <a:off x="100246" y="761984"/>
              <a:ext cx="2127623" cy="1285332"/>
              <a:chOff x="-1389551" y="618204"/>
              <a:chExt cx="2836830" cy="1713775"/>
            </a:xfrm>
          </p:grpSpPr>
          <p:sp>
            <p:nvSpPr>
              <p:cNvPr id="312" name="Rectangle 116">
                <a:extLst>
                  <a:ext uri="{FF2B5EF4-FFF2-40B4-BE49-F238E27FC236}">
                    <a16:creationId xmlns:a16="http://schemas.microsoft.com/office/drawing/2014/main" id="{96D458EF-ABA9-9BCC-EF96-D5B83BB35CB9}"/>
                  </a:ext>
                </a:extLst>
              </p:cNvPr>
              <p:cNvSpPr/>
              <p:nvPr/>
            </p:nvSpPr>
            <p:spPr>
              <a:xfrm>
                <a:off x="-1389551" y="618204"/>
                <a:ext cx="2743909" cy="1713775"/>
              </a:xfrm>
              <a:prstGeom prst="rect">
                <a:avLst/>
              </a:prstGeom>
              <a:solidFill>
                <a:srgbClr val="FFFFFF">
                  <a:alpha val="60000"/>
                </a:srgbClr>
              </a:solidFill>
              <a:ln w="9525" cap="flat" cmpd="sng" algn="ctr">
                <a:noFill/>
                <a:prstDash val="solid"/>
              </a:ln>
              <a:effectLst>
                <a:outerShdw blurRad="63500" dist="38100" dir="5400000" algn="t" rotWithShape="0">
                  <a:prstClr val="black">
                    <a:alpha val="30000"/>
                  </a:prstClr>
                </a:outerShdw>
              </a:effectLst>
            </p:spPr>
            <p:txBody>
              <a:bodyPr rtlCol="0" anchor="ctr"/>
              <a:lstStyle/>
              <a:p>
                <a:pPr algn="ctr" defTabSz="685766">
                  <a:defRPr/>
                </a:pPr>
                <a:endParaRPr lang="id-ID" kern="0" err="1">
                  <a:solidFill>
                    <a:prstClr val="white"/>
                  </a:solidFill>
                  <a:latin typeface="Verdana"/>
                </a:endParaRPr>
              </a:p>
            </p:txBody>
          </p:sp>
          <p:sp>
            <p:nvSpPr>
              <p:cNvPr id="313" name="TextBox 117">
                <a:extLst>
                  <a:ext uri="{FF2B5EF4-FFF2-40B4-BE49-F238E27FC236}">
                    <a16:creationId xmlns:a16="http://schemas.microsoft.com/office/drawing/2014/main" id="{454ADBC2-5344-21A3-90F8-E69B9C882239}"/>
                  </a:ext>
                </a:extLst>
              </p:cNvPr>
              <p:cNvSpPr txBox="1"/>
              <p:nvPr/>
            </p:nvSpPr>
            <p:spPr>
              <a:xfrm>
                <a:off x="-1323596" y="1453218"/>
                <a:ext cx="779946" cy="2215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defTabSz="685766">
                  <a:lnSpc>
                    <a:spcPct val="90000"/>
                  </a:lnSpc>
                  <a:spcBef>
                    <a:spcPts val="450"/>
                  </a:spcBef>
                  <a:buClr>
                    <a:srgbClr val="878786"/>
                  </a:buClr>
                  <a:buSzPct val="100000"/>
                  <a:defRPr/>
                </a:pPr>
                <a:r>
                  <a:rPr lang="sl-SI" sz="600" b="1" kern="0" dirty="0">
                    <a:solidFill>
                      <a:prstClr val="white">
                        <a:lumMod val="50000"/>
                      </a:prstClr>
                    </a:solidFill>
                    <a:latin typeface="Verdana"/>
                  </a:rPr>
                  <a:t>Leanheat Production</a:t>
                </a:r>
                <a:endParaRPr lang="en-US" sz="600" b="1" kern="0" dirty="0">
                  <a:solidFill>
                    <a:prstClr val="white">
                      <a:lumMod val="50000"/>
                    </a:prstClr>
                  </a:solidFill>
                  <a:latin typeface="Verdana"/>
                </a:endParaRPr>
              </a:p>
            </p:txBody>
          </p:sp>
          <p:sp>
            <p:nvSpPr>
              <p:cNvPr id="314" name="TextBox 118">
                <a:extLst>
                  <a:ext uri="{FF2B5EF4-FFF2-40B4-BE49-F238E27FC236}">
                    <a16:creationId xmlns:a16="http://schemas.microsoft.com/office/drawing/2014/main" id="{8B487AB7-97F4-0CFF-3CA0-EE83A4B9670B}"/>
                  </a:ext>
                </a:extLst>
              </p:cNvPr>
              <p:cNvSpPr txBox="1"/>
              <p:nvPr/>
            </p:nvSpPr>
            <p:spPr>
              <a:xfrm>
                <a:off x="-554523" y="1453218"/>
                <a:ext cx="929533" cy="2215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 defTabSz="685766">
                  <a:lnSpc>
                    <a:spcPct val="90000"/>
                  </a:lnSpc>
                  <a:spcBef>
                    <a:spcPts val="450"/>
                  </a:spcBef>
                  <a:buClr>
                    <a:srgbClr val="878786"/>
                  </a:buClr>
                  <a:buSzPct val="100000"/>
                  <a:defRPr/>
                </a:pPr>
                <a:r>
                  <a:rPr lang="en-US" sz="600" b="1" kern="0" dirty="0">
                    <a:solidFill>
                      <a:prstClr val="white">
                        <a:lumMod val="50000"/>
                      </a:prstClr>
                    </a:solidFill>
                    <a:latin typeface="Verdana"/>
                  </a:rPr>
                  <a:t>Leanheat Network</a:t>
                </a:r>
              </a:p>
            </p:txBody>
          </p:sp>
          <p:sp>
            <p:nvSpPr>
              <p:cNvPr id="315" name="TextBox 9">
                <a:extLst>
                  <a:ext uri="{FF2B5EF4-FFF2-40B4-BE49-F238E27FC236}">
                    <a16:creationId xmlns:a16="http://schemas.microsoft.com/office/drawing/2014/main" id="{F71DDCA2-383E-5534-45EE-879B1439042C}"/>
                  </a:ext>
                </a:extLst>
              </p:cNvPr>
              <p:cNvSpPr txBox="1"/>
              <p:nvPr/>
            </p:nvSpPr>
            <p:spPr>
              <a:xfrm>
                <a:off x="-398925" y="911697"/>
                <a:ext cx="766550" cy="443198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spAutoFit/>
              </a:bodyPr>
              <a:lstStyle/>
              <a:p>
                <a:pPr defTabSz="685783">
                  <a:lnSpc>
                    <a:spcPct val="90000"/>
                  </a:lnSpc>
                  <a:defRPr/>
                </a:pPr>
                <a:r>
                  <a:rPr lang="sr-Latn-RS" sz="600" kern="0" dirty="0">
                    <a:solidFill>
                      <a:srgbClr val="000000"/>
                    </a:solidFill>
                    <a:latin typeface="Verdana"/>
                  </a:rPr>
                  <a:t>Optimizacija razvodne temperature u mrežama DG</a:t>
                </a:r>
                <a:endParaRPr lang="en-US" sz="600" kern="0" dirty="0">
                  <a:solidFill>
                    <a:srgbClr val="000000"/>
                  </a:solidFill>
                  <a:latin typeface="Verdana"/>
                </a:endParaRPr>
              </a:p>
            </p:txBody>
          </p:sp>
          <p:sp>
            <p:nvSpPr>
              <p:cNvPr id="316" name="TextBox 9">
                <a:extLst>
                  <a:ext uri="{FF2B5EF4-FFF2-40B4-BE49-F238E27FC236}">
                    <a16:creationId xmlns:a16="http://schemas.microsoft.com/office/drawing/2014/main" id="{1471D7CD-4EA2-980E-1255-C7A7830179CA}"/>
                  </a:ext>
                </a:extLst>
              </p:cNvPr>
              <p:cNvSpPr txBox="1"/>
              <p:nvPr/>
            </p:nvSpPr>
            <p:spPr>
              <a:xfrm>
                <a:off x="511706" y="800899"/>
                <a:ext cx="842652" cy="664797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spAutoFit/>
              </a:bodyPr>
              <a:lstStyle/>
              <a:p>
                <a:pPr defTabSz="685783">
                  <a:lnSpc>
                    <a:spcPct val="90000"/>
                  </a:lnSpc>
                  <a:defRPr/>
                </a:pPr>
                <a:r>
                  <a:rPr lang="el-GR" sz="600" kern="0" dirty="0">
                    <a:solidFill>
                      <a:srgbClr val="000000"/>
                    </a:solidFill>
                    <a:latin typeface="Consolas" panose="020B0609020204030204" pitchFamily="49" charset="0"/>
                  </a:rPr>
                  <a:t>Δ</a:t>
                </a:r>
                <a:r>
                  <a:rPr lang="sl-SI" sz="600" kern="0" dirty="0">
                    <a:solidFill>
                      <a:srgbClr val="000000"/>
                    </a:solidFill>
                    <a:latin typeface="Verdana"/>
                  </a:rPr>
                  <a:t>P </a:t>
                </a:r>
                <a:r>
                  <a:rPr lang="sr-Latn-RS" sz="600" kern="0" dirty="0">
                    <a:solidFill>
                      <a:srgbClr val="000000"/>
                    </a:solidFill>
                    <a:latin typeface="Verdana"/>
                  </a:rPr>
                  <a:t>optimizacija u mreži</a:t>
                </a:r>
                <a:r>
                  <a:rPr lang="en-US" sz="600" kern="0" dirty="0">
                    <a:solidFill>
                      <a:srgbClr val="000000"/>
                    </a:solidFill>
                    <a:latin typeface="Verdana"/>
                  </a:rPr>
                  <a:t> / </a:t>
                </a:r>
                <a:r>
                  <a:rPr lang="sr-Latn-RS" sz="600" kern="0" dirty="0">
                    <a:solidFill>
                      <a:srgbClr val="000000"/>
                    </a:solidFill>
                    <a:latin typeface="Verdana"/>
                  </a:rPr>
                  <a:t>Snižavanje troškova pumpanja i poboljašanje </a:t>
                </a:r>
                <a:r>
                  <a:rPr lang="en-US" sz="600" kern="0" dirty="0">
                    <a:solidFill>
                      <a:srgbClr val="000000"/>
                    </a:solidFill>
                    <a:latin typeface="Verdana"/>
                  </a:rPr>
                  <a:t>dT</a:t>
                </a:r>
              </a:p>
            </p:txBody>
          </p:sp>
          <p:cxnSp>
            <p:nvCxnSpPr>
              <p:cNvPr id="317" name="Straight Connector 9">
                <a:extLst>
                  <a:ext uri="{FF2B5EF4-FFF2-40B4-BE49-F238E27FC236}">
                    <a16:creationId xmlns:a16="http://schemas.microsoft.com/office/drawing/2014/main" id="{128CF593-5D75-763F-E60A-9B4C275CE8D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638894" y="1453218"/>
                <a:ext cx="0" cy="221599"/>
              </a:xfrm>
              <a:prstGeom prst="line">
                <a:avLst/>
              </a:prstGeom>
              <a:noFill/>
              <a:ln w="6350" cap="flat" cmpd="sng" algn="ctr">
                <a:solidFill>
                  <a:srgbClr val="E60A11"/>
                </a:solidFill>
                <a:prstDash val="solid"/>
              </a:ln>
              <a:effectLst/>
            </p:spPr>
          </p:cxnSp>
          <p:cxnSp>
            <p:nvCxnSpPr>
              <p:cNvPr id="318" name="Straight Connector 14">
                <a:extLst>
                  <a:ext uri="{FF2B5EF4-FFF2-40B4-BE49-F238E27FC236}">
                    <a16:creationId xmlns:a16="http://schemas.microsoft.com/office/drawing/2014/main" id="{50761CFF-B111-9AD5-3114-574BB355F47C}"/>
                  </a:ext>
                </a:extLst>
              </p:cNvPr>
              <p:cNvCxnSpPr/>
              <p:nvPr/>
            </p:nvCxnSpPr>
            <p:spPr>
              <a:xfrm>
                <a:off x="426129" y="861386"/>
                <a:ext cx="0" cy="530747"/>
              </a:xfrm>
              <a:prstGeom prst="line">
                <a:avLst/>
              </a:prstGeom>
              <a:noFill/>
              <a:ln w="6350" cap="flat" cmpd="sng" algn="ctr">
                <a:solidFill>
                  <a:sysClr val="window" lastClr="FFFFFF">
                    <a:lumMod val="75000"/>
                  </a:sysClr>
                </a:solidFill>
                <a:prstDash val="solid"/>
              </a:ln>
              <a:effectLst/>
            </p:spPr>
          </p:cxnSp>
          <p:sp>
            <p:nvSpPr>
              <p:cNvPr id="319" name="TextBox 9">
                <a:extLst>
                  <a:ext uri="{FF2B5EF4-FFF2-40B4-BE49-F238E27FC236}">
                    <a16:creationId xmlns:a16="http://schemas.microsoft.com/office/drawing/2014/main" id="{E07FFC83-68D7-F557-5FB3-92DCF5CCD135}"/>
                  </a:ext>
                </a:extLst>
              </p:cNvPr>
              <p:cNvSpPr txBox="1"/>
              <p:nvPr/>
            </p:nvSpPr>
            <p:spPr>
              <a:xfrm>
                <a:off x="-1279372" y="618204"/>
                <a:ext cx="2492475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spAutoFit/>
              </a:bodyPr>
              <a:lstStyle/>
              <a:p>
                <a:pPr defTabSz="685783">
                  <a:lnSpc>
                    <a:spcPct val="90000"/>
                  </a:lnSpc>
                  <a:defRPr/>
                </a:pPr>
                <a:r>
                  <a:rPr lang="sr-Latn-RS" sz="750" b="1" kern="0" dirty="0">
                    <a:solidFill>
                      <a:srgbClr val="E60A11"/>
                    </a:solidFill>
                    <a:latin typeface="Verdana"/>
                  </a:rPr>
                  <a:t>Alati za daljinski nadzor</a:t>
                </a:r>
                <a:r>
                  <a:rPr lang="en-US" sz="750" b="1" kern="0" dirty="0">
                    <a:solidFill>
                      <a:srgbClr val="E60A11"/>
                    </a:solidFill>
                    <a:latin typeface="Verdana"/>
                  </a:rPr>
                  <a:t> &amp; </a:t>
                </a:r>
                <a:r>
                  <a:rPr lang="sr-Latn-RS" sz="750" b="1" kern="0" dirty="0">
                    <a:solidFill>
                      <a:srgbClr val="E60A11"/>
                    </a:solidFill>
                    <a:latin typeface="Verdana"/>
                  </a:rPr>
                  <a:t>optimizaciju</a:t>
                </a:r>
                <a:endParaRPr lang="en-US" sz="750" b="1" kern="0" dirty="0">
                  <a:solidFill>
                    <a:srgbClr val="E60A11"/>
                  </a:solidFill>
                  <a:latin typeface="Verdana"/>
                </a:endParaRPr>
              </a:p>
            </p:txBody>
          </p:sp>
          <p:sp>
            <p:nvSpPr>
              <p:cNvPr id="320" name="TextBox 115">
                <a:extLst>
                  <a:ext uri="{FF2B5EF4-FFF2-40B4-BE49-F238E27FC236}">
                    <a16:creationId xmlns:a16="http://schemas.microsoft.com/office/drawing/2014/main" id="{D82F4D72-F9E3-F14D-0398-2937B2EC23C6}"/>
                  </a:ext>
                </a:extLst>
              </p:cNvPr>
              <p:cNvSpPr txBox="1"/>
              <p:nvPr/>
            </p:nvSpPr>
            <p:spPr>
              <a:xfrm>
                <a:off x="667333" y="1466514"/>
                <a:ext cx="779946" cy="2215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defTabSz="685766">
                  <a:lnSpc>
                    <a:spcPct val="90000"/>
                  </a:lnSpc>
                  <a:spcBef>
                    <a:spcPts val="450"/>
                  </a:spcBef>
                  <a:buClr>
                    <a:srgbClr val="878786"/>
                  </a:buClr>
                  <a:buSzPct val="100000"/>
                  <a:defRPr/>
                </a:pPr>
                <a:r>
                  <a:rPr lang="sl-SI" sz="600" b="1" kern="0" dirty="0">
                    <a:solidFill>
                      <a:prstClr val="white">
                        <a:lumMod val="50000"/>
                      </a:prstClr>
                    </a:solidFill>
                    <a:latin typeface="Verdana"/>
                  </a:rPr>
                  <a:t>Leanheat </a:t>
                </a:r>
                <a:r>
                  <a:rPr lang="en-US" sz="600" b="1" kern="0" dirty="0">
                    <a:solidFill>
                      <a:prstClr val="white">
                        <a:lumMod val="50000"/>
                      </a:prstClr>
                    </a:solidFill>
                    <a:latin typeface="Verdana"/>
                  </a:rPr>
                  <a:t>Monitor</a:t>
                </a:r>
              </a:p>
            </p:txBody>
          </p:sp>
          <p:cxnSp>
            <p:nvCxnSpPr>
              <p:cNvPr id="321" name="Straight Connector 143">
                <a:extLst>
                  <a:ext uri="{FF2B5EF4-FFF2-40B4-BE49-F238E27FC236}">
                    <a16:creationId xmlns:a16="http://schemas.microsoft.com/office/drawing/2014/main" id="{C335E2A4-4FDC-F037-C8C4-C05630D14B7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94160" y="1457838"/>
                <a:ext cx="0" cy="221599"/>
              </a:xfrm>
              <a:prstGeom prst="line">
                <a:avLst/>
              </a:prstGeom>
              <a:noFill/>
              <a:ln w="6350" cap="flat" cmpd="sng" algn="ctr">
                <a:solidFill>
                  <a:srgbClr val="E60A11"/>
                </a:solidFill>
                <a:prstDash val="solid"/>
              </a:ln>
              <a:effectLst/>
            </p:spPr>
          </p:cxnSp>
          <p:grpSp>
            <p:nvGrpSpPr>
              <p:cNvPr id="322" name="Skupina 321">
                <a:extLst>
                  <a:ext uri="{FF2B5EF4-FFF2-40B4-BE49-F238E27FC236}">
                    <a16:creationId xmlns:a16="http://schemas.microsoft.com/office/drawing/2014/main" id="{FEAF54D7-ED6C-8927-6285-EECDD65A05AA}"/>
                  </a:ext>
                </a:extLst>
              </p:cNvPr>
              <p:cNvGrpSpPr/>
              <p:nvPr/>
            </p:nvGrpSpPr>
            <p:grpSpPr>
              <a:xfrm>
                <a:off x="-1093273" y="1746580"/>
                <a:ext cx="2199384" cy="565200"/>
                <a:chOff x="-1745708" y="2573057"/>
                <a:chExt cx="2199384" cy="565200"/>
              </a:xfrm>
            </p:grpSpPr>
            <p:pic>
              <p:nvPicPr>
                <p:cNvPr id="325" name="Slika 324">
                  <a:extLst>
                    <a:ext uri="{FF2B5EF4-FFF2-40B4-BE49-F238E27FC236}">
                      <a16:creationId xmlns:a16="http://schemas.microsoft.com/office/drawing/2014/main" id="{E476F208-79E3-D4B8-9657-E4511639753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1" cstate="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-1745708" y="2573057"/>
                  <a:ext cx="734048" cy="565200"/>
                </a:xfrm>
                <a:prstGeom prst="rect">
                  <a:avLst/>
                </a:prstGeom>
              </p:spPr>
            </p:pic>
            <p:pic>
              <p:nvPicPr>
                <p:cNvPr id="326" name="Slika 325">
                  <a:extLst>
                    <a:ext uri="{FF2B5EF4-FFF2-40B4-BE49-F238E27FC236}">
                      <a16:creationId xmlns:a16="http://schemas.microsoft.com/office/drawing/2014/main" id="{F140E1B4-825E-C9C8-855D-26271C1253B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2" cstate="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-1009512" y="2574078"/>
                  <a:ext cx="720000" cy="564179"/>
                </a:xfrm>
                <a:prstGeom prst="rect">
                  <a:avLst/>
                </a:prstGeom>
              </p:spPr>
            </p:pic>
            <p:pic>
              <p:nvPicPr>
                <p:cNvPr id="327" name="Slika 326">
                  <a:extLst>
                    <a:ext uri="{FF2B5EF4-FFF2-40B4-BE49-F238E27FC236}">
                      <a16:creationId xmlns:a16="http://schemas.microsoft.com/office/drawing/2014/main" id="{07CF3732-C530-488F-4DDC-0FA203D98F0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 cstate="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-287363" y="2573057"/>
                  <a:ext cx="741039" cy="565200"/>
                </a:xfrm>
                <a:prstGeom prst="rect">
                  <a:avLst/>
                </a:prstGeom>
              </p:spPr>
            </p:pic>
          </p:grpSp>
          <p:sp>
            <p:nvSpPr>
              <p:cNvPr id="323" name="TextBox 9">
                <a:extLst>
                  <a:ext uri="{FF2B5EF4-FFF2-40B4-BE49-F238E27FC236}">
                    <a16:creationId xmlns:a16="http://schemas.microsoft.com/office/drawing/2014/main" id="{E01EE1EE-5A5F-B343-7850-1F0885C86BC9}"/>
                  </a:ext>
                </a:extLst>
              </p:cNvPr>
              <p:cNvSpPr txBox="1"/>
              <p:nvPr/>
            </p:nvSpPr>
            <p:spPr>
              <a:xfrm>
                <a:off x="-1312428" y="911697"/>
                <a:ext cx="840332" cy="443198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spAutoFit/>
              </a:bodyPr>
              <a:lstStyle/>
              <a:p>
                <a:pPr defTabSz="685783">
                  <a:lnSpc>
                    <a:spcPct val="90000"/>
                  </a:lnSpc>
                  <a:defRPr/>
                </a:pPr>
                <a:r>
                  <a:rPr lang="sr-Latn-RS" sz="600" kern="0" dirty="0">
                    <a:solidFill>
                      <a:srgbClr val="000000"/>
                    </a:solidFill>
                    <a:latin typeface="Verdana"/>
                  </a:rPr>
                  <a:t>Kalkulacija najboljeg ekonsmskog  miksa </a:t>
                </a:r>
                <a:r>
                  <a:rPr lang="en-US" sz="600" kern="0" dirty="0">
                    <a:solidFill>
                      <a:srgbClr val="000000"/>
                    </a:solidFill>
                    <a:latin typeface="Verdana"/>
                  </a:rPr>
                  <a:t> </a:t>
                </a:r>
                <a:r>
                  <a:rPr lang="sr-Latn-RS" sz="600" kern="0" dirty="0">
                    <a:solidFill>
                      <a:srgbClr val="000000"/>
                    </a:solidFill>
                    <a:latin typeface="Verdana"/>
                  </a:rPr>
                  <a:t>energije</a:t>
                </a:r>
                <a:endParaRPr lang="en-US" sz="600" kern="0" dirty="0">
                  <a:solidFill>
                    <a:srgbClr val="000000"/>
                  </a:solidFill>
                  <a:latin typeface="Verdana"/>
                </a:endParaRPr>
              </a:p>
            </p:txBody>
          </p:sp>
          <p:cxnSp>
            <p:nvCxnSpPr>
              <p:cNvPr id="324" name="Straight Connector 14">
                <a:extLst>
                  <a:ext uri="{FF2B5EF4-FFF2-40B4-BE49-F238E27FC236}">
                    <a16:creationId xmlns:a16="http://schemas.microsoft.com/office/drawing/2014/main" id="{B0E13829-A2BE-01FF-F1C8-B02A58038B1C}"/>
                  </a:ext>
                </a:extLst>
              </p:cNvPr>
              <p:cNvCxnSpPr/>
              <p:nvPr/>
            </p:nvCxnSpPr>
            <p:spPr>
              <a:xfrm>
                <a:off x="-454931" y="867923"/>
                <a:ext cx="0" cy="530747"/>
              </a:xfrm>
              <a:prstGeom prst="line">
                <a:avLst/>
              </a:prstGeom>
              <a:noFill/>
              <a:ln w="6350" cap="flat" cmpd="sng" algn="ctr">
                <a:solidFill>
                  <a:sysClr val="window" lastClr="FFFFFF">
                    <a:lumMod val="75000"/>
                  </a:sysClr>
                </a:solidFill>
                <a:prstDash val="solid"/>
              </a:ln>
              <a:effectLst/>
            </p:spPr>
          </p:cxnSp>
        </p:grpSp>
        <p:cxnSp>
          <p:nvCxnSpPr>
            <p:cNvPr id="370" name="Povezovalnik: kolenski 369">
              <a:extLst>
                <a:ext uri="{FF2B5EF4-FFF2-40B4-BE49-F238E27FC236}">
                  <a16:creationId xmlns:a16="http://schemas.microsoft.com/office/drawing/2014/main" id="{F92FB21B-2DFE-EB19-6C16-39C9EEFF3C58}"/>
                </a:ext>
              </a:extLst>
            </p:cNvPr>
            <p:cNvCxnSpPr>
              <a:cxnSpLocks/>
              <a:stCxn id="312" idx="2"/>
              <a:endCxn id="178" idx="10"/>
            </p:cNvCxnSpPr>
            <p:nvPr/>
          </p:nvCxnSpPr>
          <p:spPr>
            <a:xfrm rot="16200000" flipH="1">
              <a:off x="2718628" y="457899"/>
              <a:ext cx="808296" cy="3987129"/>
            </a:xfrm>
            <a:prstGeom prst="bentConnector3">
              <a:avLst>
                <a:gd name="adj1" fmla="val 50000"/>
              </a:avLst>
            </a:prstGeom>
            <a:ln>
              <a:solidFill>
                <a:srgbClr val="B6000F"/>
              </a:solidFill>
              <a:headEnd type="none" w="lg" len="med"/>
              <a:tailEnd type="diamon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0A004C30-CB4C-43A4-9DF5-B87C57932F53}"/>
              </a:ext>
            </a:extLst>
          </p:cNvPr>
          <p:cNvGrpSpPr/>
          <p:nvPr/>
        </p:nvGrpSpPr>
        <p:grpSpPr>
          <a:xfrm>
            <a:off x="2556549" y="735670"/>
            <a:ext cx="3997687" cy="2140865"/>
            <a:chOff x="2556549" y="735670"/>
            <a:chExt cx="3997687" cy="2140865"/>
          </a:xfrm>
        </p:grpSpPr>
        <p:pic>
          <p:nvPicPr>
            <p:cNvPr id="279" name="Slika 278">
              <a:extLst>
                <a:ext uri="{FF2B5EF4-FFF2-40B4-BE49-F238E27FC236}">
                  <a16:creationId xmlns:a16="http://schemas.microsoft.com/office/drawing/2014/main" id="{9891D7CF-56AC-8B22-0F5C-D547ECDCF0DA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323349" y="2218885"/>
              <a:ext cx="810000" cy="657650"/>
            </a:xfrm>
            <a:prstGeom prst="rect">
              <a:avLst/>
            </a:prstGeom>
          </p:spPr>
        </p:pic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514F777D-3005-7B80-437B-3E23FBA13009}"/>
                </a:ext>
              </a:extLst>
            </p:cNvPr>
            <p:cNvGrpSpPr/>
            <p:nvPr/>
          </p:nvGrpSpPr>
          <p:grpSpPr>
            <a:xfrm>
              <a:off x="2556549" y="735670"/>
              <a:ext cx="3997687" cy="1545938"/>
              <a:chOff x="2556549" y="735670"/>
              <a:chExt cx="3997687" cy="1545938"/>
            </a:xfrm>
          </p:grpSpPr>
          <p:cxnSp>
            <p:nvCxnSpPr>
              <p:cNvPr id="278" name="Povezovalnik: kolenski 277">
                <a:extLst>
                  <a:ext uri="{FF2B5EF4-FFF2-40B4-BE49-F238E27FC236}">
                    <a16:creationId xmlns:a16="http://schemas.microsoft.com/office/drawing/2014/main" id="{B16359DC-DD98-08B8-E531-FA5C39E16AEC}"/>
                  </a:ext>
                </a:extLst>
              </p:cNvPr>
              <p:cNvCxnSpPr>
                <a:cxnSpLocks/>
                <a:stCxn id="272" idx="3"/>
              </p:cNvCxnSpPr>
              <p:nvPr/>
            </p:nvCxnSpPr>
            <p:spPr>
              <a:xfrm>
                <a:off x="4272971" y="1615589"/>
                <a:ext cx="2281265" cy="666019"/>
              </a:xfrm>
              <a:prstGeom prst="bentConnector3">
                <a:avLst>
                  <a:gd name="adj1" fmla="val 67604"/>
                </a:avLst>
              </a:prstGeom>
              <a:ln>
                <a:solidFill>
                  <a:srgbClr val="B6000F"/>
                </a:solidFill>
                <a:headEnd type="none" w="lg" len="med"/>
                <a:tailEnd type="diamon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36" name="Skupina 35">
                <a:extLst>
                  <a:ext uri="{FF2B5EF4-FFF2-40B4-BE49-F238E27FC236}">
                    <a16:creationId xmlns:a16="http://schemas.microsoft.com/office/drawing/2014/main" id="{025D32AA-9467-4429-414A-C555447F88A4}"/>
                  </a:ext>
                </a:extLst>
              </p:cNvPr>
              <p:cNvGrpSpPr/>
              <p:nvPr/>
            </p:nvGrpSpPr>
            <p:grpSpPr>
              <a:xfrm>
                <a:off x="2556549" y="735670"/>
                <a:ext cx="1716421" cy="1302802"/>
                <a:chOff x="2471427" y="342541"/>
                <a:chExt cx="2288562" cy="1737070"/>
              </a:xfrm>
            </p:grpSpPr>
            <p:grpSp>
              <p:nvGrpSpPr>
                <p:cNvPr id="273" name="Skupina 272">
                  <a:extLst>
                    <a:ext uri="{FF2B5EF4-FFF2-40B4-BE49-F238E27FC236}">
                      <a16:creationId xmlns:a16="http://schemas.microsoft.com/office/drawing/2014/main" id="{563BB874-3100-7F1D-91F7-74FF011E8CC8}"/>
                    </a:ext>
                  </a:extLst>
                </p:cNvPr>
                <p:cNvGrpSpPr/>
                <p:nvPr/>
              </p:nvGrpSpPr>
              <p:grpSpPr>
                <a:xfrm>
                  <a:off x="2471427" y="342541"/>
                  <a:ext cx="2288562" cy="1737070"/>
                  <a:chOff x="2142343" y="1242633"/>
                  <a:chExt cx="2288562" cy="1737069"/>
                </a:xfrm>
              </p:grpSpPr>
              <p:sp>
                <p:nvSpPr>
                  <p:cNvPr id="268" name="Rectangle 17">
                    <a:extLst>
                      <a:ext uri="{FF2B5EF4-FFF2-40B4-BE49-F238E27FC236}">
                        <a16:creationId xmlns:a16="http://schemas.microsoft.com/office/drawing/2014/main" id="{07F5C95A-3FC9-843F-C68F-097385AE4898}"/>
                      </a:ext>
                    </a:extLst>
                  </p:cNvPr>
                  <p:cNvSpPr/>
                  <p:nvPr/>
                </p:nvSpPr>
                <p:spPr>
                  <a:xfrm>
                    <a:off x="2142867" y="1242633"/>
                    <a:ext cx="1757446" cy="276999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defTabSz="685783">
                      <a:lnSpc>
                        <a:spcPct val="90000"/>
                      </a:lnSpc>
                      <a:spcBef>
                        <a:spcPts val="450"/>
                      </a:spcBef>
                      <a:buClr>
                        <a:srgbClr val="878786"/>
                      </a:buClr>
                      <a:buSzPct val="100000"/>
                    </a:pPr>
                    <a:r>
                      <a:rPr lang="sr-Latn-RS" altLang="zh-CN" sz="750" b="1" dirty="0">
                        <a:solidFill>
                          <a:srgbClr val="B6000F"/>
                        </a:solidFill>
                        <a:latin typeface="Verdana"/>
                        <a:ea typeface="微软雅黑" panose="020B0503020204020204" pitchFamily="34" charset="-122"/>
                      </a:rPr>
                      <a:t>Primarna mreža daljinskog grejanja</a:t>
                    </a:r>
                    <a:endParaRPr lang="en-US" altLang="zh-CN" sz="750" b="1" dirty="0">
                      <a:solidFill>
                        <a:srgbClr val="B6000F"/>
                      </a:solidFill>
                      <a:latin typeface="Verdana"/>
                      <a:ea typeface="微软雅黑" panose="020B0503020204020204" pitchFamily="34" charset="-122"/>
                    </a:endParaRPr>
                  </a:p>
                </p:txBody>
              </p:sp>
              <p:sp>
                <p:nvSpPr>
                  <p:cNvPr id="269" name="TextBox 19">
                    <a:extLst>
                      <a:ext uri="{FF2B5EF4-FFF2-40B4-BE49-F238E27FC236}">
                        <a16:creationId xmlns:a16="http://schemas.microsoft.com/office/drawing/2014/main" id="{9332B10F-1A8C-C822-13D0-27B898EA0282}"/>
                      </a:ext>
                    </a:extLst>
                  </p:cNvPr>
                  <p:cNvSpPr txBox="1"/>
                  <p:nvPr/>
                </p:nvSpPr>
                <p:spPr>
                  <a:xfrm>
                    <a:off x="2142343" y="1519818"/>
                    <a:ext cx="1989254" cy="369332"/>
                  </a:xfrm>
                  <a:prstGeom prst="rect">
                    <a:avLst/>
                  </a:prstGeom>
                  <a:noFill/>
                </p:spPr>
                <p:txBody>
                  <a:bodyPr wrap="square" lIns="0" tIns="0" rIns="0" bIns="0" rtlCol="0">
                    <a:spAutoFit/>
                  </a:bodyPr>
                  <a:lstStyle/>
                  <a:p>
                    <a:pPr marL="128582" indent="-128582" defTabSz="685783">
                      <a:buFont typeface="Arial" panose="020B0604020202020204" pitchFamily="34" charset="0"/>
                      <a:buChar char="•"/>
                      <a:defRPr/>
                    </a:pPr>
                    <a:r>
                      <a:rPr lang="sr-Latn-RS" altLang="zh-CN" sz="600" dirty="0">
                        <a:ln w="0"/>
                        <a:solidFill>
                          <a:srgbClr val="000000"/>
                        </a:solidFill>
                        <a:latin typeface="Verdana"/>
                        <a:ea typeface="微软雅黑" panose="020B0503020204020204" pitchFamily="34" charset="-122"/>
                      </a:rPr>
                      <a:t>Visoko kvalitetne loptaste slavine</a:t>
                    </a:r>
                    <a:endParaRPr lang="sl-SI" altLang="zh-CN" sz="600" dirty="0">
                      <a:ln w="0"/>
                      <a:solidFill>
                        <a:srgbClr val="000000"/>
                      </a:solidFill>
                      <a:latin typeface="Verdana"/>
                      <a:ea typeface="微软雅黑" panose="020B0503020204020204" pitchFamily="34" charset="-122"/>
                    </a:endParaRPr>
                  </a:p>
                  <a:p>
                    <a:pPr marL="128582" indent="-128582" defTabSz="685783">
                      <a:buFont typeface="Arial" panose="020B0604020202020204" pitchFamily="34" charset="0"/>
                      <a:buChar char="•"/>
                      <a:defRPr/>
                    </a:pPr>
                    <a:r>
                      <a:rPr lang="en-US" sz="600" dirty="0">
                        <a:ln w="0"/>
                        <a:solidFill>
                          <a:srgbClr val="000000"/>
                        </a:solidFill>
                        <a:latin typeface="Verdana"/>
                      </a:rPr>
                      <a:t>Sen</a:t>
                    </a:r>
                    <a:r>
                      <a:rPr lang="sr-Latn-RS" sz="600" dirty="0">
                        <a:ln w="0"/>
                        <a:solidFill>
                          <a:srgbClr val="000000"/>
                        </a:solidFill>
                        <a:latin typeface="Verdana"/>
                      </a:rPr>
                      <a:t>zori</a:t>
                    </a:r>
                    <a:endParaRPr lang="en-US" sz="600" dirty="0">
                      <a:ln w="0"/>
                      <a:solidFill>
                        <a:srgbClr val="000000"/>
                      </a:solidFill>
                      <a:latin typeface="Verdana"/>
                    </a:endParaRPr>
                  </a:p>
                  <a:p>
                    <a:pPr marL="128582" indent="-128582" defTabSz="685783">
                      <a:buFont typeface="Arial" panose="020B0604020202020204" pitchFamily="34" charset="0"/>
                      <a:buChar char="•"/>
                      <a:defRPr/>
                    </a:pPr>
                    <a:r>
                      <a:rPr lang="sr-Latn-RS" sz="600" dirty="0">
                        <a:ln w="0"/>
                        <a:solidFill>
                          <a:srgbClr val="000000"/>
                        </a:solidFill>
                        <a:latin typeface="Verdana"/>
                      </a:rPr>
                      <a:t>Optimizacija mreže</a:t>
                    </a:r>
                    <a:endParaRPr lang="en-US" sz="600" dirty="0">
                      <a:ln w="0"/>
                      <a:solidFill>
                        <a:srgbClr val="000000"/>
                      </a:solidFill>
                      <a:latin typeface="Verdana"/>
                    </a:endParaRPr>
                  </a:p>
                </p:txBody>
              </p:sp>
              <p:pic>
                <p:nvPicPr>
                  <p:cNvPr id="270" name="Slika 269">
                    <a:extLst>
                      <a:ext uri="{FF2B5EF4-FFF2-40B4-BE49-F238E27FC236}">
                        <a16:creationId xmlns:a16="http://schemas.microsoft.com/office/drawing/2014/main" id="{4439EFEE-2EC2-BD4B-219A-A2DFD35D3D19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4" cstate="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2162631" y="1902844"/>
                    <a:ext cx="720000" cy="443077"/>
                  </a:xfrm>
                  <a:prstGeom prst="rect">
                    <a:avLst/>
                  </a:prstGeom>
                </p:spPr>
              </p:pic>
              <p:pic>
                <p:nvPicPr>
                  <p:cNvPr id="271" name="Slika 270">
                    <a:extLst>
                      <a:ext uri="{FF2B5EF4-FFF2-40B4-BE49-F238E27FC236}">
                        <a16:creationId xmlns:a16="http://schemas.microsoft.com/office/drawing/2014/main" id="{BC17EF29-297C-0AFE-A2CE-81E59F3AC070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5" cstate="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3186490" y="1727895"/>
                    <a:ext cx="720000" cy="618026"/>
                  </a:xfrm>
                  <a:prstGeom prst="rect">
                    <a:avLst/>
                  </a:prstGeom>
                </p:spPr>
              </p:pic>
              <p:pic>
                <p:nvPicPr>
                  <p:cNvPr id="272" name="Slika 271">
                    <a:extLst>
                      <a:ext uri="{FF2B5EF4-FFF2-40B4-BE49-F238E27FC236}">
                        <a16:creationId xmlns:a16="http://schemas.microsoft.com/office/drawing/2014/main" id="{1622ED6C-276B-527D-55BF-32482FB6A116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6" cstate="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3350905" y="1852014"/>
                    <a:ext cx="1080000" cy="1127688"/>
                  </a:xfrm>
                  <a:prstGeom prst="rect">
                    <a:avLst/>
                  </a:prstGeom>
                </p:spPr>
              </p:pic>
            </p:grpSp>
            <p:pic>
              <p:nvPicPr>
                <p:cNvPr id="11" name="Slika 10">
                  <a:extLst>
                    <a:ext uri="{FF2B5EF4-FFF2-40B4-BE49-F238E27FC236}">
                      <a16:creationId xmlns:a16="http://schemas.microsoft.com/office/drawing/2014/main" id="{1EF0CD11-6F4E-C546-1540-52CA1DD6C7D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7"/>
                <a:stretch>
                  <a:fillRect/>
                </a:stretch>
              </p:blipFill>
              <p:spPr>
                <a:xfrm>
                  <a:off x="2946267" y="1421350"/>
                  <a:ext cx="679822" cy="540000"/>
                </a:xfrm>
                <a:prstGeom prst="rect">
                  <a:avLst/>
                </a:prstGeom>
              </p:spPr>
            </p:pic>
          </p:grpSp>
        </p:grp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49DEB13F-39D9-2064-C4B0-5EC9405F400A}"/>
              </a:ext>
            </a:extLst>
          </p:cNvPr>
          <p:cNvGrpSpPr/>
          <p:nvPr/>
        </p:nvGrpSpPr>
        <p:grpSpPr>
          <a:xfrm>
            <a:off x="3370584" y="157279"/>
            <a:ext cx="3698385" cy="1367889"/>
            <a:chOff x="3370584" y="157279"/>
            <a:chExt cx="3698385" cy="1367889"/>
          </a:xfrm>
        </p:grpSpPr>
        <p:cxnSp>
          <p:nvCxnSpPr>
            <p:cNvPr id="357" name="Povezovalnik: kolenski 356">
              <a:extLst>
                <a:ext uri="{FF2B5EF4-FFF2-40B4-BE49-F238E27FC236}">
                  <a16:creationId xmlns:a16="http://schemas.microsoft.com/office/drawing/2014/main" id="{A8C99819-8BB4-1BD4-D19D-3F117356532A}"/>
                </a:ext>
              </a:extLst>
            </p:cNvPr>
            <p:cNvCxnSpPr>
              <a:cxnSpLocks/>
              <a:stCxn id="290" idx="3"/>
            </p:cNvCxnSpPr>
            <p:nvPr/>
          </p:nvCxnSpPr>
          <p:spPr>
            <a:xfrm>
              <a:off x="5012132" y="563270"/>
              <a:ext cx="674998" cy="540002"/>
            </a:xfrm>
            <a:prstGeom prst="bentConnector3">
              <a:avLst>
                <a:gd name="adj1" fmla="val 50000"/>
              </a:avLst>
            </a:prstGeom>
            <a:ln>
              <a:solidFill>
                <a:srgbClr val="B6000F"/>
              </a:solidFill>
              <a:headEnd type="none" w="lg" len="med"/>
              <a:tailEnd type="diamon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1FF4D95D-B701-D45C-8692-EFACD562759C}"/>
                </a:ext>
              </a:extLst>
            </p:cNvPr>
            <p:cNvGrpSpPr/>
            <p:nvPr/>
          </p:nvGrpSpPr>
          <p:grpSpPr>
            <a:xfrm>
              <a:off x="3370584" y="157279"/>
              <a:ext cx="3698385" cy="1367889"/>
              <a:chOff x="3370584" y="157279"/>
              <a:chExt cx="3698385" cy="1367889"/>
            </a:xfrm>
          </p:grpSpPr>
          <p:pic>
            <p:nvPicPr>
              <p:cNvPr id="289" name="Slika 288">
                <a:extLst>
                  <a:ext uri="{FF2B5EF4-FFF2-40B4-BE49-F238E27FC236}">
                    <a16:creationId xmlns:a16="http://schemas.microsoft.com/office/drawing/2014/main" id="{65B3F1FD-6B4F-6CE5-5C12-E70B2E17A87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8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037698" y="157279"/>
                <a:ext cx="540000" cy="708938"/>
              </a:xfrm>
              <a:prstGeom prst="rect">
                <a:avLst/>
              </a:prstGeom>
            </p:spPr>
          </p:pic>
          <p:pic>
            <p:nvPicPr>
              <p:cNvPr id="283" name="Slika 282">
                <a:extLst>
                  <a:ext uri="{FF2B5EF4-FFF2-40B4-BE49-F238E27FC236}">
                    <a16:creationId xmlns:a16="http://schemas.microsoft.com/office/drawing/2014/main" id="{5A76FB1B-CC91-8F37-06C8-1A5F3CA3D42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9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5556088" y="261467"/>
                <a:ext cx="540000" cy="581727"/>
              </a:xfrm>
              <a:prstGeom prst="rect">
                <a:avLst/>
              </a:prstGeom>
            </p:spPr>
          </p:pic>
          <p:pic>
            <p:nvPicPr>
              <p:cNvPr id="288" name="Slika 287">
                <a:extLst>
                  <a:ext uri="{FF2B5EF4-FFF2-40B4-BE49-F238E27FC236}">
                    <a16:creationId xmlns:a16="http://schemas.microsoft.com/office/drawing/2014/main" id="{E99EFA4C-A9E4-DB5D-0BF4-00107AB4545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0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tretch>
                <a:fillRect/>
              </a:stretch>
            </p:blipFill>
            <p:spPr>
              <a:xfrm>
                <a:off x="6210940" y="690622"/>
                <a:ext cx="540000" cy="834546"/>
              </a:xfrm>
              <a:prstGeom prst="rect">
                <a:avLst/>
              </a:prstGeom>
            </p:spPr>
          </p:pic>
          <p:grpSp>
            <p:nvGrpSpPr>
              <p:cNvPr id="298" name="Skupina 297">
                <a:extLst>
                  <a:ext uri="{FF2B5EF4-FFF2-40B4-BE49-F238E27FC236}">
                    <a16:creationId xmlns:a16="http://schemas.microsoft.com/office/drawing/2014/main" id="{A7033326-B670-441C-4B21-C4A83071D9C8}"/>
                  </a:ext>
                </a:extLst>
              </p:cNvPr>
              <p:cNvGrpSpPr/>
              <p:nvPr/>
            </p:nvGrpSpPr>
            <p:grpSpPr>
              <a:xfrm>
                <a:off x="3370584" y="459395"/>
                <a:ext cx="1838278" cy="613861"/>
                <a:chOff x="8592703" y="369958"/>
                <a:chExt cx="2451036" cy="818479"/>
              </a:xfrm>
            </p:grpSpPr>
            <p:sp>
              <p:nvSpPr>
                <p:cNvPr id="290" name="Rectangle 24">
                  <a:extLst>
                    <a:ext uri="{FF2B5EF4-FFF2-40B4-BE49-F238E27FC236}">
                      <a16:creationId xmlns:a16="http://schemas.microsoft.com/office/drawing/2014/main" id="{0CDFF510-2B58-106E-D88E-7D71A115FCC3}"/>
                    </a:ext>
                  </a:extLst>
                </p:cNvPr>
                <p:cNvSpPr/>
                <p:nvPr/>
              </p:nvSpPr>
              <p:spPr>
                <a:xfrm>
                  <a:off x="8592703" y="369958"/>
                  <a:ext cx="2188731" cy="276998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r" defTabSz="685783">
                    <a:lnSpc>
                      <a:spcPct val="90000"/>
                    </a:lnSpc>
                    <a:spcBef>
                      <a:spcPts val="450"/>
                    </a:spcBef>
                    <a:buClr>
                      <a:srgbClr val="878786"/>
                    </a:buClr>
                    <a:buSzPct val="100000"/>
                  </a:pPr>
                  <a:r>
                    <a:rPr lang="sr-Latn-RS" altLang="zh-CN" sz="750" b="1" dirty="0">
                      <a:solidFill>
                        <a:srgbClr val="B6000F"/>
                      </a:solidFill>
                      <a:latin typeface="Verdana"/>
                      <a:ea typeface="微软雅黑" panose="020B0503020204020204" pitchFamily="34" charset="-122"/>
                    </a:rPr>
                    <a:t>Sekundarna mreža</a:t>
                  </a:r>
                  <a:r>
                    <a:rPr lang="en-US" altLang="zh-CN" sz="750" b="1" dirty="0">
                      <a:solidFill>
                        <a:srgbClr val="B6000F"/>
                      </a:solidFill>
                      <a:latin typeface="Verdana"/>
                      <a:ea typeface="微软雅黑" panose="020B0503020204020204" pitchFamily="34" charset="-122"/>
                    </a:rPr>
                    <a:t>/</a:t>
                  </a:r>
                  <a:r>
                    <a:rPr lang="sr-Latn-RS" altLang="zh-CN" sz="750" b="1" dirty="0">
                      <a:solidFill>
                        <a:srgbClr val="B6000F"/>
                      </a:solidFill>
                      <a:latin typeface="Verdana"/>
                      <a:ea typeface="微软雅黑" panose="020B0503020204020204" pitchFamily="34" charset="-122"/>
                    </a:rPr>
                    <a:t>razmenjivači toplote</a:t>
                  </a:r>
                  <a:endParaRPr lang="en-US" altLang="zh-CN" sz="750" b="1" dirty="0">
                    <a:solidFill>
                      <a:srgbClr val="B6000F"/>
                    </a:solidFill>
                    <a:latin typeface="Verdana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91" name="TextBox 25">
                  <a:extLst>
                    <a:ext uri="{FF2B5EF4-FFF2-40B4-BE49-F238E27FC236}">
                      <a16:creationId xmlns:a16="http://schemas.microsoft.com/office/drawing/2014/main" id="{68803BEF-CAF0-400B-6300-CACAC713CA7E}"/>
                    </a:ext>
                  </a:extLst>
                </p:cNvPr>
                <p:cNvSpPr txBox="1"/>
                <p:nvPr/>
              </p:nvSpPr>
              <p:spPr>
                <a:xfrm>
                  <a:off x="9515720" y="695996"/>
                  <a:ext cx="1528019" cy="492441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128582" indent="-128582" defTabSz="685783">
                    <a:buFont typeface="Arial" panose="020B0604020202020204" pitchFamily="34" charset="0"/>
                    <a:buChar char="•"/>
                    <a:defRPr/>
                  </a:pPr>
                  <a:r>
                    <a:rPr lang="sr-Latn-RS" altLang="zh-CN" sz="600" dirty="0">
                      <a:ln w="0"/>
                      <a:solidFill>
                        <a:srgbClr val="000000"/>
                      </a:solidFill>
                      <a:latin typeface="Verdana"/>
                      <a:ea typeface="微软雅黑" panose="020B0503020204020204" pitchFamily="34" charset="-122"/>
                    </a:rPr>
                    <a:t>Kompaktne toplotne podstanice</a:t>
                  </a:r>
                </a:p>
                <a:p>
                  <a:pPr marL="171450" indent="-171450" defTabSz="685783">
                    <a:buFont typeface="Arial" panose="020B0604020202020204" pitchFamily="34" charset="0"/>
                    <a:buChar char="•"/>
                    <a:defRPr/>
                  </a:pPr>
                  <a:r>
                    <a:rPr lang="sr-Latn-RS" altLang="zh-CN" sz="600" dirty="0">
                      <a:ln w="0"/>
                      <a:solidFill>
                        <a:srgbClr val="000000"/>
                      </a:solidFill>
                      <a:latin typeface="Verdana"/>
                      <a:ea typeface="微软雅黑" panose="020B0503020204020204" pitchFamily="34" charset="-122"/>
                    </a:rPr>
                    <a:t>Hidraulički portfolio</a:t>
                  </a:r>
                </a:p>
                <a:p>
                  <a:pPr marL="171450" indent="-171450" defTabSz="685783">
                    <a:buFont typeface="Arial" panose="020B0604020202020204" pitchFamily="34" charset="0"/>
                    <a:buChar char="•"/>
                    <a:defRPr/>
                  </a:pPr>
                  <a:r>
                    <a:rPr lang="sr-Latn-RS" altLang="zh-CN" sz="600" dirty="0">
                      <a:ln w="0"/>
                      <a:solidFill>
                        <a:srgbClr val="000000"/>
                      </a:solidFill>
                      <a:latin typeface="Verdana"/>
                      <a:ea typeface="微软雅黑" panose="020B0503020204020204" pitchFamily="34" charset="-122"/>
                    </a:rPr>
                    <a:t>Regulacija podstanica</a:t>
                  </a:r>
                  <a:endParaRPr lang="en-US" altLang="zh-CN" sz="600" dirty="0">
                    <a:ln w="0"/>
                    <a:solidFill>
                      <a:srgbClr val="000000"/>
                    </a:solidFill>
                    <a:latin typeface="Verdana"/>
                    <a:ea typeface="微软雅黑" panose="020B0503020204020204" pitchFamily="34" charset="-122"/>
                  </a:endParaRPr>
                </a:p>
              </p:txBody>
            </p:sp>
          </p:grpSp>
          <p:pic>
            <p:nvPicPr>
              <p:cNvPr id="12" name="Slika 11">
                <a:extLst>
                  <a:ext uri="{FF2B5EF4-FFF2-40B4-BE49-F238E27FC236}">
                    <a16:creationId xmlns:a16="http://schemas.microsoft.com/office/drawing/2014/main" id="{48EF7DF5-B362-3DF9-7EF7-2C0B509986E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7"/>
              <a:stretch>
                <a:fillRect/>
              </a:stretch>
            </p:blipFill>
            <p:spPr>
              <a:xfrm>
                <a:off x="6559102" y="419684"/>
                <a:ext cx="509867" cy="405000"/>
              </a:xfrm>
              <a:prstGeom prst="rect">
                <a:avLst/>
              </a:prstGeom>
            </p:spPr>
          </p:pic>
        </p:grpSp>
      </p:grpSp>
      <p:grpSp>
        <p:nvGrpSpPr>
          <p:cNvPr id="32" name="Skupina 31">
            <a:extLst>
              <a:ext uri="{FF2B5EF4-FFF2-40B4-BE49-F238E27FC236}">
                <a16:creationId xmlns:a16="http://schemas.microsoft.com/office/drawing/2014/main" id="{7F3DC5A5-4538-BCAD-AFEF-4918CC532C1A}"/>
              </a:ext>
            </a:extLst>
          </p:cNvPr>
          <p:cNvGrpSpPr/>
          <p:nvPr/>
        </p:nvGrpSpPr>
        <p:grpSpPr>
          <a:xfrm>
            <a:off x="-34462" y="2855612"/>
            <a:ext cx="1627432" cy="1786911"/>
            <a:chOff x="-45949" y="3807483"/>
            <a:chExt cx="2169909" cy="2382548"/>
          </a:xfrm>
        </p:grpSpPr>
        <p:pic>
          <p:nvPicPr>
            <p:cNvPr id="15" name="Grafika 14">
              <a:extLst>
                <a:ext uri="{FF2B5EF4-FFF2-40B4-BE49-F238E27FC236}">
                  <a16:creationId xmlns:a16="http://schemas.microsoft.com/office/drawing/2014/main" id="{39A5C6FC-E78C-D6F9-B015-8992A76F316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1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2"/>
                </a:ext>
              </a:extLst>
            </a:blip>
            <a:srcRect l="10055" r="9529" b="22103"/>
            <a:stretch/>
          </p:blipFill>
          <p:spPr>
            <a:xfrm>
              <a:off x="150097" y="3807483"/>
              <a:ext cx="743288" cy="720000"/>
            </a:xfrm>
            <a:prstGeom prst="rect">
              <a:avLst/>
            </a:prstGeom>
          </p:spPr>
        </p:pic>
        <p:sp>
          <p:nvSpPr>
            <p:cNvPr id="16" name="Pravokotnik 135">
              <a:extLst>
                <a:ext uri="{FF2B5EF4-FFF2-40B4-BE49-F238E27FC236}">
                  <a16:creationId xmlns:a16="http://schemas.microsoft.com/office/drawing/2014/main" id="{76C1F288-19CA-406C-6C4A-E6AE1650F683}"/>
                </a:ext>
              </a:extLst>
            </p:cNvPr>
            <p:cNvSpPr/>
            <p:nvPr/>
          </p:nvSpPr>
          <p:spPr>
            <a:xfrm>
              <a:off x="41988" y="4378066"/>
              <a:ext cx="1091930" cy="230832"/>
            </a:xfrm>
            <a:prstGeom prst="rect">
              <a:avLst/>
            </a:prstGeom>
            <a:noFill/>
            <a:ln cap="flat">
              <a:noFill/>
              <a:prstDash val="solid"/>
            </a:ln>
          </p:spPr>
          <p:txBody>
            <a:bodyPr vert="horz" wrap="square" lIns="68580" tIns="34290" rIns="68580" bIns="34290" anchor="t" anchorCtr="1" compatLnSpc="1">
              <a:spAutoFit/>
            </a:bodyPr>
            <a:lstStyle/>
            <a:p>
              <a:pPr algn="ctr" defTabSz="685783"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en-US" sz="675" kern="0" dirty="0">
                  <a:solidFill>
                    <a:srgbClr val="7F7F7F"/>
                  </a:solidFill>
                  <a:latin typeface="Verdana"/>
                </a:rPr>
                <a:t>H</a:t>
              </a:r>
              <a:r>
                <a:rPr lang="sr-Latn-RS" sz="675" kern="0" dirty="0">
                  <a:solidFill>
                    <a:srgbClr val="7F7F7F"/>
                  </a:solidFill>
                  <a:latin typeface="Verdana"/>
                </a:rPr>
                <a:t>i</a:t>
              </a:r>
              <a:r>
                <a:rPr lang="en-US" sz="675" kern="0" dirty="0" err="1">
                  <a:solidFill>
                    <a:srgbClr val="7F7F7F"/>
                  </a:solidFill>
                  <a:latin typeface="Verdana"/>
                </a:rPr>
                <a:t>dro</a:t>
              </a:r>
              <a:r>
                <a:rPr lang="sr-Latn-RS" sz="675" kern="0" dirty="0">
                  <a:solidFill>
                    <a:srgbClr val="7F7F7F"/>
                  </a:solidFill>
                  <a:latin typeface="Verdana"/>
                </a:rPr>
                <a:t>energija</a:t>
              </a:r>
              <a:endParaRPr lang="en-US" sz="675" kern="0" dirty="0">
                <a:solidFill>
                  <a:srgbClr val="7F7F7F"/>
                </a:solidFill>
                <a:latin typeface="Verdana"/>
              </a:endParaRPr>
            </a:p>
          </p:txBody>
        </p:sp>
        <p:pic>
          <p:nvPicPr>
            <p:cNvPr id="19" name="Grafika 18">
              <a:extLst>
                <a:ext uri="{FF2B5EF4-FFF2-40B4-BE49-F238E27FC236}">
                  <a16:creationId xmlns:a16="http://schemas.microsoft.com/office/drawing/2014/main" id="{B31BE462-65F5-E067-F3F0-D6D986813D6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4"/>
                </a:ext>
              </a:extLst>
            </a:blip>
            <a:srcRect l="7520" r="8211" b="16876"/>
            <a:stretch/>
          </p:blipFill>
          <p:spPr>
            <a:xfrm>
              <a:off x="156787" y="4509444"/>
              <a:ext cx="729909" cy="720000"/>
            </a:xfrm>
            <a:prstGeom prst="rect">
              <a:avLst/>
            </a:prstGeom>
          </p:spPr>
        </p:pic>
        <p:sp>
          <p:nvSpPr>
            <p:cNvPr id="20" name="Pravokotnik 135">
              <a:extLst>
                <a:ext uri="{FF2B5EF4-FFF2-40B4-BE49-F238E27FC236}">
                  <a16:creationId xmlns:a16="http://schemas.microsoft.com/office/drawing/2014/main" id="{3AE65782-F3FC-6245-84C5-0150FFEC9644}"/>
                </a:ext>
              </a:extLst>
            </p:cNvPr>
            <p:cNvSpPr/>
            <p:nvPr/>
          </p:nvSpPr>
          <p:spPr>
            <a:xfrm>
              <a:off x="-45949" y="5169396"/>
              <a:ext cx="1212697" cy="230832"/>
            </a:xfrm>
            <a:prstGeom prst="rect">
              <a:avLst/>
            </a:prstGeom>
            <a:noFill/>
            <a:ln cap="flat">
              <a:noFill/>
              <a:prstDash val="solid"/>
            </a:ln>
          </p:spPr>
          <p:txBody>
            <a:bodyPr vert="horz" wrap="square" lIns="68580" tIns="34290" rIns="68580" bIns="34290" anchor="t" anchorCtr="1" compatLnSpc="1">
              <a:spAutoFit/>
            </a:bodyPr>
            <a:lstStyle/>
            <a:p>
              <a:pPr algn="ctr" defTabSz="685783"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sr-Latn-RS" sz="675" kern="0" dirty="0">
                  <a:solidFill>
                    <a:srgbClr val="7F7F7F"/>
                  </a:solidFill>
                  <a:latin typeface="Verdana"/>
                </a:rPr>
                <a:t>Vetrogeneratori</a:t>
              </a:r>
              <a:endParaRPr lang="en-US" sz="675" kern="0" dirty="0">
                <a:solidFill>
                  <a:srgbClr val="7F7F7F"/>
                </a:solidFill>
                <a:latin typeface="Verdana"/>
              </a:endParaRPr>
            </a:p>
          </p:txBody>
        </p:sp>
        <p:pic>
          <p:nvPicPr>
            <p:cNvPr id="22" name="Grafika 21">
              <a:extLst>
                <a:ext uri="{FF2B5EF4-FFF2-40B4-BE49-F238E27FC236}">
                  <a16:creationId xmlns:a16="http://schemas.microsoft.com/office/drawing/2014/main" id="{AEB1B750-4BF7-0A54-A126-2C7AD90DBB5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5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6"/>
                </a:ext>
              </a:extLst>
            </a:blip>
            <a:srcRect l="9725" r="12219" b="22512"/>
            <a:stretch/>
          </p:blipFill>
          <p:spPr>
            <a:xfrm>
              <a:off x="159104" y="5295707"/>
              <a:ext cx="725275" cy="720000"/>
            </a:xfrm>
            <a:prstGeom prst="rect">
              <a:avLst/>
            </a:prstGeom>
          </p:spPr>
        </p:pic>
        <p:sp>
          <p:nvSpPr>
            <p:cNvPr id="23" name="PoljeZBesedilom 22">
              <a:extLst>
                <a:ext uri="{FF2B5EF4-FFF2-40B4-BE49-F238E27FC236}">
                  <a16:creationId xmlns:a16="http://schemas.microsoft.com/office/drawing/2014/main" id="{74FFF094-3E4B-B972-D27B-CC5A6CD4D053}"/>
                </a:ext>
              </a:extLst>
            </p:cNvPr>
            <p:cNvSpPr txBox="1"/>
            <p:nvPr/>
          </p:nvSpPr>
          <p:spPr>
            <a:xfrm>
              <a:off x="41987" y="5959199"/>
              <a:ext cx="1272793" cy="230832"/>
            </a:xfrm>
            <a:prstGeom prst="rect">
              <a:avLst/>
            </a:prstGeom>
            <a:noFill/>
            <a:ln cap="flat">
              <a:noFill/>
              <a:prstDash val="solid"/>
            </a:ln>
          </p:spPr>
          <p:txBody>
            <a:bodyPr vert="horz" wrap="square" lIns="68580" tIns="34290" rIns="68580" bIns="34290" anchor="t" anchorCtr="1" compatLnSpc="1">
              <a:spAutoFit/>
            </a:bodyPr>
            <a:lstStyle>
              <a:defPPr>
                <a:defRPr lang="sl-SI"/>
              </a:defPPr>
              <a:lvl1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100" b="0" i="0" u="none" strike="noStrike" cap="none" spc="0" baseline="0">
                  <a:solidFill>
                    <a:srgbClr val="7F7F7F"/>
                  </a:solidFill>
                  <a:uFillTx/>
                  <a:latin typeface="Consolas" pitchFamily="49"/>
                </a:defRPr>
              </a:lvl1pPr>
            </a:lstStyle>
            <a:p>
              <a:pPr defTabSz="685783">
                <a:defRPr/>
              </a:pPr>
              <a:r>
                <a:rPr lang="sr-Latn-RS" sz="675" dirty="0">
                  <a:latin typeface="Verdana"/>
                </a:rPr>
                <a:t>Solarni paneli</a:t>
              </a:r>
              <a:endParaRPr lang="en-US" sz="675" dirty="0">
                <a:latin typeface="Verdana"/>
              </a:endParaRPr>
            </a:p>
          </p:txBody>
        </p:sp>
        <p:pic>
          <p:nvPicPr>
            <p:cNvPr id="24" name="Grafika 23">
              <a:extLst>
                <a:ext uri="{FF2B5EF4-FFF2-40B4-BE49-F238E27FC236}">
                  <a16:creationId xmlns:a16="http://schemas.microsoft.com/office/drawing/2014/main" id="{B3910958-565F-F64F-E7FE-DC5528F6872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7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8"/>
                </a:ext>
              </a:extLst>
            </a:blip>
            <a:srcRect l="10635" r="7217" b="19063"/>
            <a:stretch/>
          </p:blipFill>
          <p:spPr>
            <a:xfrm>
              <a:off x="949931" y="4672702"/>
              <a:ext cx="730773" cy="720000"/>
            </a:xfrm>
            <a:prstGeom prst="rect">
              <a:avLst/>
            </a:prstGeom>
          </p:spPr>
        </p:pic>
        <p:sp>
          <p:nvSpPr>
            <p:cNvPr id="31" name="PoljeZBesedilom 30">
              <a:extLst>
                <a:ext uri="{FF2B5EF4-FFF2-40B4-BE49-F238E27FC236}">
                  <a16:creationId xmlns:a16="http://schemas.microsoft.com/office/drawing/2014/main" id="{F6C681C0-5BB6-D18D-B4BA-03823DD2A723}"/>
                </a:ext>
              </a:extLst>
            </p:cNvPr>
            <p:cNvSpPr txBox="1"/>
            <p:nvPr/>
          </p:nvSpPr>
          <p:spPr>
            <a:xfrm>
              <a:off x="506674" y="5383290"/>
              <a:ext cx="1617286" cy="43088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sl-SI"/>
              </a:defPPr>
              <a:lvl1pPr algn="ctr" defTabSz="914172">
                <a:defRPr sz="1000">
                  <a:solidFill>
                    <a:schemeClr val="bg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Open Sans Light" panose="020B0306030504020204" pitchFamily="34" charset="0"/>
                </a:defRPr>
              </a:lvl1pPr>
            </a:lstStyle>
            <a:p>
              <a:pPr defTabSz="685629"/>
              <a:r>
                <a:rPr lang="sr-Latn-RS" sz="750" dirty="0">
                  <a:solidFill>
                    <a:prstClr val="white">
                      <a:lumMod val="50000"/>
                    </a:prstClr>
                  </a:solidFill>
                </a:rPr>
                <a:t>Viškovi električne energije</a:t>
              </a:r>
              <a:endParaRPr lang="en-US" sz="750" dirty="0">
                <a:solidFill>
                  <a:prstClr val="white">
                    <a:lumMod val="50000"/>
                  </a:prstClr>
                </a:solidFill>
              </a:endParaRPr>
            </a:p>
          </p:txBody>
        </p:sp>
      </p:grpSp>
      <p:cxnSp>
        <p:nvCxnSpPr>
          <p:cNvPr id="34" name="Povezovalnik: kolenski 33">
            <a:extLst>
              <a:ext uri="{FF2B5EF4-FFF2-40B4-BE49-F238E27FC236}">
                <a16:creationId xmlns:a16="http://schemas.microsoft.com/office/drawing/2014/main" id="{6383D2C7-30D9-4DF1-3CA8-87C14F54149C}"/>
              </a:ext>
            </a:extLst>
          </p:cNvPr>
          <p:cNvCxnSpPr>
            <a:stCxn id="24" idx="3"/>
            <a:endCxn id="295" idx="2"/>
          </p:cNvCxnSpPr>
          <p:nvPr/>
        </p:nvCxnSpPr>
        <p:spPr>
          <a:xfrm flipV="1">
            <a:off x="1260528" y="3431408"/>
            <a:ext cx="481389" cy="343118"/>
          </a:xfrm>
          <a:prstGeom prst="bentConnector2">
            <a:avLst/>
          </a:prstGeom>
          <a:ln>
            <a:solidFill>
              <a:srgbClr val="B6000F"/>
            </a:solidFill>
            <a:prstDash val="lgDash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itle 5">
            <a:extLst>
              <a:ext uri="{FF2B5EF4-FFF2-40B4-BE49-F238E27FC236}">
                <a16:creationId xmlns:a16="http://schemas.microsoft.com/office/drawing/2014/main" id="{1B4AF640-A5DF-7554-8B08-783FD85D8AAA}"/>
              </a:ext>
            </a:extLst>
          </p:cNvPr>
          <p:cNvSpPr txBox="1">
            <a:spLocks/>
          </p:cNvSpPr>
          <p:nvPr/>
        </p:nvSpPr>
        <p:spPr>
          <a:xfrm>
            <a:off x="165451" y="172054"/>
            <a:ext cx="5072608" cy="57409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1219170" rtl="0" eaLnBrk="1" latinLnBrk="0" hangingPunct="1">
              <a:spcBef>
                <a:spcPct val="0"/>
              </a:spcBef>
              <a:buNone/>
              <a:defRPr sz="3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378"/>
            <a:r>
              <a:rPr lang="sr-Latn-RS" sz="18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Poppins" panose="00000500000000000000" pitchFamily="2" charset="-18"/>
              </a:rPr>
              <a:t>Kompleksnost savremenih sistema daljinskog grejanja </a:t>
            </a:r>
            <a:endParaRPr lang="sl-SI" sz="18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Poppins" panose="00000500000000000000" pitchFamily="2" charset="-18"/>
            </a:endParaRPr>
          </a:p>
        </p:txBody>
      </p:sp>
      <p:cxnSp>
        <p:nvCxnSpPr>
          <p:cNvPr id="42" name="Povezovalnik: kolenski 41">
            <a:extLst>
              <a:ext uri="{FF2B5EF4-FFF2-40B4-BE49-F238E27FC236}">
                <a16:creationId xmlns:a16="http://schemas.microsoft.com/office/drawing/2014/main" id="{6485ADF0-4020-B471-F294-6D6E09DB64FB}"/>
              </a:ext>
            </a:extLst>
          </p:cNvPr>
          <p:cNvCxnSpPr>
            <a:stCxn id="295" idx="2"/>
            <a:endCxn id="207" idx="3"/>
          </p:cNvCxnSpPr>
          <p:nvPr/>
        </p:nvCxnSpPr>
        <p:spPr>
          <a:xfrm rot="16200000" flipH="1">
            <a:off x="2763511" y="2409813"/>
            <a:ext cx="949703" cy="2992891"/>
          </a:xfrm>
          <a:prstGeom prst="bentConnector4">
            <a:avLst>
              <a:gd name="adj1" fmla="val 42664"/>
              <a:gd name="adj2" fmla="val 107638"/>
            </a:avLst>
          </a:prstGeom>
          <a:ln>
            <a:solidFill>
              <a:srgbClr val="B6000F"/>
            </a:solidFill>
            <a:prstDash val="lgDash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8" name="Slika 27">
            <a:extLst>
              <a:ext uri="{FF2B5EF4-FFF2-40B4-BE49-F238E27FC236}">
                <a16:creationId xmlns:a16="http://schemas.microsoft.com/office/drawing/2014/main" id="{4635EC88-BB75-9E50-112D-A088DF7C1AC7}"/>
              </a:ext>
            </a:extLst>
          </p:cNvPr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5301154" y="1979513"/>
            <a:ext cx="509867" cy="405000"/>
          </a:xfrm>
          <a:prstGeom prst="rect">
            <a:avLst/>
          </a:prstGeom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7FE45E15-20D8-DCC0-2B43-D63F67C5428E}"/>
              </a:ext>
            </a:extLst>
          </p:cNvPr>
          <p:cNvGrpSpPr/>
          <p:nvPr/>
        </p:nvGrpSpPr>
        <p:grpSpPr>
          <a:xfrm>
            <a:off x="6678461" y="1551749"/>
            <a:ext cx="2498603" cy="2370431"/>
            <a:chOff x="6678461" y="1551749"/>
            <a:chExt cx="2498603" cy="2370431"/>
          </a:xfrm>
        </p:grpSpPr>
        <p:pic>
          <p:nvPicPr>
            <p:cNvPr id="280" name="Slika 279">
              <a:extLst>
                <a:ext uri="{FF2B5EF4-FFF2-40B4-BE49-F238E27FC236}">
                  <a16:creationId xmlns:a16="http://schemas.microsoft.com/office/drawing/2014/main" id="{892D0B6D-D8C5-EB78-A262-A9CA83CD523C}"/>
                </a:ext>
              </a:extLst>
            </p:cNvPr>
            <p:cNvPicPr>
              <a:picLocks noChangeAspect="1"/>
            </p:cNvPicPr>
            <p:nvPr/>
          </p:nvPicPr>
          <p:blipFill>
            <a:blip r:embed="rId30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8399456" y="2013140"/>
              <a:ext cx="540000" cy="834546"/>
            </a:xfrm>
            <a:prstGeom prst="rect">
              <a:avLst/>
            </a:prstGeom>
          </p:spPr>
        </p:pic>
        <p:pic>
          <p:nvPicPr>
            <p:cNvPr id="281" name="Slika 280">
              <a:extLst>
                <a:ext uri="{FF2B5EF4-FFF2-40B4-BE49-F238E27FC236}">
                  <a16:creationId xmlns:a16="http://schemas.microsoft.com/office/drawing/2014/main" id="{29EA1A72-6B21-CABA-400D-D6B78409208E}"/>
                </a:ext>
              </a:extLst>
            </p:cNvPr>
            <p:cNvPicPr>
              <a:picLocks noChangeAspect="1"/>
            </p:cNvPicPr>
            <p:nvPr/>
          </p:nvPicPr>
          <p:blipFill>
            <a:blip r:embed="rId39" cstate="print">
              <a:clrChange>
                <a:clrFrom>
                  <a:srgbClr val="000000">
                    <a:alpha val="0"/>
                  </a:srgbClr>
                </a:clrFrom>
                <a:clrTo>
                  <a:srgbClr val="000000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608337" y="1551749"/>
              <a:ext cx="540000" cy="533966"/>
            </a:xfrm>
            <a:prstGeom prst="rect">
              <a:avLst/>
            </a:prstGeom>
          </p:spPr>
        </p:pic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BD936408-2CAB-8B45-183B-5D099A72F6D6}"/>
                </a:ext>
              </a:extLst>
            </p:cNvPr>
            <p:cNvGrpSpPr/>
            <p:nvPr/>
          </p:nvGrpSpPr>
          <p:grpSpPr>
            <a:xfrm>
              <a:off x="7495156" y="2797440"/>
              <a:ext cx="1681908" cy="1124740"/>
              <a:chOff x="7495156" y="2797440"/>
              <a:chExt cx="1681908" cy="1124740"/>
            </a:xfrm>
          </p:grpSpPr>
          <p:grpSp>
            <p:nvGrpSpPr>
              <p:cNvPr id="299" name="Skupina 298">
                <a:extLst>
                  <a:ext uri="{FF2B5EF4-FFF2-40B4-BE49-F238E27FC236}">
                    <a16:creationId xmlns:a16="http://schemas.microsoft.com/office/drawing/2014/main" id="{2AF2ECE5-A51F-E3E1-7650-43EA5017AA05}"/>
                  </a:ext>
                </a:extLst>
              </p:cNvPr>
              <p:cNvGrpSpPr/>
              <p:nvPr/>
            </p:nvGrpSpPr>
            <p:grpSpPr>
              <a:xfrm>
                <a:off x="7755342" y="3060751"/>
                <a:ext cx="1421722" cy="861429"/>
                <a:chOff x="10296372" y="5205113"/>
                <a:chExt cx="1895629" cy="1148569"/>
              </a:xfrm>
            </p:grpSpPr>
            <p:sp>
              <p:nvSpPr>
                <p:cNvPr id="284" name="Rectangle 28">
                  <a:extLst>
                    <a:ext uri="{FF2B5EF4-FFF2-40B4-BE49-F238E27FC236}">
                      <a16:creationId xmlns:a16="http://schemas.microsoft.com/office/drawing/2014/main" id="{4D028050-0E9D-456C-65F8-6937732D007A}"/>
                    </a:ext>
                  </a:extLst>
                </p:cNvPr>
                <p:cNvSpPr/>
                <p:nvPr/>
              </p:nvSpPr>
              <p:spPr>
                <a:xfrm>
                  <a:off x="10318913" y="5205113"/>
                  <a:ext cx="1873088" cy="276998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defTabSz="685783">
                    <a:lnSpc>
                      <a:spcPct val="90000"/>
                    </a:lnSpc>
                    <a:spcBef>
                      <a:spcPts val="450"/>
                    </a:spcBef>
                    <a:buClr>
                      <a:srgbClr val="878786"/>
                    </a:buClr>
                    <a:buSzPct val="100000"/>
                  </a:pPr>
                  <a:r>
                    <a:rPr lang="sr-Latn-RS" altLang="zh-CN" sz="750" b="1" dirty="0">
                      <a:solidFill>
                        <a:srgbClr val="B6000F"/>
                      </a:solidFill>
                      <a:latin typeface="Verdana"/>
                      <a:ea typeface="微软雅黑" panose="020B0503020204020204" pitchFamily="34" charset="-122"/>
                    </a:rPr>
                    <a:t>Rešenja za unutrašnje grejanje</a:t>
                  </a:r>
                  <a:endParaRPr lang="en-US" altLang="zh-CN" sz="750" b="1" dirty="0">
                    <a:solidFill>
                      <a:srgbClr val="B6000F"/>
                    </a:solidFill>
                    <a:latin typeface="Verdana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85" name="TextBox 31">
                  <a:extLst>
                    <a:ext uri="{FF2B5EF4-FFF2-40B4-BE49-F238E27FC236}">
                      <a16:creationId xmlns:a16="http://schemas.microsoft.com/office/drawing/2014/main" id="{AD9B7428-1EE1-2A1A-6C1A-B46E4B6EFB14}"/>
                    </a:ext>
                  </a:extLst>
                </p:cNvPr>
                <p:cNvSpPr txBox="1"/>
                <p:nvPr/>
              </p:nvSpPr>
              <p:spPr>
                <a:xfrm>
                  <a:off x="10296372" y="5615020"/>
                  <a:ext cx="1782168" cy="738662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128582" indent="-128582" defTabSz="685783">
                    <a:buFont typeface="Arial" panose="020B0604020202020204" pitchFamily="34" charset="0"/>
                    <a:buChar char="•"/>
                    <a:defRPr/>
                  </a:pPr>
                  <a:r>
                    <a:rPr lang="sr-Latn-RS" altLang="zh-CN" sz="600" dirty="0">
                      <a:ln w="0"/>
                      <a:solidFill>
                        <a:srgbClr val="000000"/>
                      </a:solidFill>
                      <a:latin typeface="Verdana"/>
                      <a:ea typeface="微软雅黑" panose="020B0503020204020204" pitchFamily="34" charset="-122"/>
                    </a:rPr>
                    <a:t>Stanske stanice</a:t>
                  </a:r>
                  <a:endParaRPr lang="en-US" altLang="zh-CN" sz="600" dirty="0">
                    <a:ln w="0"/>
                    <a:solidFill>
                      <a:srgbClr val="000000"/>
                    </a:solidFill>
                    <a:latin typeface="Verdana"/>
                    <a:ea typeface="微软雅黑" panose="020B0503020204020204" pitchFamily="34" charset="-122"/>
                  </a:endParaRPr>
                </a:p>
                <a:p>
                  <a:pPr marL="128582" indent="-128582" defTabSz="685783">
                    <a:buFont typeface="Arial" panose="020B0604020202020204" pitchFamily="34" charset="0"/>
                    <a:buChar char="•"/>
                    <a:defRPr/>
                  </a:pPr>
                  <a:r>
                    <a:rPr lang="sr-Latn-RS" altLang="zh-CN" sz="600" dirty="0">
                      <a:ln w="0"/>
                      <a:solidFill>
                        <a:srgbClr val="000000"/>
                      </a:solidFill>
                      <a:latin typeface="Verdana"/>
                      <a:ea typeface="微软雅黑" panose="020B0503020204020204" pitchFamily="34" charset="-122"/>
                    </a:rPr>
                    <a:t>Rešenja za radijatosko grejanje, fan-coil-e i podno grejanje</a:t>
                  </a:r>
                  <a:endParaRPr lang="en-US" altLang="zh-CN" sz="600" dirty="0">
                    <a:ln w="0"/>
                    <a:solidFill>
                      <a:srgbClr val="000000"/>
                    </a:solidFill>
                    <a:latin typeface="Verdana"/>
                    <a:ea typeface="微软雅黑" panose="020B0503020204020204" pitchFamily="34" charset="-122"/>
                  </a:endParaRPr>
                </a:p>
                <a:p>
                  <a:pPr marL="128582" indent="-128582" defTabSz="685783">
                    <a:buFont typeface="Arial" panose="020B0604020202020204" pitchFamily="34" charset="0"/>
                    <a:buChar char="•"/>
                    <a:defRPr/>
                  </a:pPr>
                  <a:r>
                    <a:rPr lang="en-US" altLang="zh-CN" sz="600" dirty="0">
                      <a:ln w="0"/>
                      <a:solidFill>
                        <a:srgbClr val="000000"/>
                      </a:solidFill>
                      <a:latin typeface="Verdana"/>
                      <a:ea typeface="微软雅黑" panose="020B0503020204020204" pitchFamily="34" charset="-122"/>
                    </a:rPr>
                    <a:t>Meter</a:t>
                  </a:r>
                  <a:r>
                    <a:rPr lang="sr-Latn-RS" altLang="zh-CN" sz="600" dirty="0">
                      <a:ln w="0"/>
                      <a:solidFill>
                        <a:srgbClr val="000000"/>
                      </a:solidFill>
                      <a:latin typeface="Verdana"/>
                      <a:ea typeface="微软雅黑" panose="020B0503020204020204" pitchFamily="34" charset="-122"/>
                    </a:rPr>
                    <a:t>enje utroška energije</a:t>
                  </a:r>
                  <a:endParaRPr lang="sl-SI" altLang="zh-CN" sz="600" dirty="0">
                    <a:ln w="0"/>
                    <a:solidFill>
                      <a:srgbClr val="000000"/>
                    </a:solidFill>
                    <a:latin typeface="Verdana"/>
                    <a:ea typeface="微软雅黑" panose="020B0503020204020204" pitchFamily="34" charset="-122"/>
                  </a:endParaRPr>
                </a:p>
                <a:p>
                  <a:pPr marL="128582" indent="-128582" defTabSz="685783">
                    <a:buFont typeface="Arial" panose="020B0604020202020204" pitchFamily="34" charset="0"/>
                    <a:buChar char="•"/>
                    <a:defRPr/>
                  </a:pPr>
                  <a:r>
                    <a:rPr lang="en-US" altLang="zh-CN" sz="600" dirty="0">
                      <a:ln w="0"/>
                      <a:solidFill>
                        <a:srgbClr val="000000"/>
                      </a:solidFill>
                      <a:latin typeface="Verdana"/>
                      <a:ea typeface="微软雅黑" panose="020B0503020204020204" pitchFamily="34" charset="-122"/>
                    </a:rPr>
                    <a:t>H</a:t>
                  </a:r>
                  <a:r>
                    <a:rPr lang="sr-Latn-RS" altLang="zh-CN" sz="600" dirty="0">
                      <a:ln w="0"/>
                      <a:solidFill>
                        <a:srgbClr val="000000"/>
                      </a:solidFill>
                      <a:latin typeface="Verdana"/>
                      <a:ea typeface="微软雅黑" panose="020B0503020204020204" pitchFamily="34" charset="-122"/>
                    </a:rPr>
                    <a:t>idrauličko balansiranje</a:t>
                  </a:r>
                  <a:endParaRPr lang="en-US" altLang="zh-CN" sz="600" dirty="0">
                    <a:ln w="0"/>
                    <a:solidFill>
                      <a:srgbClr val="000000"/>
                    </a:solidFill>
                    <a:latin typeface="Verdana"/>
                    <a:ea typeface="微软雅黑" panose="020B0503020204020204" pitchFamily="34" charset="-122"/>
                  </a:endParaRPr>
                </a:p>
              </p:txBody>
            </p:sp>
          </p:grpSp>
          <p:cxnSp>
            <p:nvCxnSpPr>
              <p:cNvPr id="287" name="Povezovalnik: kolenski 286">
                <a:extLst>
                  <a:ext uri="{FF2B5EF4-FFF2-40B4-BE49-F238E27FC236}">
                    <a16:creationId xmlns:a16="http://schemas.microsoft.com/office/drawing/2014/main" id="{5A925759-4C94-11B2-CDFF-B47E3C699BDE}"/>
                  </a:ext>
                </a:extLst>
              </p:cNvPr>
              <p:cNvCxnSpPr>
                <a:cxnSpLocks/>
                <a:stCxn id="284" idx="1"/>
              </p:cNvCxnSpPr>
              <p:nvPr/>
            </p:nvCxnSpPr>
            <p:spPr>
              <a:xfrm rot="10800000">
                <a:off x="7495156" y="2797440"/>
                <a:ext cx="277090" cy="367184"/>
              </a:xfrm>
              <a:prstGeom prst="bentConnector2">
                <a:avLst/>
              </a:prstGeom>
              <a:ln>
                <a:solidFill>
                  <a:srgbClr val="B6000F"/>
                </a:solidFill>
                <a:headEnd type="none" w="lg" len="med"/>
                <a:tailEnd type="diamon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13" name="Slika 12">
              <a:extLst>
                <a:ext uri="{FF2B5EF4-FFF2-40B4-BE49-F238E27FC236}">
                  <a16:creationId xmlns:a16="http://schemas.microsoft.com/office/drawing/2014/main" id="{FA857B55-8A68-5196-DD81-670A571057D0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/>
            <a:stretch>
              <a:fillRect/>
            </a:stretch>
          </p:blipFill>
          <p:spPr>
            <a:xfrm>
              <a:off x="8430335" y="1772756"/>
              <a:ext cx="509867" cy="405000"/>
            </a:xfrm>
            <a:prstGeom prst="rect">
              <a:avLst/>
            </a:prstGeom>
          </p:spPr>
        </p:pic>
        <p:pic>
          <p:nvPicPr>
            <p:cNvPr id="14" name="Slika 13">
              <a:extLst>
                <a:ext uri="{FF2B5EF4-FFF2-40B4-BE49-F238E27FC236}">
                  <a16:creationId xmlns:a16="http://schemas.microsoft.com/office/drawing/2014/main" id="{E2F2853C-A965-2F7C-E308-CF8D7A56B63C}"/>
                </a:ext>
              </a:extLst>
            </p:cNvPr>
            <p:cNvPicPr>
              <a:picLocks noChangeAspect="1"/>
            </p:cNvPicPr>
            <p:nvPr/>
          </p:nvPicPr>
          <p:blipFill>
            <a:blip r:embed="rId40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276656" y="2177757"/>
              <a:ext cx="405000" cy="236879"/>
            </a:xfrm>
            <a:prstGeom prst="rect">
              <a:avLst/>
            </a:prstGeom>
          </p:spPr>
        </p:pic>
        <p:pic>
          <p:nvPicPr>
            <p:cNvPr id="27" name="Slika 26" descr="Slika, ki vsebuje besede bela, kuhinjski aparat&#10;&#10;Opis je samodejno ustvarjen">
              <a:extLst>
                <a:ext uri="{FF2B5EF4-FFF2-40B4-BE49-F238E27FC236}">
                  <a16:creationId xmlns:a16="http://schemas.microsoft.com/office/drawing/2014/main" id="{7685D670-C77C-2001-3D5B-222DD937829F}"/>
                </a:ext>
              </a:extLst>
            </p:cNvPr>
            <p:cNvPicPr>
              <a:picLocks noChangeAspect="1"/>
            </p:cNvPicPr>
            <p:nvPr/>
          </p:nvPicPr>
          <p:blipFill>
            <a:blip r:embed="rId41" cstate="print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678461" y="2523350"/>
              <a:ext cx="540000" cy="302400"/>
            </a:xfrm>
            <a:prstGeom prst="rect">
              <a:avLst/>
            </a:prstGeom>
          </p:spPr>
        </p:pic>
        <p:pic>
          <p:nvPicPr>
            <p:cNvPr id="33" name="Slika 32">
              <a:extLst>
                <a:ext uri="{FF2B5EF4-FFF2-40B4-BE49-F238E27FC236}">
                  <a16:creationId xmlns:a16="http://schemas.microsoft.com/office/drawing/2014/main" id="{3F641A69-85D1-315A-6484-9E4CB5CB5F77}"/>
                </a:ext>
              </a:extLst>
            </p:cNvPr>
            <p:cNvPicPr>
              <a:picLocks noChangeAspect="1"/>
            </p:cNvPicPr>
            <p:nvPr/>
          </p:nvPicPr>
          <p:blipFill>
            <a:blip r:embed="rId42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066623" y="2815821"/>
              <a:ext cx="309706" cy="270000"/>
            </a:xfrm>
            <a:prstGeom prst="rect">
              <a:avLst/>
            </a:prstGeom>
          </p:spPr>
        </p:pic>
      </p:grpSp>
      <p:pic>
        <p:nvPicPr>
          <p:cNvPr id="35" name="Slika 34">
            <a:extLst>
              <a:ext uri="{FF2B5EF4-FFF2-40B4-BE49-F238E27FC236}">
                <a16:creationId xmlns:a16="http://schemas.microsoft.com/office/drawing/2014/main" id="{E68A410D-EB4C-3634-C43D-B610EE6EB29E}"/>
              </a:ext>
            </a:extLst>
          </p:cNvPr>
          <p:cNvPicPr>
            <a:picLocks noChangeAspect="1"/>
          </p:cNvPicPr>
          <p:nvPr/>
        </p:nvPicPr>
        <p:blipFill>
          <a:blip r:embed="rId4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95712" y="698273"/>
            <a:ext cx="309706" cy="27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66200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5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8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000"/>
                            </p:stCondLst>
                            <p:childTnLst>
                              <p:par>
                                <p:cTn id="20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Object 31" hidden="1">
            <a:extLst>
              <a:ext uri="{FF2B5EF4-FFF2-40B4-BE49-F238E27FC236}">
                <a16:creationId xmlns:a16="http://schemas.microsoft.com/office/drawing/2014/main" id="{8CC7F37E-1F45-480D-83AE-EFE06FAC2C3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6" imgH="396" progId="TCLayout.ActiveDocument.1">
                  <p:embed/>
                </p:oleObj>
              </mc:Choice>
              <mc:Fallback>
                <p:oleObj name="think-cell Slide" r:id="rId5" imgW="396" imgH="396" progId="TCLayout.ActiveDocument.1">
                  <p:embed/>
                  <p:pic>
                    <p:nvPicPr>
                      <p:cNvPr id="32" name="Object 31" hidden="1">
                        <a:extLst>
                          <a:ext uri="{FF2B5EF4-FFF2-40B4-BE49-F238E27FC236}">
                            <a16:creationId xmlns:a16="http://schemas.microsoft.com/office/drawing/2014/main" id="{8CC7F37E-1F45-480D-83AE-EFE06FAC2C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9" name="Group 23">
            <a:extLst>
              <a:ext uri="{FF2B5EF4-FFF2-40B4-BE49-F238E27FC236}">
                <a16:creationId xmlns:a16="http://schemas.microsoft.com/office/drawing/2014/main" id="{B5E7D3B8-E4BE-D6CA-A756-A3BC69BAA023}"/>
              </a:ext>
            </a:extLst>
          </p:cNvPr>
          <p:cNvGrpSpPr/>
          <p:nvPr/>
        </p:nvGrpSpPr>
        <p:grpSpPr>
          <a:xfrm>
            <a:off x="5728513" y="3350597"/>
            <a:ext cx="3275848" cy="1299021"/>
            <a:chOff x="1879059" y="1206981"/>
            <a:chExt cx="4367796" cy="1732028"/>
          </a:xfrm>
        </p:grpSpPr>
        <p:sp>
          <p:nvSpPr>
            <p:cNvPr id="29" name="Oval 24">
              <a:extLst>
                <a:ext uri="{FF2B5EF4-FFF2-40B4-BE49-F238E27FC236}">
                  <a16:creationId xmlns:a16="http://schemas.microsoft.com/office/drawing/2014/main" id="{0834AA09-7754-00BC-19C4-BB784E017DA1}"/>
                </a:ext>
              </a:extLst>
            </p:cNvPr>
            <p:cNvSpPr>
              <a:spLocks/>
            </p:cNvSpPr>
            <p:nvPr/>
          </p:nvSpPr>
          <p:spPr>
            <a:xfrm>
              <a:off x="1879059" y="1451966"/>
              <a:ext cx="648000" cy="648000"/>
            </a:xfrm>
            <a:custGeom>
              <a:avLst/>
              <a:gdLst>
                <a:gd name="f0" fmla="val 21600000"/>
                <a:gd name="f1" fmla="val 10800000"/>
                <a:gd name="f2" fmla="val 5400000"/>
                <a:gd name="f3" fmla="val 180"/>
                <a:gd name="f4" fmla="val w"/>
                <a:gd name="f5" fmla="val h"/>
                <a:gd name="f6" fmla="val ss"/>
                <a:gd name="f7" fmla="val 0"/>
                <a:gd name="f8" fmla="*/ 5419351 1 1725033"/>
                <a:gd name="f9" fmla="+- 0 0 -360"/>
                <a:gd name="f10" fmla="+- 0 0 -180"/>
                <a:gd name="f11" fmla="abs f4"/>
                <a:gd name="f12" fmla="abs f5"/>
                <a:gd name="f13" fmla="abs f6"/>
                <a:gd name="f14" fmla="+- 2700000 f2 0"/>
                <a:gd name="f15" fmla="*/ f9 f1 1"/>
                <a:gd name="f16" fmla="*/ f10 f1 1"/>
                <a:gd name="f17" fmla="?: f11 f4 1"/>
                <a:gd name="f18" fmla="?: f12 f5 1"/>
                <a:gd name="f19" fmla="?: f13 f6 1"/>
                <a:gd name="f20" fmla="+- f14 0 f2"/>
                <a:gd name="f21" fmla="*/ f15 1 f3"/>
                <a:gd name="f22" fmla="*/ f16 1 f3"/>
                <a:gd name="f23" fmla="*/ f17 1 21600"/>
                <a:gd name="f24" fmla="*/ f18 1 21600"/>
                <a:gd name="f25" fmla="*/ 21600 f17 1"/>
                <a:gd name="f26" fmla="*/ 21600 f18 1"/>
                <a:gd name="f27" fmla="+- f20 f2 0"/>
                <a:gd name="f28" fmla="+- f21 0 f2"/>
                <a:gd name="f29" fmla="+- f22 0 f2"/>
                <a:gd name="f30" fmla="min f24 f23"/>
                <a:gd name="f31" fmla="*/ f25 1 f19"/>
                <a:gd name="f32" fmla="*/ f26 1 f19"/>
                <a:gd name="f33" fmla="*/ f27 f8 1"/>
                <a:gd name="f34" fmla="val f31"/>
                <a:gd name="f35" fmla="val f32"/>
                <a:gd name="f36" fmla="*/ f33 1 f1"/>
                <a:gd name="f37" fmla="*/ f7 f30 1"/>
                <a:gd name="f38" fmla="+- f35 0 f7"/>
                <a:gd name="f39" fmla="+- f34 0 f7"/>
                <a:gd name="f40" fmla="+- 0 0 f36"/>
                <a:gd name="f41" fmla="*/ f38 1 2"/>
                <a:gd name="f42" fmla="*/ f39 1 2"/>
                <a:gd name="f43" fmla="+- 0 0 f40"/>
                <a:gd name="f44" fmla="+- f7 f41 0"/>
                <a:gd name="f45" fmla="+- f7 f42 0"/>
                <a:gd name="f46" fmla="*/ f43 f1 1"/>
                <a:gd name="f47" fmla="*/ f42 f30 1"/>
                <a:gd name="f48" fmla="*/ f41 f30 1"/>
                <a:gd name="f49" fmla="*/ f46 1 f8"/>
                <a:gd name="f50" fmla="*/ f44 f30 1"/>
                <a:gd name="f51" fmla="+- f49 0 f2"/>
                <a:gd name="f52" fmla="cos 1 f51"/>
                <a:gd name="f53" fmla="sin 1 f51"/>
                <a:gd name="f54" fmla="+- 0 0 f52"/>
                <a:gd name="f55" fmla="+- 0 0 f53"/>
                <a:gd name="f56" fmla="+- 0 0 f54"/>
                <a:gd name="f57" fmla="+- 0 0 f55"/>
                <a:gd name="f58" fmla="val f56"/>
                <a:gd name="f59" fmla="val f57"/>
                <a:gd name="f60" fmla="*/ f58 f42 1"/>
                <a:gd name="f61" fmla="*/ f59 f41 1"/>
                <a:gd name="f62" fmla="+- f45 0 f60"/>
                <a:gd name="f63" fmla="+- f45 f60 0"/>
                <a:gd name="f64" fmla="+- f44 0 f61"/>
                <a:gd name="f65" fmla="+- f44 f61 0"/>
                <a:gd name="f66" fmla="*/ f62 f30 1"/>
                <a:gd name="f67" fmla="*/ f64 f30 1"/>
                <a:gd name="f68" fmla="*/ f63 f30 1"/>
                <a:gd name="f69" fmla="*/ f65 f30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8">
                  <a:pos x="f66" y="f67"/>
                </a:cxn>
                <a:cxn ang="f29">
                  <a:pos x="f66" y="f69"/>
                </a:cxn>
                <a:cxn ang="f29">
                  <a:pos x="f68" y="f69"/>
                </a:cxn>
                <a:cxn ang="f28">
                  <a:pos x="f68" y="f67"/>
                </a:cxn>
              </a:cxnLst>
              <a:rect l="f66" t="f67" r="f68" b="f69"/>
              <a:pathLst>
                <a:path>
                  <a:moveTo>
                    <a:pt x="f37" y="f50"/>
                  </a:moveTo>
                  <a:arcTo wR="f47" hR="f48" stAng="f1" swAng="f0"/>
                  <a:close/>
                </a:path>
              </a:pathLst>
            </a:custGeom>
            <a:solidFill>
              <a:schemeClr val="tx1">
                <a:lumMod val="50000"/>
                <a:lumOff val="50000"/>
                <a:alpha val="60000"/>
              </a:schemeClr>
            </a:solidFill>
            <a:ln cap="flat">
              <a:noFill/>
              <a:prstDash val="solid"/>
            </a:ln>
          </p:spPr>
          <p:txBody>
            <a:bodyPr vert="horz" wrap="square" lIns="68580" tIns="34290" rIns="68580" bIns="34290" anchor="ctr" anchorCtr="1" compatLnSpc="1">
              <a:noAutofit/>
            </a:bodyPr>
            <a:lstStyle/>
            <a:p>
              <a:pPr algn="ctr" defTabSz="685783"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886" kern="0">
                <a:solidFill>
                  <a:srgbClr val="FFFFFF"/>
                </a:solidFill>
                <a:latin typeface="Open Sans" pitchFamily="34"/>
                <a:ea typeface="Open Sans" pitchFamily="34"/>
                <a:cs typeface="Open Sans" pitchFamily="34"/>
              </a:endParaRPr>
            </a:p>
          </p:txBody>
        </p:sp>
        <p:sp>
          <p:nvSpPr>
            <p:cNvPr id="30" name="Oval 25">
              <a:extLst>
                <a:ext uri="{FF2B5EF4-FFF2-40B4-BE49-F238E27FC236}">
                  <a16:creationId xmlns:a16="http://schemas.microsoft.com/office/drawing/2014/main" id="{9FB66E84-92BB-8D8D-CB1D-EAB06A71E68E}"/>
                </a:ext>
              </a:extLst>
            </p:cNvPr>
            <p:cNvSpPr/>
            <p:nvPr/>
          </p:nvSpPr>
          <p:spPr>
            <a:xfrm>
              <a:off x="2113059" y="1685966"/>
              <a:ext cx="180000" cy="180000"/>
            </a:xfrm>
            <a:custGeom>
              <a:avLst/>
              <a:gdLst>
                <a:gd name="f0" fmla="val 21600000"/>
                <a:gd name="f1" fmla="val 10800000"/>
                <a:gd name="f2" fmla="val 5400000"/>
                <a:gd name="f3" fmla="val 180"/>
                <a:gd name="f4" fmla="val w"/>
                <a:gd name="f5" fmla="val h"/>
                <a:gd name="f6" fmla="val ss"/>
                <a:gd name="f7" fmla="val 0"/>
                <a:gd name="f8" fmla="*/ 5419351 1 1725033"/>
                <a:gd name="f9" fmla="+- 0 0 -360"/>
                <a:gd name="f10" fmla="+- 0 0 -180"/>
                <a:gd name="f11" fmla="abs f4"/>
                <a:gd name="f12" fmla="abs f5"/>
                <a:gd name="f13" fmla="abs f6"/>
                <a:gd name="f14" fmla="+- 2700000 f2 0"/>
                <a:gd name="f15" fmla="*/ f9 f1 1"/>
                <a:gd name="f16" fmla="*/ f10 f1 1"/>
                <a:gd name="f17" fmla="?: f11 f4 1"/>
                <a:gd name="f18" fmla="?: f12 f5 1"/>
                <a:gd name="f19" fmla="?: f13 f6 1"/>
                <a:gd name="f20" fmla="+- f14 0 f2"/>
                <a:gd name="f21" fmla="*/ f15 1 f3"/>
                <a:gd name="f22" fmla="*/ f16 1 f3"/>
                <a:gd name="f23" fmla="*/ f17 1 21600"/>
                <a:gd name="f24" fmla="*/ f18 1 21600"/>
                <a:gd name="f25" fmla="*/ 21600 f17 1"/>
                <a:gd name="f26" fmla="*/ 21600 f18 1"/>
                <a:gd name="f27" fmla="+- f20 f2 0"/>
                <a:gd name="f28" fmla="+- f21 0 f2"/>
                <a:gd name="f29" fmla="+- f22 0 f2"/>
                <a:gd name="f30" fmla="min f24 f23"/>
                <a:gd name="f31" fmla="*/ f25 1 f19"/>
                <a:gd name="f32" fmla="*/ f26 1 f19"/>
                <a:gd name="f33" fmla="*/ f27 f8 1"/>
                <a:gd name="f34" fmla="val f31"/>
                <a:gd name="f35" fmla="val f32"/>
                <a:gd name="f36" fmla="*/ f33 1 f1"/>
                <a:gd name="f37" fmla="*/ f7 f30 1"/>
                <a:gd name="f38" fmla="+- f35 0 f7"/>
                <a:gd name="f39" fmla="+- f34 0 f7"/>
                <a:gd name="f40" fmla="+- 0 0 f36"/>
                <a:gd name="f41" fmla="*/ f38 1 2"/>
                <a:gd name="f42" fmla="*/ f39 1 2"/>
                <a:gd name="f43" fmla="+- 0 0 f40"/>
                <a:gd name="f44" fmla="+- f7 f41 0"/>
                <a:gd name="f45" fmla="+- f7 f42 0"/>
                <a:gd name="f46" fmla="*/ f43 f1 1"/>
                <a:gd name="f47" fmla="*/ f42 f30 1"/>
                <a:gd name="f48" fmla="*/ f41 f30 1"/>
                <a:gd name="f49" fmla="*/ f46 1 f8"/>
                <a:gd name="f50" fmla="*/ f44 f30 1"/>
                <a:gd name="f51" fmla="+- f49 0 f2"/>
                <a:gd name="f52" fmla="cos 1 f51"/>
                <a:gd name="f53" fmla="sin 1 f51"/>
                <a:gd name="f54" fmla="+- 0 0 f52"/>
                <a:gd name="f55" fmla="+- 0 0 f53"/>
                <a:gd name="f56" fmla="+- 0 0 f54"/>
                <a:gd name="f57" fmla="+- 0 0 f55"/>
                <a:gd name="f58" fmla="val f56"/>
                <a:gd name="f59" fmla="val f57"/>
                <a:gd name="f60" fmla="*/ f58 f42 1"/>
                <a:gd name="f61" fmla="*/ f59 f41 1"/>
                <a:gd name="f62" fmla="+- f45 0 f60"/>
                <a:gd name="f63" fmla="+- f45 f60 0"/>
                <a:gd name="f64" fmla="+- f44 0 f61"/>
                <a:gd name="f65" fmla="+- f44 f61 0"/>
                <a:gd name="f66" fmla="*/ f62 f30 1"/>
                <a:gd name="f67" fmla="*/ f64 f30 1"/>
                <a:gd name="f68" fmla="*/ f63 f30 1"/>
                <a:gd name="f69" fmla="*/ f65 f30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8">
                  <a:pos x="f66" y="f67"/>
                </a:cxn>
                <a:cxn ang="f29">
                  <a:pos x="f66" y="f69"/>
                </a:cxn>
                <a:cxn ang="f29">
                  <a:pos x="f68" y="f69"/>
                </a:cxn>
                <a:cxn ang="f28">
                  <a:pos x="f68" y="f67"/>
                </a:cxn>
              </a:cxnLst>
              <a:rect l="f66" t="f67" r="f68" b="f69"/>
              <a:pathLst>
                <a:path>
                  <a:moveTo>
                    <a:pt x="f37" y="f50"/>
                  </a:moveTo>
                  <a:arcTo wR="f47" hR="f48" stAng="f1" swAng="f0"/>
                  <a:close/>
                </a:path>
              </a:pathLst>
            </a:custGeom>
            <a:solidFill>
              <a:srgbClr val="FFFFFF"/>
            </a:solidFill>
            <a:ln cap="flat">
              <a:noFill/>
              <a:prstDash val="solid"/>
            </a:ln>
          </p:spPr>
          <p:txBody>
            <a:bodyPr vert="horz" wrap="square" lIns="68580" tIns="34290" rIns="68580" bIns="34290" anchor="ctr" anchorCtr="1" compatLnSpc="1">
              <a:noAutofit/>
            </a:bodyPr>
            <a:lstStyle/>
            <a:p>
              <a:pPr algn="ctr" defTabSz="685783"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013" kern="0">
                <a:solidFill>
                  <a:srgbClr val="FFFFFF"/>
                </a:solidFill>
                <a:latin typeface="Verdana"/>
              </a:endParaRPr>
            </a:p>
          </p:txBody>
        </p:sp>
        <p:grpSp>
          <p:nvGrpSpPr>
            <p:cNvPr id="31" name="Group 26">
              <a:extLst>
                <a:ext uri="{FF2B5EF4-FFF2-40B4-BE49-F238E27FC236}">
                  <a16:creationId xmlns:a16="http://schemas.microsoft.com/office/drawing/2014/main" id="{FAAA8AA1-38FD-C31E-3D8D-C5FAACA430E8}"/>
                </a:ext>
              </a:extLst>
            </p:cNvPr>
            <p:cNvGrpSpPr/>
            <p:nvPr/>
          </p:nvGrpSpPr>
          <p:grpSpPr>
            <a:xfrm>
              <a:off x="2293059" y="1241160"/>
              <a:ext cx="3660067" cy="1675581"/>
              <a:chOff x="2293059" y="1241160"/>
              <a:chExt cx="3660067" cy="1675581"/>
            </a:xfrm>
          </p:grpSpPr>
          <p:sp>
            <p:nvSpPr>
              <p:cNvPr id="43" name="Rectangle 29">
                <a:extLst>
                  <a:ext uri="{FF2B5EF4-FFF2-40B4-BE49-F238E27FC236}">
                    <a16:creationId xmlns:a16="http://schemas.microsoft.com/office/drawing/2014/main" id="{06B88E41-A89F-8153-E6E3-315F4676DA60}"/>
                  </a:ext>
                </a:extLst>
              </p:cNvPr>
              <p:cNvSpPr/>
              <p:nvPr/>
            </p:nvSpPr>
            <p:spPr>
              <a:xfrm>
                <a:off x="3305694" y="1241160"/>
                <a:ext cx="2647432" cy="1675581"/>
              </a:xfrm>
              <a:prstGeom prst="flowChartAlternateProcess">
                <a:avLst/>
              </a:prstGeom>
              <a:solidFill>
                <a:schemeClr val="tx1">
                  <a:lumMod val="75000"/>
                  <a:lumOff val="25000"/>
                  <a:alpha val="60000"/>
                </a:schemeClr>
              </a:solidFill>
              <a:ln cap="flat">
                <a:noFill/>
                <a:prstDash val="solid"/>
              </a:ln>
            </p:spPr>
            <p:txBody>
              <a:bodyPr vert="horz" wrap="square" lIns="68580" tIns="34290" rIns="68580" bIns="34290" anchor="ctr" anchorCtr="1" compatLnSpc="1">
                <a:noAutofit/>
              </a:bodyPr>
              <a:lstStyle/>
              <a:p>
                <a:pPr algn="ctr" defTabSz="685783"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760" kern="0">
                  <a:solidFill>
                    <a:srgbClr val="FFFFFF"/>
                  </a:solidFill>
                  <a:latin typeface="Verdana"/>
                </a:endParaRPr>
              </a:p>
            </p:txBody>
          </p:sp>
          <p:cxnSp>
            <p:nvCxnSpPr>
              <p:cNvPr id="45" name="Straight Connector 30">
                <a:extLst>
                  <a:ext uri="{FF2B5EF4-FFF2-40B4-BE49-F238E27FC236}">
                    <a16:creationId xmlns:a16="http://schemas.microsoft.com/office/drawing/2014/main" id="{3E207A32-F65A-67C5-5A2C-A46ABA36B18C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293059" y="1775966"/>
                <a:ext cx="996184" cy="0"/>
              </a:xfrm>
              <a:prstGeom prst="straightConnector1">
                <a:avLst/>
              </a:prstGeom>
              <a:noFill/>
              <a:ln w="28575" cap="flat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  <a:miter/>
              </a:ln>
            </p:spPr>
          </p:cxnSp>
        </p:grpSp>
        <p:sp>
          <p:nvSpPr>
            <p:cNvPr id="41" name="Text Box 10">
              <a:extLst>
                <a:ext uri="{FF2B5EF4-FFF2-40B4-BE49-F238E27FC236}">
                  <a16:creationId xmlns:a16="http://schemas.microsoft.com/office/drawing/2014/main" id="{E622469D-F7AD-0B1B-85B3-6262F058D831}"/>
                </a:ext>
              </a:extLst>
            </p:cNvPr>
            <p:cNvSpPr txBox="1"/>
            <p:nvPr/>
          </p:nvSpPr>
          <p:spPr>
            <a:xfrm>
              <a:off x="3469243" y="1572394"/>
              <a:ext cx="2426486" cy="1366615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square" lIns="25718" tIns="12859" rIns="25718" bIns="12859" anchor="t" anchorCtr="0" compatLnSpc="1">
              <a:spAutoFit/>
            </a:bodyPr>
            <a:lstStyle/>
            <a:p>
              <a:pPr marL="136910" indent="-136910" defTabSz="685783">
                <a:spcBef>
                  <a:spcPts val="450"/>
                </a:spcBef>
                <a:buSzPct val="100000"/>
                <a:buFont typeface="Arial" pitchFamily="34"/>
                <a:buChar char="•"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sr-Latn-BA" sz="675" kern="0" dirty="0">
                  <a:solidFill>
                    <a:prstClr val="white"/>
                  </a:solidFill>
                  <a:latin typeface="Verdana"/>
                  <a:cs typeface="Poppins" panose="00000500000000000000" pitchFamily="2" charset="-18"/>
                </a:rPr>
                <a:t>Prikuplanje i čuvanje podataka sa senzora i merila toplotne energije u cilju prognoze opterećenja</a:t>
              </a:r>
              <a:r>
                <a:rPr lang="en-US" sz="675" kern="0" dirty="0">
                  <a:solidFill>
                    <a:prstClr val="white"/>
                  </a:solidFill>
                  <a:latin typeface="Verdana"/>
                  <a:cs typeface="Poppins" panose="00000500000000000000" pitchFamily="2" charset="-18"/>
                </a:rPr>
                <a:t> (load forecasting)</a:t>
              </a:r>
            </a:p>
            <a:p>
              <a:pPr marL="136910" indent="-136910" defTabSz="685783">
                <a:spcBef>
                  <a:spcPts val="450"/>
                </a:spcBef>
                <a:buSzPct val="100000"/>
                <a:buFont typeface="Arial" pitchFamily="34"/>
                <a:buChar char="•"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sr-Latn-BA" sz="675" kern="0" dirty="0">
                  <a:solidFill>
                    <a:prstClr val="white"/>
                  </a:solidFill>
                  <a:latin typeface="Verdana"/>
                  <a:cs typeface="Poppins" panose="00000500000000000000" pitchFamily="2" charset="-18"/>
                </a:rPr>
                <a:t>Prikupljanje I čuvanje podataka o temperature u prostoru I korišćenje termičkog kapaciteta zgrade radi predvižanja toplotnog opterećenja i uštede na pikovima opterećenja</a:t>
              </a:r>
              <a:endParaRPr lang="en-US" sz="675" kern="0" dirty="0">
                <a:solidFill>
                  <a:prstClr val="white"/>
                </a:solidFill>
                <a:latin typeface="Verdana"/>
                <a:cs typeface="Poppins" panose="00000500000000000000" pitchFamily="2" charset="-18"/>
              </a:endParaRPr>
            </a:p>
          </p:txBody>
        </p:sp>
        <p:sp>
          <p:nvSpPr>
            <p:cNvPr id="42" name="Text Box 7">
              <a:extLst>
                <a:ext uri="{FF2B5EF4-FFF2-40B4-BE49-F238E27FC236}">
                  <a16:creationId xmlns:a16="http://schemas.microsoft.com/office/drawing/2014/main" id="{52E96C5D-1BA7-1F26-EC90-A4BDBB92615D}"/>
                </a:ext>
              </a:extLst>
            </p:cNvPr>
            <p:cNvSpPr txBox="1"/>
            <p:nvPr/>
          </p:nvSpPr>
          <p:spPr>
            <a:xfrm>
              <a:off x="3599421" y="1206981"/>
              <a:ext cx="2647434" cy="342403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square" lIns="25718" tIns="12859" rIns="25718" bIns="12859" anchor="t" anchorCtr="0" compatLnSpc="1">
              <a:spAutoFit/>
            </a:bodyPr>
            <a:lstStyle/>
            <a:p>
              <a:pPr defTabSz="612068"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sr-Latn-BA" sz="750" b="1" kern="0" dirty="0">
                  <a:solidFill>
                    <a:prstClr val="white"/>
                  </a:solidFill>
                  <a:latin typeface="Verdana"/>
                  <a:ea typeface="Verdana"/>
                  <a:cs typeface="Poppins" panose="00000500000000000000" pitchFamily="2" charset="-18"/>
                </a:rPr>
                <a:t>„Pametne“ i energetski </a:t>
              </a:r>
            </a:p>
            <a:p>
              <a:pPr defTabSz="612068"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sr-Latn-BA" sz="750" b="1" kern="0" dirty="0">
                  <a:solidFill>
                    <a:prstClr val="white"/>
                  </a:solidFill>
                  <a:latin typeface="Verdana"/>
                  <a:ea typeface="Verdana"/>
                  <a:cs typeface="Poppins" panose="00000500000000000000" pitchFamily="2" charset="-18"/>
                </a:rPr>
                <a:t>efikasne zgrade</a:t>
              </a:r>
              <a:endParaRPr lang="en-US" sz="750" b="1" kern="0" dirty="0">
                <a:solidFill>
                  <a:prstClr val="white"/>
                </a:solidFill>
                <a:latin typeface="Verdana"/>
                <a:ea typeface="Verdana"/>
                <a:cs typeface="Poppins" panose="00000500000000000000" pitchFamily="2" charset="-18"/>
              </a:endParaRPr>
            </a:p>
          </p:txBody>
        </p:sp>
      </p:grpSp>
      <p:grpSp>
        <p:nvGrpSpPr>
          <p:cNvPr id="47" name="Group 31">
            <a:extLst>
              <a:ext uri="{FF2B5EF4-FFF2-40B4-BE49-F238E27FC236}">
                <a16:creationId xmlns:a16="http://schemas.microsoft.com/office/drawing/2014/main" id="{922C1C5F-C80B-9FED-5423-6FBA3D079E4A}"/>
              </a:ext>
            </a:extLst>
          </p:cNvPr>
          <p:cNvGrpSpPr/>
          <p:nvPr/>
        </p:nvGrpSpPr>
        <p:grpSpPr>
          <a:xfrm>
            <a:off x="3520110" y="877677"/>
            <a:ext cx="3133792" cy="1694071"/>
            <a:chOff x="6881500" y="3365403"/>
            <a:chExt cx="4178386" cy="2258761"/>
          </a:xfrm>
        </p:grpSpPr>
        <p:sp>
          <p:nvSpPr>
            <p:cNvPr id="48" name="Oval 32">
              <a:extLst>
                <a:ext uri="{FF2B5EF4-FFF2-40B4-BE49-F238E27FC236}">
                  <a16:creationId xmlns:a16="http://schemas.microsoft.com/office/drawing/2014/main" id="{D050FD87-6E7D-609D-EE45-A71AFFB3E407}"/>
                </a:ext>
              </a:extLst>
            </p:cNvPr>
            <p:cNvSpPr/>
            <p:nvPr/>
          </p:nvSpPr>
          <p:spPr>
            <a:xfrm>
              <a:off x="6881500" y="3572304"/>
              <a:ext cx="648000" cy="648000"/>
            </a:xfrm>
            <a:custGeom>
              <a:avLst/>
              <a:gdLst>
                <a:gd name="f0" fmla="val 21600000"/>
                <a:gd name="f1" fmla="val 10800000"/>
                <a:gd name="f2" fmla="val 5400000"/>
                <a:gd name="f3" fmla="val 180"/>
                <a:gd name="f4" fmla="val w"/>
                <a:gd name="f5" fmla="val h"/>
                <a:gd name="f6" fmla="val ss"/>
                <a:gd name="f7" fmla="val 0"/>
                <a:gd name="f8" fmla="*/ 5419351 1 1725033"/>
                <a:gd name="f9" fmla="+- 0 0 -360"/>
                <a:gd name="f10" fmla="+- 0 0 -180"/>
                <a:gd name="f11" fmla="abs f4"/>
                <a:gd name="f12" fmla="abs f5"/>
                <a:gd name="f13" fmla="abs f6"/>
                <a:gd name="f14" fmla="+- 2700000 f2 0"/>
                <a:gd name="f15" fmla="*/ f9 f1 1"/>
                <a:gd name="f16" fmla="*/ f10 f1 1"/>
                <a:gd name="f17" fmla="?: f11 f4 1"/>
                <a:gd name="f18" fmla="?: f12 f5 1"/>
                <a:gd name="f19" fmla="?: f13 f6 1"/>
                <a:gd name="f20" fmla="+- f14 0 f2"/>
                <a:gd name="f21" fmla="*/ f15 1 f3"/>
                <a:gd name="f22" fmla="*/ f16 1 f3"/>
                <a:gd name="f23" fmla="*/ f17 1 21600"/>
                <a:gd name="f24" fmla="*/ f18 1 21600"/>
                <a:gd name="f25" fmla="*/ 21600 f17 1"/>
                <a:gd name="f26" fmla="*/ 21600 f18 1"/>
                <a:gd name="f27" fmla="+- f20 f2 0"/>
                <a:gd name="f28" fmla="+- f21 0 f2"/>
                <a:gd name="f29" fmla="+- f22 0 f2"/>
                <a:gd name="f30" fmla="min f24 f23"/>
                <a:gd name="f31" fmla="*/ f25 1 f19"/>
                <a:gd name="f32" fmla="*/ f26 1 f19"/>
                <a:gd name="f33" fmla="*/ f27 f8 1"/>
                <a:gd name="f34" fmla="val f31"/>
                <a:gd name="f35" fmla="val f32"/>
                <a:gd name="f36" fmla="*/ f33 1 f1"/>
                <a:gd name="f37" fmla="*/ f7 f30 1"/>
                <a:gd name="f38" fmla="+- f35 0 f7"/>
                <a:gd name="f39" fmla="+- f34 0 f7"/>
                <a:gd name="f40" fmla="+- 0 0 f36"/>
                <a:gd name="f41" fmla="*/ f38 1 2"/>
                <a:gd name="f42" fmla="*/ f39 1 2"/>
                <a:gd name="f43" fmla="+- 0 0 f40"/>
                <a:gd name="f44" fmla="+- f7 f41 0"/>
                <a:gd name="f45" fmla="+- f7 f42 0"/>
                <a:gd name="f46" fmla="*/ f43 f1 1"/>
                <a:gd name="f47" fmla="*/ f42 f30 1"/>
                <a:gd name="f48" fmla="*/ f41 f30 1"/>
                <a:gd name="f49" fmla="*/ f46 1 f8"/>
                <a:gd name="f50" fmla="*/ f44 f30 1"/>
                <a:gd name="f51" fmla="+- f49 0 f2"/>
                <a:gd name="f52" fmla="cos 1 f51"/>
                <a:gd name="f53" fmla="sin 1 f51"/>
                <a:gd name="f54" fmla="+- 0 0 f52"/>
                <a:gd name="f55" fmla="+- 0 0 f53"/>
                <a:gd name="f56" fmla="+- 0 0 f54"/>
                <a:gd name="f57" fmla="+- 0 0 f55"/>
                <a:gd name="f58" fmla="val f56"/>
                <a:gd name="f59" fmla="val f57"/>
                <a:gd name="f60" fmla="*/ f58 f42 1"/>
                <a:gd name="f61" fmla="*/ f59 f41 1"/>
                <a:gd name="f62" fmla="+- f45 0 f60"/>
                <a:gd name="f63" fmla="+- f45 f60 0"/>
                <a:gd name="f64" fmla="+- f44 0 f61"/>
                <a:gd name="f65" fmla="+- f44 f61 0"/>
                <a:gd name="f66" fmla="*/ f62 f30 1"/>
                <a:gd name="f67" fmla="*/ f64 f30 1"/>
                <a:gd name="f68" fmla="*/ f63 f30 1"/>
                <a:gd name="f69" fmla="*/ f65 f30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8">
                  <a:pos x="f66" y="f67"/>
                </a:cxn>
                <a:cxn ang="f29">
                  <a:pos x="f66" y="f69"/>
                </a:cxn>
                <a:cxn ang="f29">
                  <a:pos x="f68" y="f69"/>
                </a:cxn>
                <a:cxn ang="f28">
                  <a:pos x="f68" y="f67"/>
                </a:cxn>
              </a:cxnLst>
              <a:rect l="f66" t="f67" r="f68" b="f69"/>
              <a:pathLst>
                <a:path>
                  <a:moveTo>
                    <a:pt x="f37" y="f50"/>
                  </a:moveTo>
                  <a:arcTo wR="f47" hR="f48" stAng="f1" swAng="f0"/>
                  <a:close/>
                </a:path>
              </a:pathLst>
            </a:custGeom>
            <a:solidFill>
              <a:schemeClr val="tx1">
                <a:lumMod val="50000"/>
                <a:lumOff val="50000"/>
                <a:alpha val="60000"/>
              </a:schemeClr>
            </a:solidFill>
            <a:ln cap="flat">
              <a:noFill/>
              <a:prstDash val="solid"/>
            </a:ln>
          </p:spPr>
          <p:txBody>
            <a:bodyPr vert="horz" wrap="square" lIns="68580" tIns="34290" rIns="68580" bIns="34290" anchor="ctr" anchorCtr="1" compatLnSpc="1">
              <a:noAutofit/>
            </a:bodyPr>
            <a:lstStyle/>
            <a:p>
              <a:pPr algn="ctr" defTabSz="685783"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886" kern="0">
                <a:solidFill>
                  <a:srgbClr val="FFFFFF"/>
                </a:solidFill>
                <a:latin typeface="Open Sans" pitchFamily="34"/>
                <a:ea typeface="Open Sans" pitchFamily="34"/>
                <a:cs typeface="Open Sans" pitchFamily="34"/>
              </a:endParaRPr>
            </a:p>
          </p:txBody>
        </p:sp>
        <p:sp>
          <p:nvSpPr>
            <p:cNvPr id="49" name="Oval 33">
              <a:extLst>
                <a:ext uri="{FF2B5EF4-FFF2-40B4-BE49-F238E27FC236}">
                  <a16:creationId xmlns:a16="http://schemas.microsoft.com/office/drawing/2014/main" id="{56628726-7CAD-AA19-CF6D-09F358873DCA}"/>
                </a:ext>
              </a:extLst>
            </p:cNvPr>
            <p:cNvSpPr/>
            <p:nvPr/>
          </p:nvSpPr>
          <p:spPr>
            <a:xfrm>
              <a:off x="7101687" y="3800455"/>
              <a:ext cx="180000" cy="180000"/>
            </a:xfrm>
            <a:custGeom>
              <a:avLst/>
              <a:gdLst>
                <a:gd name="f0" fmla="val 21600000"/>
                <a:gd name="f1" fmla="val 10800000"/>
                <a:gd name="f2" fmla="val 5400000"/>
                <a:gd name="f3" fmla="val 180"/>
                <a:gd name="f4" fmla="val w"/>
                <a:gd name="f5" fmla="val h"/>
                <a:gd name="f6" fmla="val ss"/>
                <a:gd name="f7" fmla="val 0"/>
                <a:gd name="f8" fmla="*/ 5419351 1 1725033"/>
                <a:gd name="f9" fmla="+- 0 0 -360"/>
                <a:gd name="f10" fmla="+- 0 0 -180"/>
                <a:gd name="f11" fmla="abs f4"/>
                <a:gd name="f12" fmla="abs f5"/>
                <a:gd name="f13" fmla="abs f6"/>
                <a:gd name="f14" fmla="+- 2700000 f2 0"/>
                <a:gd name="f15" fmla="*/ f9 f1 1"/>
                <a:gd name="f16" fmla="*/ f10 f1 1"/>
                <a:gd name="f17" fmla="?: f11 f4 1"/>
                <a:gd name="f18" fmla="?: f12 f5 1"/>
                <a:gd name="f19" fmla="?: f13 f6 1"/>
                <a:gd name="f20" fmla="+- f14 0 f2"/>
                <a:gd name="f21" fmla="*/ f15 1 f3"/>
                <a:gd name="f22" fmla="*/ f16 1 f3"/>
                <a:gd name="f23" fmla="*/ f17 1 21600"/>
                <a:gd name="f24" fmla="*/ f18 1 21600"/>
                <a:gd name="f25" fmla="*/ 21600 f17 1"/>
                <a:gd name="f26" fmla="*/ 21600 f18 1"/>
                <a:gd name="f27" fmla="+- f20 f2 0"/>
                <a:gd name="f28" fmla="+- f21 0 f2"/>
                <a:gd name="f29" fmla="+- f22 0 f2"/>
                <a:gd name="f30" fmla="min f24 f23"/>
                <a:gd name="f31" fmla="*/ f25 1 f19"/>
                <a:gd name="f32" fmla="*/ f26 1 f19"/>
                <a:gd name="f33" fmla="*/ f27 f8 1"/>
                <a:gd name="f34" fmla="val f31"/>
                <a:gd name="f35" fmla="val f32"/>
                <a:gd name="f36" fmla="*/ f33 1 f1"/>
                <a:gd name="f37" fmla="*/ f7 f30 1"/>
                <a:gd name="f38" fmla="+- f35 0 f7"/>
                <a:gd name="f39" fmla="+- f34 0 f7"/>
                <a:gd name="f40" fmla="+- 0 0 f36"/>
                <a:gd name="f41" fmla="*/ f38 1 2"/>
                <a:gd name="f42" fmla="*/ f39 1 2"/>
                <a:gd name="f43" fmla="+- 0 0 f40"/>
                <a:gd name="f44" fmla="+- f7 f41 0"/>
                <a:gd name="f45" fmla="+- f7 f42 0"/>
                <a:gd name="f46" fmla="*/ f43 f1 1"/>
                <a:gd name="f47" fmla="*/ f42 f30 1"/>
                <a:gd name="f48" fmla="*/ f41 f30 1"/>
                <a:gd name="f49" fmla="*/ f46 1 f8"/>
                <a:gd name="f50" fmla="*/ f44 f30 1"/>
                <a:gd name="f51" fmla="+- f49 0 f2"/>
                <a:gd name="f52" fmla="cos 1 f51"/>
                <a:gd name="f53" fmla="sin 1 f51"/>
                <a:gd name="f54" fmla="+- 0 0 f52"/>
                <a:gd name="f55" fmla="+- 0 0 f53"/>
                <a:gd name="f56" fmla="+- 0 0 f54"/>
                <a:gd name="f57" fmla="+- 0 0 f55"/>
                <a:gd name="f58" fmla="val f56"/>
                <a:gd name="f59" fmla="val f57"/>
                <a:gd name="f60" fmla="*/ f58 f42 1"/>
                <a:gd name="f61" fmla="*/ f59 f41 1"/>
                <a:gd name="f62" fmla="+- f45 0 f60"/>
                <a:gd name="f63" fmla="+- f45 f60 0"/>
                <a:gd name="f64" fmla="+- f44 0 f61"/>
                <a:gd name="f65" fmla="+- f44 f61 0"/>
                <a:gd name="f66" fmla="*/ f62 f30 1"/>
                <a:gd name="f67" fmla="*/ f64 f30 1"/>
                <a:gd name="f68" fmla="*/ f63 f30 1"/>
                <a:gd name="f69" fmla="*/ f65 f30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28">
                  <a:pos x="f66" y="f67"/>
                </a:cxn>
                <a:cxn ang="f29">
                  <a:pos x="f66" y="f69"/>
                </a:cxn>
                <a:cxn ang="f29">
                  <a:pos x="f68" y="f69"/>
                </a:cxn>
                <a:cxn ang="f28">
                  <a:pos x="f68" y="f67"/>
                </a:cxn>
              </a:cxnLst>
              <a:rect l="f66" t="f67" r="f68" b="f69"/>
              <a:pathLst>
                <a:path>
                  <a:moveTo>
                    <a:pt x="f37" y="f50"/>
                  </a:moveTo>
                  <a:arcTo wR="f47" hR="f48" stAng="f1" swAng="f0"/>
                  <a:close/>
                </a:path>
              </a:pathLst>
            </a:custGeom>
            <a:solidFill>
              <a:srgbClr val="FFFFFF"/>
            </a:solidFill>
            <a:ln cap="flat">
              <a:noFill/>
              <a:prstDash val="solid"/>
            </a:ln>
          </p:spPr>
          <p:txBody>
            <a:bodyPr vert="horz" wrap="square" lIns="68580" tIns="34290" rIns="68580" bIns="34290" anchor="ctr" anchorCtr="1" compatLnSpc="1">
              <a:noAutofit/>
            </a:bodyPr>
            <a:lstStyle/>
            <a:p>
              <a:pPr algn="ctr" defTabSz="685783"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013" kern="0">
                <a:solidFill>
                  <a:srgbClr val="FFFFFF"/>
                </a:solidFill>
                <a:latin typeface="Verdana"/>
              </a:endParaRPr>
            </a:p>
          </p:txBody>
        </p:sp>
        <p:grpSp>
          <p:nvGrpSpPr>
            <p:cNvPr id="50" name="Group 34">
              <a:extLst>
                <a:ext uri="{FF2B5EF4-FFF2-40B4-BE49-F238E27FC236}">
                  <a16:creationId xmlns:a16="http://schemas.microsoft.com/office/drawing/2014/main" id="{A2EE460C-5081-54AC-1100-11AF418F3F8D}"/>
                </a:ext>
              </a:extLst>
            </p:cNvPr>
            <p:cNvGrpSpPr/>
            <p:nvPr/>
          </p:nvGrpSpPr>
          <p:grpSpPr>
            <a:xfrm>
              <a:off x="7281687" y="3365403"/>
              <a:ext cx="3778199" cy="2258761"/>
              <a:chOff x="7281687" y="3365403"/>
              <a:chExt cx="3778199" cy="2258761"/>
            </a:xfrm>
          </p:grpSpPr>
          <p:sp>
            <p:nvSpPr>
              <p:cNvPr id="53" name="Rectangle 37">
                <a:extLst>
                  <a:ext uri="{FF2B5EF4-FFF2-40B4-BE49-F238E27FC236}">
                    <a16:creationId xmlns:a16="http://schemas.microsoft.com/office/drawing/2014/main" id="{4B73E31F-2F46-CB8C-F6B4-05A48A6D537F}"/>
                  </a:ext>
                </a:extLst>
              </p:cNvPr>
              <p:cNvSpPr/>
              <p:nvPr/>
            </p:nvSpPr>
            <p:spPr>
              <a:xfrm>
                <a:off x="7759133" y="3365403"/>
                <a:ext cx="3300753" cy="2258761"/>
              </a:xfrm>
              <a:prstGeom prst="roundRect">
                <a:avLst/>
              </a:prstGeom>
              <a:solidFill>
                <a:schemeClr val="tx1">
                  <a:lumMod val="75000"/>
                  <a:lumOff val="25000"/>
                  <a:alpha val="60000"/>
                </a:schemeClr>
              </a:solidFill>
              <a:ln cap="flat">
                <a:noFill/>
                <a:prstDash val="solid"/>
              </a:ln>
            </p:spPr>
            <p:txBody>
              <a:bodyPr vert="horz" wrap="square" lIns="68580" tIns="34290" rIns="68580" bIns="34290" anchor="ctr" anchorCtr="1" compatLnSpc="1">
                <a:noAutofit/>
              </a:bodyPr>
              <a:lstStyle/>
              <a:p>
                <a:pPr algn="ctr" defTabSz="685783"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760" kern="0" dirty="0">
                  <a:solidFill>
                    <a:srgbClr val="FFFFFF"/>
                  </a:solidFill>
                  <a:latin typeface="Verdana"/>
                </a:endParaRPr>
              </a:p>
            </p:txBody>
          </p:sp>
          <p:cxnSp>
            <p:nvCxnSpPr>
              <p:cNvPr id="54" name="Straight Connector 38">
                <a:extLst>
                  <a:ext uri="{FF2B5EF4-FFF2-40B4-BE49-F238E27FC236}">
                    <a16:creationId xmlns:a16="http://schemas.microsoft.com/office/drawing/2014/main" id="{4F787D41-4983-61B4-10AE-894705B272AC}"/>
                  </a:ext>
                </a:extLst>
              </p:cNvPr>
              <p:cNvCxnSpPr>
                <a:cxnSpLocks/>
                <a:stCxn id="49" idx="1"/>
              </p:cNvCxnSpPr>
              <p:nvPr/>
            </p:nvCxnSpPr>
            <p:spPr>
              <a:xfrm>
                <a:off x="7281687" y="3890455"/>
                <a:ext cx="468000" cy="0"/>
              </a:xfrm>
              <a:prstGeom prst="straightConnector1">
                <a:avLst/>
              </a:prstGeom>
              <a:noFill/>
              <a:ln w="28575" cap="flat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  <a:miter/>
              </a:ln>
            </p:spPr>
          </p:cxnSp>
        </p:grpSp>
        <p:sp>
          <p:nvSpPr>
            <p:cNvPr id="51" name="Text Box 10">
              <a:extLst>
                <a:ext uri="{FF2B5EF4-FFF2-40B4-BE49-F238E27FC236}">
                  <a16:creationId xmlns:a16="http://schemas.microsoft.com/office/drawing/2014/main" id="{8C607EF7-B63E-7F39-4A89-884BAA764B4F}"/>
                </a:ext>
              </a:extLst>
            </p:cNvPr>
            <p:cNvSpPr txBox="1"/>
            <p:nvPr/>
          </p:nvSpPr>
          <p:spPr>
            <a:xfrm>
              <a:off x="7886263" y="3654947"/>
              <a:ext cx="3087900" cy="1623094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square" lIns="25718" tIns="12859" rIns="25718" bIns="12859" anchor="t" anchorCtr="0" compatLnSpc="1">
              <a:spAutoFit/>
            </a:bodyPr>
            <a:lstStyle/>
            <a:p>
              <a:pPr marL="128577" indent="-128577" defTabSz="685783">
                <a:spcBef>
                  <a:spcPts val="450"/>
                </a:spcBef>
                <a:buSzPct val="100000"/>
                <a:buFont typeface="Arial" pitchFamily="34"/>
                <a:buChar char="•"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sr-Latn-BA" sz="675" kern="0" dirty="0">
                  <a:solidFill>
                    <a:prstClr val="white"/>
                  </a:solidFill>
                  <a:latin typeface="Verdana"/>
                  <a:cs typeface="Poppins" panose="00000500000000000000" pitchFamily="2" charset="-18"/>
                </a:rPr>
                <a:t>Optimizacija proizvodnih izvora I razvodne tempere čime je osiuranoa najekonomičnije upravljanje</a:t>
              </a:r>
            </a:p>
            <a:p>
              <a:pPr marL="128577" indent="-128577" defTabSz="685783">
                <a:spcBef>
                  <a:spcPts val="450"/>
                </a:spcBef>
                <a:buSzPct val="100000"/>
                <a:buFont typeface="Arial" pitchFamily="34"/>
                <a:buChar char="•"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sr-Latn-BA" sz="675" kern="0" dirty="0">
                  <a:solidFill>
                    <a:prstClr val="white"/>
                  </a:solidFill>
                  <a:latin typeface="Verdana"/>
                  <a:cs typeface="Poppins" panose="00000500000000000000" pitchFamily="2" charset="-18"/>
                </a:rPr>
                <a:t>Upravljanje različitim energetskim izvorima</a:t>
              </a:r>
              <a:r>
                <a:rPr lang="en-US" sz="675" kern="0" dirty="0">
                  <a:solidFill>
                    <a:prstClr val="white"/>
                  </a:solidFill>
                  <a:latin typeface="Verdana"/>
                  <a:cs typeface="Poppins" panose="00000500000000000000" pitchFamily="2" charset="-18"/>
                </a:rPr>
                <a:t>, management </a:t>
              </a:r>
              <a:r>
                <a:rPr lang="sr-Latn-BA" sz="675" kern="0" dirty="0">
                  <a:solidFill>
                    <a:prstClr val="white"/>
                  </a:solidFill>
                  <a:latin typeface="Verdana"/>
                  <a:cs typeface="Poppins" panose="00000500000000000000" pitchFamily="2" charset="-18"/>
                </a:rPr>
                <a:t>OIE i </a:t>
              </a:r>
              <a:r>
                <a:rPr lang="en-US" sz="675" kern="0" dirty="0">
                  <a:solidFill>
                    <a:prstClr val="white"/>
                  </a:solidFill>
                  <a:latin typeface="Verdana"/>
                  <a:cs typeface="Poppins" panose="00000500000000000000" pitchFamily="2" charset="-18"/>
                </a:rPr>
                <a:t>o</a:t>
              </a:r>
              <a:r>
                <a:rPr lang="sr-Latn-BA" sz="675" kern="0" dirty="0">
                  <a:solidFill>
                    <a:prstClr val="white"/>
                  </a:solidFill>
                  <a:latin typeface="Verdana"/>
                  <a:cs typeface="Poppins" panose="00000500000000000000" pitchFamily="2" charset="-18"/>
                </a:rPr>
                <a:t>tpadnom toplotom  </a:t>
              </a:r>
              <a:endParaRPr lang="sl-SI" sz="675" kern="0" dirty="0">
                <a:solidFill>
                  <a:prstClr val="white"/>
                </a:solidFill>
                <a:latin typeface="Verdana"/>
                <a:cs typeface="Poppins" panose="00000500000000000000" pitchFamily="2" charset="-18"/>
              </a:endParaRPr>
            </a:p>
            <a:p>
              <a:pPr marL="128577" indent="-128577" defTabSz="685783">
                <a:spcBef>
                  <a:spcPts val="450"/>
                </a:spcBef>
                <a:buSzPct val="100000"/>
                <a:buFont typeface="Arial" pitchFamily="34"/>
                <a:buChar char="•"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sr-Latn-BA" sz="675" kern="0" dirty="0">
                  <a:solidFill>
                    <a:prstClr val="white"/>
                  </a:solidFill>
                  <a:latin typeface="Verdana"/>
                  <a:cs typeface="Poppins" panose="00000500000000000000" pitchFamily="2" charset="-18"/>
                </a:rPr>
                <a:t>U slučaju CHP povećati proizvodnju struje onda kad je ekonomski najisplativije</a:t>
              </a:r>
            </a:p>
            <a:p>
              <a:pPr marL="128577" indent="-128577" defTabSz="685783">
                <a:spcBef>
                  <a:spcPts val="450"/>
                </a:spcBef>
                <a:buSzPct val="100000"/>
                <a:buFont typeface="Arial" pitchFamily="34"/>
                <a:buChar char="•"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en-US" sz="675" kern="0" dirty="0">
                  <a:solidFill>
                    <a:prstClr val="white"/>
                  </a:solidFill>
                  <a:latin typeface="Verdana"/>
                  <a:cs typeface="Poppins" panose="00000500000000000000" pitchFamily="2" charset="-18"/>
                </a:rPr>
                <a:t>Optimal</a:t>
              </a:r>
              <a:r>
                <a:rPr lang="sr-Latn-BA" sz="675" kern="0" dirty="0">
                  <a:solidFill>
                    <a:prstClr val="white"/>
                  </a:solidFill>
                  <a:latin typeface="Verdana"/>
                  <a:cs typeface="Poppins" panose="00000500000000000000" pitchFamily="2" charset="-18"/>
                </a:rPr>
                <a:t>no korišćenje skladišta toplotne energije</a:t>
              </a:r>
            </a:p>
            <a:p>
              <a:pPr marL="128577" indent="-128577" defTabSz="685783">
                <a:spcBef>
                  <a:spcPts val="450"/>
                </a:spcBef>
                <a:buSzPct val="100000"/>
                <a:buFont typeface="Arial" pitchFamily="34"/>
                <a:buChar char="•"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sr-Latn-BA" sz="675" kern="0" dirty="0">
                  <a:solidFill>
                    <a:prstClr val="white"/>
                  </a:solidFill>
                  <a:latin typeface="Verdana"/>
                  <a:cs typeface="Poppins" panose="00000500000000000000" pitchFamily="2" charset="-18"/>
                </a:rPr>
                <a:t>Kalkulacija optimalnog „Energy miksa“</a:t>
              </a:r>
              <a:endParaRPr lang="en-US" sz="675" kern="0" dirty="0">
                <a:solidFill>
                  <a:prstClr val="white"/>
                </a:solidFill>
                <a:latin typeface="Verdana"/>
                <a:cs typeface="Poppins" panose="00000500000000000000" pitchFamily="2" charset="-18"/>
              </a:endParaRPr>
            </a:p>
          </p:txBody>
        </p:sp>
        <p:sp>
          <p:nvSpPr>
            <p:cNvPr id="52" name="Text Box 7">
              <a:extLst>
                <a:ext uri="{FF2B5EF4-FFF2-40B4-BE49-F238E27FC236}">
                  <a16:creationId xmlns:a16="http://schemas.microsoft.com/office/drawing/2014/main" id="{D6376A96-F396-1158-9E41-7E88C5AA9808}"/>
                </a:ext>
              </a:extLst>
            </p:cNvPr>
            <p:cNvSpPr txBox="1"/>
            <p:nvPr/>
          </p:nvSpPr>
          <p:spPr>
            <a:xfrm>
              <a:off x="8089278" y="3412723"/>
              <a:ext cx="2640466" cy="188513"/>
            </a:xfrm>
            <a:prstGeom prst="rect">
              <a:avLst/>
            </a:prstGeom>
            <a:noFill/>
            <a:ln cap="flat">
              <a:noFill/>
            </a:ln>
          </p:spPr>
          <p:txBody>
            <a:bodyPr vert="horz" wrap="none" lIns="25718" tIns="12859" rIns="25718" bIns="12859" anchor="t" anchorCtr="0" compatLnSpc="1">
              <a:spAutoFit/>
            </a:bodyPr>
            <a:lstStyle/>
            <a:p>
              <a:pPr algn="ctr" defTabSz="612068"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r>
                <a:rPr lang="en-US" sz="750" b="1" kern="0" dirty="0">
                  <a:solidFill>
                    <a:prstClr val="white"/>
                  </a:solidFill>
                  <a:latin typeface="Verdana"/>
                  <a:ea typeface="Verdana"/>
                  <a:cs typeface="Poppins" panose="00000500000000000000" pitchFamily="2" charset="-18"/>
                </a:rPr>
                <a:t>Intelligent</a:t>
              </a:r>
              <a:r>
                <a:rPr lang="sr-Latn-BA" sz="750" b="1" kern="0" dirty="0">
                  <a:solidFill>
                    <a:prstClr val="white"/>
                  </a:solidFill>
                  <a:latin typeface="Verdana"/>
                  <a:ea typeface="Verdana"/>
                  <a:cs typeface="Poppins" panose="00000500000000000000" pitchFamily="2" charset="-18"/>
                </a:rPr>
                <a:t>no upravljanje izvorima </a:t>
              </a:r>
              <a:endParaRPr lang="hr-HR" sz="750" b="1" kern="0" dirty="0">
                <a:solidFill>
                  <a:prstClr val="white"/>
                </a:solidFill>
                <a:latin typeface="Verdana"/>
                <a:ea typeface="Verdana"/>
                <a:cs typeface="Poppins" panose="00000500000000000000" pitchFamily="2" charset="-18"/>
              </a:endParaRPr>
            </a:p>
          </p:txBody>
        </p:sp>
      </p:grpSp>
      <p:sp>
        <p:nvSpPr>
          <p:cNvPr id="69" name="Title 5">
            <a:extLst>
              <a:ext uri="{FF2B5EF4-FFF2-40B4-BE49-F238E27FC236}">
                <a16:creationId xmlns:a16="http://schemas.microsoft.com/office/drawing/2014/main" id="{E38DCD4A-D6FF-EDAA-1B17-6AC96DC0CFAD}"/>
              </a:ext>
            </a:extLst>
          </p:cNvPr>
          <p:cNvSpPr txBox="1">
            <a:spLocks/>
          </p:cNvSpPr>
          <p:nvPr/>
        </p:nvSpPr>
        <p:spPr>
          <a:xfrm>
            <a:off x="1430937" y="210694"/>
            <a:ext cx="8308975" cy="86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1219170" rtl="0" eaLnBrk="1" latinLnBrk="0" hangingPunct="1">
              <a:spcBef>
                <a:spcPct val="0"/>
              </a:spcBef>
              <a:buNone/>
              <a:defRPr sz="3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685766">
              <a:lnSpc>
                <a:spcPct val="107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sr-Latn-BA" sz="1800" b="1" dirty="0">
                <a:solidFill>
                  <a:prstClr val="white"/>
                </a:solidFill>
                <a:latin typeface="Verdana"/>
                <a:ea typeface="Verdana" panose="020B0604030504040204" pitchFamily="34" charset="0"/>
                <a:cs typeface="Times New Roman" panose="02020603050405020304" pitchFamily="18" charset="0"/>
              </a:rPr>
              <a:t>D</a:t>
            </a:r>
            <a:r>
              <a:rPr lang="en-GB" sz="1800" b="1" dirty="0" err="1">
                <a:solidFill>
                  <a:prstClr val="white"/>
                </a:solidFill>
                <a:latin typeface="Verdana"/>
                <a:ea typeface="Verdana" panose="020B0604030504040204" pitchFamily="34" charset="0"/>
                <a:cs typeface="Times New Roman" panose="02020603050405020304" pitchFamily="18" charset="0"/>
              </a:rPr>
              <a:t>igital</a:t>
            </a:r>
            <a:r>
              <a:rPr lang="sr-Latn-BA" sz="1800" b="1" dirty="0">
                <a:solidFill>
                  <a:prstClr val="white"/>
                </a:solidFill>
                <a:latin typeface="Verdana"/>
                <a:ea typeface="Verdana" panose="020B0604030504040204" pitchFamily="34" charset="0"/>
                <a:cs typeface="Times New Roman" panose="02020603050405020304" pitchFamily="18" charset="0"/>
              </a:rPr>
              <a:t>na</a:t>
            </a:r>
            <a:r>
              <a:rPr lang="en-US" sz="1800" b="1" dirty="0">
                <a:solidFill>
                  <a:prstClr val="white"/>
                </a:solidFill>
                <a:latin typeface="Verdana"/>
                <a:ea typeface="Verdan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en-US" sz="1800" b="1" dirty="0" err="1">
                <a:solidFill>
                  <a:prstClr val="white"/>
                </a:solidFill>
                <a:latin typeface="Verdana"/>
                <a:ea typeface="Verdana" panose="020B0604030504040204" pitchFamily="34" charset="0"/>
                <a:cs typeface="Times New Roman" panose="02020603050405020304" pitchFamily="18" charset="0"/>
              </a:rPr>
              <a:t>transforma</a:t>
            </a:r>
            <a:r>
              <a:rPr lang="sr-Latn-BA" sz="1800" b="1" dirty="0">
                <a:solidFill>
                  <a:prstClr val="white"/>
                </a:solidFill>
                <a:latin typeface="Verdana"/>
                <a:ea typeface="Verdana" panose="020B0604030504040204" pitchFamily="34" charset="0"/>
                <a:cs typeface="Times New Roman" panose="02020603050405020304" pitchFamily="18" charset="0"/>
              </a:rPr>
              <a:t>cija daljinskog grejanja</a:t>
            </a:r>
          </a:p>
          <a:p>
            <a:pPr defTabSz="685766">
              <a:lnSpc>
                <a:spcPct val="107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sr-Latn-BA" sz="1100" b="1" dirty="0">
                <a:solidFill>
                  <a:prstClr val="white"/>
                </a:solidFill>
                <a:latin typeface="Verdana"/>
                <a:ea typeface="Verdana" panose="020B0604030504040204" pitchFamily="34" charset="0"/>
                <a:cs typeface="Times New Roman" panose="02020603050405020304" pitchFamily="18" charset="0"/>
              </a:rPr>
              <a:t>Zašto? Kad? Gde? Kako?</a:t>
            </a:r>
          </a:p>
        </p:txBody>
      </p:sp>
      <p:grpSp>
        <p:nvGrpSpPr>
          <p:cNvPr id="6" name="Skupina 5">
            <a:extLst>
              <a:ext uri="{FF2B5EF4-FFF2-40B4-BE49-F238E27FC236}">
                <a16:creationId xmlns:a16="http://schemas.microsoft.com/office/drawing/2014/main" id="{690379CB-64CA-42D4-7A06-935D70C3AA84}"/>
              </a:ext>
            </a:extLst>
          </p:cNvPr>
          <p:cNvGrpSpPr/>
          <p:nvPr/>
        </p:nvGrpSpPr>
        <p:grpSpPr>
          <a:xfrm>
            <a:off x="471667" y="1971212"/>
            <a:ext cx="3737724" cy="2804548"/>
            <a:chOff x="628889" y="2761679"/>
            <a:chExt cx="4858157" cy="3605999"/>
          </a:xfrm>
        </p:grpSpPr>
        <p:grpSp>
          <p:nvGrpSpPr>
            <p:cNvPr id="57" name="Group 15">
              <a:extLst>
                <a:ext uri="{FF2B5EF4-FFF2-40B4-BE49-F238E27FC236}">
                  <a16:creationId xmlns:a16="http://schemas.microsoft.com/office/drawing/2014/main" id="{79D769E8-C01B-976A-8CEF-622167F927EE}"/>
                </a:ext>
              </a:extLst>
            </p:cNvPr>
            <p:cNvGrpSpPr/>
            <p:nvPr/>
          </p:nvGrpSpPr>
          <p:grpSpPr>
            <a:xfrm>
              <a:off x="628889" y="2761679"/>
              <a:ext cx="4858157" cy="3605999"/>
              <a:chOff x="-477109" y="3749916"/>
              <a:chExt cx="4858157" cy="3605999"/>
            </a:xfrm>
          </p:grpSpPr>
          <p:sp>
            <p:nvSpPr>
              <p:cNvPr id="58" name="Oval 16">
                <a:extLst>
                  <a:ext uri="{FF2B5EF4-FFF2-40B4-BE49-F238E27FC236}">
                    <a16:creationId xmlns:a16="http://schemas.microsoft.com/office/drawing/2014/main" id="{A12B977F-5C32-0188-6DF2-F4BE76FC82F4}"/>
                  </a:ext>
                </a:extLst>
              </p:cNvPr>
              <p:cNvSpPr/>
              <p:nvPr/>
            </p:nvSpPr>
            <p:spPr>
              <a:xfrm>
                <a:off x="3733048" y="6707915"/>
                <a:ext cx="648000" cy="648000"/>
              </a:xfrm>
              <a:custGeom>
                <a:avLst/>
                <a:gdLst>
                  <a:gd name="f0" fmla="val 21600000"/>
                  <a:gd name="f1" fmla="val 10800000"/>
                  <a:gd name="f2" fmla="val 5400000"/>
                  <a:gd name="f3" fmla="val 180"/>
                  <a:gd name="f4" fmla="val w"/>
                  <a:gd name="f5" fmla="val h"/>
                  <a:gd name="f6" fmla="val ss"/>
                  <a:gd name="f7" fmla="val 0"/>
                  <a:gd name="f8" fmla="*/ 5419351 1 1725033"/>
                  <a:gd name="f9" fmla="+- 0 0 -360"/>
                  <a:gd name="f10" fmla="+- 0 0 -180"/>
                  <a:gd name="f11" fmla="abs f4"/>
                  <a:gd name="f12" fmla="abs f5"/>
                  <a:gd name="f13" fmla="abs f6"/>
                  <a:gd name="f14" fmla="+- 2700000 f2 0"/>
                  <a:gd name="f15" fmla="*/ f9 f1 1"/>
                  <a:gd name="f16" fmla="*/ f10 f1 1"/>
                  <a:gd name="f17" fmla="?: f11 f4 1"/>
                  <a:gd name="f18" fmla="?: f12 f5 1"/>
                  <a:gd name="f19" fmla="?: f13 f6 1"/>
                  <a:gd name="f20" fmla="+- f14 0 f2"/>
                  <a:gd name="f21" fmla="*/ f15 1 f3"/>
                  <a:gd name="f22" fmla="*/ f16 1 f3"/>
                  <a:gd name="f23" fmla="*/ f17 1 21600"/>
                  <a:gd name="f24" fmla="*/ f18 1 21600"/>
                  <a:gd name="f25" fmla="*/ 21600 f17 1"/>
                  <a:gd name="f26" fmla="*/ 21600 f18 1"/>
                  <a:gd name="f27" fmla="+- f20 f2 0"/>
                  <a:gd name="f28" fmla="+- f21 0 f2"/>
                  <a:gd name="f29" fmla="+- f22 0 f2"/>
                  <a:gd name="f30" fmla="min f24 f23"/>
                  <a:gd name="f31" fmla="*/ f25 1 f19"/>
                  <a:gd name="f32" fmla="*/ f26 1 f19"/>
                  <a:gd name="f33" fmla="*/ f27 f8 1"/>
                  <a:gd name="f34" fmla="val f31"/>
                  <a:gd name="f35" fmla="val f32"/>
                  <a:gd name="f36" fmla="*/ f33 1 f1"/>
                  <a:gd name="f37" fmla="*/ f7 f30 1"/>
                  <a:gd name="f38" fmla="+- f35 0 f7"/>
                  <a:gd name="f39" fmla="+- f34 0 f7"/>
                  <a:gd name="f40" fmla="+- 0 0 f36"/>
                  <a:gd name="f41" fmla="*/ f38 1 2"/>
                  <a:gd name="f42" fmla="*/ f39 1 2"/>
                  <a:gd name="f43" fmla="+- 0 0 f40"/>
                  <a:gd name="f44" fmla="+- f7 f41 0"/>
                  <a:gd name="f45" fmla="+- f7 f42 0"/>
                  <a:gd name="f46" fmla="*/ f43 f1 1"/>
                  <a:gd name="f47" fmla="*/ f42 f30 1"/>
                  <a:gd name="f48" fmla="*/ f41 f30 1"/>
                  <a:gd name="f49" fmla="*/ f46 1 f8"/>
                  <a:gd name="f50" fmla="*/ f44 f30 1"/>
                  <a:gd name="f51" fmla="+- f49 0 f2"/>
                  <a:gd name="f52" fmla="cos 1 f51"/>
                  <a:gd name="f53" fmla="sin 1 f51"/>
                  <a:gd name="f54" fmla="+- 0 0 f52"/>
                  <a:gd name="f55" fmla="+- 0 0 f53"/>
                  <a:gd name="f56" fmla="+- 0 0 f54"/>
                  <a:gd name="f57" fmla="+- 0 0 f55"/>
                  <a:gd name="f58" fmla="val f56"/>
                  <a:gd name="f59" fmla="val f57"/>
                  <a:gd name="f60" fmla="*/ f58 f42 1"/>
                  <a:gd name="f61" fmla="*/ f59 f41 1"/>
                  <a:gd name="f62" fmla="+- f45 0 f60"/>
                  <a:gd name="f63" fmla="+- f45 f60 0"/>
                  <a:gd name="f64" fmla="+- f44 0 f61"/>
                  <a:gd name="f65" fmla="+- f44 f61 0"/>
                  <a:gd name="f66" fmla="*/ f62 f30 1"/>
                  <a:gd name="f67" fmla="*/ f64 f30 1"/>
                  <a:gd name="f68" fmla="*/ f63 f30 1"/>
                  <a:gd name="f69" fmla="*/ f65 f30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28">
                    <a:pos x="f66" y="f67"/>
                  </a:cxn>
                  <a:cxn ang="f29">
                    <a:pos x="f66" y="f69"/>
                  </a:cxn>
                  <a:cxn ang="f29">
                    <a:pos x="f68" y="f69"/>
                  </a:cxn>
                  <a:cxn ang="f28">
                    <a:pos x="f68" y="f67"/>
                  </a:cxn>
                </a:cxnLst>
                <a:rect l="f66" t="f67" r="f68" b="f69"/>
                <a:pathLst>
                  <a:path>
                    <a:moveTo>
                      <a:pt x="f37" y="f50"/>
                    </a:moveTo>
                    <a:arcTo wR="f47" hR="f48" stAng="f1" swAng="f0"/>
                    <a:close/>
                  </a:path>
                </a:pathLst>
              </a:custGeom>
              <a:solidFill>
                <a:schemeClr val="tx1">
                  <a:lumMod val="50000"/>
                  <a:lumOff val="50000"/>
                  <a:alpha val="60000"/>
                </a:schemeClr>
              </a:solidFill>
              <a:ln cap="flat">
                <a:noFill/>
                <a:prstDash val="solid"/>
              </a:ln>
            </p:spPr>
            <p:txBody>
              <a:bodyPr vert="horz" wrap="square" lIns="68580" tIns="34290" rIns="68580" bIns="34290" anchor="ctr" anchorCtr="1" compatLnSpc="1">
                <a:noAutofit/>
              </a:bodyPr>
              <a:lstStyle/>
              <a:p>
                <a:pPr algn="ctr" defTabSz="685783"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886" kern="0">
                  <a:solidFill>
                    <a:srgbClr val="FFFFFF"/>
                  </a:solidFill>
                  <a:latin typeface="Open Sans" pitchFamily="34"/>
                  <a:ea typeface="Open Sans" pitchFamily="34"/>
                  <a:cs typeface="Open Sans" pitchFamily="34"/>
                </a:endParaRPr>
              </a:p>
            </p:txBody>
          </p:sp>
          <p:sp>
            <p:nvSpPr>
              <p:cNvPr id="59" name="Oval 17">
                <a:extLst>
                  <a:ext uri="{FF2B5EF4-FFF2-40B4-BE49-F238E27FC236}">
                    <a16:creationId xmlns:a16="http://schemas.microsoft.com/office/drawing/2014/main" id="{0225B37B-1F27-8E86-3BC8-78B906C44700}"/>
                  </a:ext>
                </a:extLst>
              </p:cNvPr>
              <p:cNvSpPr/>
              <p:nvPr/>
            </p:nvSpPr>
            <p:spPr>
              <a:xfrm>
                <a:off x="3967048" y="6941915"/>
                <a:ext cx="180000" cy="180000"/>
              </a:xfrm>
              <a:custGeom>
                <a:avLst/>
                <a:gdLst>
                  <a:gd name="f0" fmla="val 21600000"/>
                  <a:gd name="f1" fmla="val 10800000"/>
                  <a:gd name="f2" fmla="val 5400000"/>
                  <a:gd name="f3" fmla="val 180"/>
                  <a:gd name="f4" fmla="val w"/>
                  <a:gd name="f5" fmla="val h"/>
                  <a:gd name="f6" fmla="val ss"/>
                  <a:gd name="f7" fmla="val 0"/>
                  <a:gd name="f8" fmla="*/ 5419351 1 1725033"/>
                  <a:gd name="f9" fmla="+- 0 0 -360"/>
                  <a:gd name="f10" fmla="+- 0 0 -180"/>
                  <a:gd name="f11" fmla="abs f4"/>
                  <a:gd name="f12" fmla="abs f5"/>
                  <a:gd name="f13" fmla="abs f6"/>
                  <a:gd name="f14" fmla="+- 2700000 f2 0"/>
                  <a:gd name="f15" fmla="*/ f9 f1 1"/>
                  <a:gd name="f16" fmla="*/ f10 f1 1"/>
                  <a:gd name="f17" fmla="?: f11 f4 1"/>
                  <a:gd name="f18" fmla="?: f12 f5 1"/>
                  <a:gd name="f19" fmla="?: f13 f6 1"/>
                  <a:gd name="f20" fmla="+- f14 0 f2"/>
                  <a:gd name="f21" fmla="*/ f15 1 f3"/>
                  <a:gd name="f22" fmla="*/ f16 1 f3"/>
                  <a:gd name="f23" fmla="*/ f17 1 21600"/>
                  <a:gd name="f24" fmla="*/ f18 1 21600"/>
                  <a:gd name="f25" fmla="*/ 21600 f17 1"/>
                  <a:gd name="f26" fmla="*/ 21600 f18 1"/>
                  <a:gd name="f27" fmla="+- f20 f2 0"/>
                  <a:gd name="f28" fmla="+- f21 0 f2"/>
                  <a:gd name="f29" fmla="+- f22 0 f2"/>
                  <a:gd name="f30" fmla="min f24 f23"/>
                  <a:gd name="f31" fmla="*/ f25 1 f19"/>
                  <a:gd name="f32" fmla="*/ f26 1 f19"/>
                  <a:gd name="f33" fmla="*/ f27 f8 1"/>
                  <a:gd name="f34" fmla="val f31"/>
                  <a:gd name="f35" fmla="val f32"/>
                  <a:gd name="f36" fmla="*/ f33 1 f1"/>
                  <a:gd name="f37" fmla="*/ f7 f30 1"/>
                  <a:gd name="f38" fmla="+- f35 0 f7"/>
                  <a:gd name="f39" fmla="+- f34 0 f7"/>
                  <a:gd name="f40" fmla="+- 0 0 f36"/>
                  <a:gd name="f41" fmla="*/ f38 1 2"/>
                  <a:gd name="f42" fmla="*/ f39 1 2"/>
                  <a:gd name="f43" fmla="+- 0 0 f40"/>
                  <a:gd name="f44" fmla="+- f7 f41 0"/>
                  <a:gd name="f45" fmla="+- f7 f42 0"/>
                  <a:gd name="f46" fmla="*/ f43 f1 1"/>
                  <a:gd name="f47" fmla="*/ f42 f30 1"/>
                  <a:gd name="f48" fmla="*/ f41 f30 1"/>
                  <a:gd name="f49" fmla="*/ f46 1 f8"/>
                  <a:gd name="f50" fmla="*/ f44 f30 1"/>
                  <a:gd name="f51" fmla="+- f49 0 f2"/>
                  <a:gd name="f52" fmla="cos 1 f51"/>
                  <a:gd name="f53" fmla="sin 1 f51"/>
                  <a:gd name="f54" fmla="+- 0 0 f52"/>
                  <a:gd name="f55" fmla="+- 0 0 f53"/>
                  <a:gd name="f56" fmla="+- 0 0 f54"/>
                  <a:gd name="f57" fmla="+- 0 0 f55"/>
                  <a:gd name="f58" fmla="val f56"/>
                  <a:gd name="f59" fmla="val f57"/>
                  <a:gd name="f60" fmla="*/ f58 f42 1"/>
                  <a:gd name="f61" fmla="*/ f59 f41 1"/>
                  <a:gd name="f62" fmla="+- f45 0 f60"/>
                  <a:gd name="f63" fmla="+- f45 f60 0"/>
                  <a:gd name="f64" fmla="+- f44 0 f61"/>
                  <a:gd name="f65" fmla="+- f44 f61 0"/>
                  <a:gd name="f66" fmla="*/ f62 f30 1"/>
                  <a:gd name="f67" fmla="*/ f64 f30 1"/>
                  <a:gd name="f68" fmla="*/ f63 f30 1"/>
                  <a:gd name="f69" fmla="*/ f65 f30 1"/>
                </a:gdLst>
                <a:ahLst/>
                <a:cxnLst>
                  <a:cxn ang="3cd4">
                    <a:pos x="hc" y="t"/>
                  </a:cxn>
                  <a:cxn ang="0">
                    <a:pos x="r" y="vc"/>
                  </a:cxn>
                  <a:cxn ang="cd4">
                    <a:pos x="hc" y="b"/>
                  </a:cxn>
                  <a:cxn ang="cd2">
                    <a:pos x="l" y="vc"/>
                  </a:cxn>
                  <a:cxn ang="f28">
                    <a:pos x="f66" y="f67"/>
                  </a:cxn>
                  <a:cxn ang="f29">
                    <a:pos x="f66" y="f69"/>
                  </a:cxn>
                  <a:cxn ang="f29">
                    <a:pos x="f68" y="f69"/>
                  </a:cxn>
                  <a:cxn ang="f28">
                    <a:pos x="f68" y="f67"/>
                  </a:cxn>
                </a:cxnLst>
                <a:rect l="f66" t="f67" r="f68" b="f69"/>
                <a:pathLst>
                  <a:path>
                    <a:moveTo>
                      <a:pt x="f37" y="f50"/>
                    </a:moveTo>
                    <a:arcTo wR="f47" hR="f48" stAng="f1" swAng="f0"/>
                    <a:close/>
                  </a:path>
                </a:pathLst>
              </a:custGeom>
              <a:solidFill>
                <a:srgbClr val="FFFFFF"/>
              </a:solidFill>
              <a:ln cap="flat">
                <a:noFill/>
                <a:prstDash val="solid"/>
              </a:ln>
            </p:spPr>
            <p:txBody>
              <a:bodyPr vert="horz" wrap="square" lIns="68580" tIns="34290" rIns="68580" bIns="34290" anchor="ctr" anchorCtr="1" compatLnSpc="1">
                <a:noAutofit/>
              </a:bodyPr>
              <a:lstStyle/>
              <a:p>
                <a:pPr algn="ctr" defTabSz="685783"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1013" kern="0">
                  <a:solidFill>
                    <a:srgbClr val="FFFFFF"/>
                  </a:solidFill>
                  <a:latin typeface="Verdana"/>
                </a:endParaRPr>
              </a:p>
            </p:txBody>
          </p:sp>
          <p:sp>
            <p:nvSpPr>
              <p:cNvPr id="63" name="Rectangle 21">
                <a:extLst>
                  <a:ext uri="{FF2B5EF4-FFF2-40B4-BE49-F238E27FC236}">
                    <a16:creationId xmlns:a16="http://schemas.microsoft.com/office/drawing/2014/main" id="{973B9E58-B8B2-9D62-2193-5B2D3F51BD39}"/>
                  </a:ext>
                </a:extLst>
              </p:cNvPr>
              <p:cNvSpPr/>
              <p:nvPr/>
            </p:nvSpPr>
            <p:spPr>
              <a:xfrm>
                <a:off x="-477109" y="3776408"/>
                <a:ext cx="3388473" cy="2758387"/>
              </a:xfrm>
              <a:prstGeom prst="flowChartAlternateProcess">
                <a:avLst/>
              </a:prstGeom>
              <a:solidFill>
                <a:schemeClr val="tx1">
                  <a:lumMod val="75000"/>
                  <a:lumOff val="25000"/>
                  <a:alpha val="60000"/>
                </a:schemeClr>
              </a:solidFill>
              <a:ln cap="flat">
                <a:noFill/>
                <a:prstDash val="solid"/>
              </a:ln>
            </p:spPr>
            <p:txBody>
              <a:bodyPr vert="horz" wrap="square" lIns="68580" tIns="34290" rIns="68580" bIns="34290" anchor="ctr" anchorCtr="1" compatLnSpc="1">
                <a:noAutofit/>
              </a:bodyPr>
              <a:lstStyle/>
              <a:p>
                <a:pPr algn="ctr" defTabSz="685783"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endParaRPr lang="en-US" sz="760" kern="0">
                  <a:solidFill>
                    <a:srgbClr val="FFFFFF"/>
                  </a:solidFill>
                  <a:latin typeface="Verdana"/>
                </a:endParaRPr>
              </a:p>
            </p:txBody>
          </p:sp>
          <p:sp>
            <p:nvSpPr>
              <p:cNvPr id="61" name="Text Box 10">
                <a:extLst>
                  <a:ext uri="{FF2B5EF4-FFF2-40B4-BE49-F238E27FC236}">
                    <a16:creationId xmlns:a16="http://schemas.microsoft.com/office/drawing/2014/main" id="{050DC4B4-10B4-C05E-FA42-C0D74D996925}"/>
                  </a:ext>
                </a:extLst>
              </p:cNvPr>
              <p:cNvSpPr txBox="1"/>
              <p:nvPr/>
            </p:nvSpPr>
            <p:spPr>
              <a:xfrm>
                <a:off x="-409060" y="3980531"/>
                <a:ext cx="3175209" cy="2539586"/>
              </a:xfrm>
              <a:prstGeom prst="rect">
                <a:avLst/>
              </a:prstGeom>
              <a:noFill/>
              <a:ln cap="flat">
                <a:noFill/>
              </a:ln>
            </p:spPr>
            <p:txBody>
              <a:bodyPr vert="horz" wrap="square" lIns="25718" tIns="12859" rIns="25718" bIns="12859" anchor="t" anchorCtr="0" compatLnSpc="1">
                <a:spAutoFit/>
              </a:bodyPr>
              <a:lstStyle/>
              <a:p>
                <a:pPr marL="128577" indent="-128577" defTabSz="685783">
                  <a:spcBef>
                    <a:spcPts val="450"/>
                  </a:spcBef>
                  <a:buSzPct val="100000"/>
                  <a:buFont typeface="Arial" pitchFamily="34"/>
                  <a:buChar char="•"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r>
                  <a:rPr lang="sr-Latn-BA" sz="675" kern="0" dirty="0">
                    <a:solidFill>
                      <a:prstClr val="white"/>
                    </a:solidFill>
                    <a:latin typeface="Verdana"/>
                    <a:cs typeface="Poppins" panose="00000500000000000000" pitchFamily="2" charset="-18"/>
                  </a:rPr>
                  <a:t>Poboljšana kontrola temperature, pritiska i protoka – u realnom vremenu i  daljinski </a:t>
                </a:r>
                <a:endParaRPr lang="en-US" sz="675" kern="0" dirty="0">
                  <a:solidFill>
                    <a:prstClr val="white"/>
                  </a:solidFill>
                  <a:latin typeface="Verdana"/>
                  <a:cs typeface="Poppins" panose="00000500000000000000" pitchFamily="2" charset="-18"/>
                </a:endParaRPr>
              </a:p>
              <a:p>
                <a:pPr marL="128577" indent="-128577" defTabSz="685783">
                  <a:spcBef>
                    <a:spcPts val="450"/>
                  </a:spcBef>
                  <a:buSzPct val="100000"/>
                  <a:buFont typeface="Arial" pitchFamily="34"/>
                  <a:buChar char="•"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r>
                  <a:rPr lang="sr-Latn-BA" sz="675" kern="0" dirty="0">
                    <a:solidFill>
                      <a:prstClr val="white"/>
                    </a:solidFill>
                    <a:latin typeface="Verdana"/>
                    <a:cs typeface="Poppins" panose="00000500000000000000" pitchFamily="2" charset="-18"/>
                  </a:rPr>
                  <a:t>Poznavanje transportnog vremena, gubitaka toplote, itd</a:t>
                </a:r>
                <a:r>
                  <a:rPr lang="en-US" sz="675" kern="0" dirty="0">
                    <a:solidFill>
                      <a:prstClr val="white"/>
                    </a:solidFill>
                    <a:latin typeface="Verdana"/>
                    <a:cs typeface="Poppins" panose="00000500000000000000" pitchFamily="2" charset="-18"/>
                  </a:rPr>
                  <a:t>.</a:t>
                </a:r>
              </a:p>
              <a:p>
                <a:pPr marL="128577" indent="-128577" defTabSz="685783">
                  <a:spcBef>
                    <a:spcPts val="450"/>
                  </a:spcBef>
                  <a:buSzPct val="100000"/>
                  <a:buFont typeface="Arial" pitchFamily="34"/>
                  <a:buChar char="•"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r>
                  <a:rPr lang="en-US" sz="675" kern="0" dirty="0" err="1">
                    <a:solidFill>
                      <a:prstClr val="white"/>
                    </a:solidFill>
                    <a:latin typeface="Verdana"/>
                    <a:cs typeface="Poppins" panose="00000500000000000000" pitchFamily="2" charset="-18"/>
                  </a:rPr>
                  <a:t>Optimiza</a:t>
                </a:r>
                <a:r>
                  <a:rPr lang="sr-Latn-BA" sz="675" kern="0" dirty="0">
                    <a:solidFill>
                      <a:prstClr val="white"/>
                    </a:solidFill>
                    <a:latin typeface="Verdana"/>
                    <a:cs typeface="Poppins" panose="00000500000000000000" pitchFamily="2" charset="-18"/>
                  </a:rPr>
                  <a:t>cija distribucije energije sa samopodešavanjem (</a:t>
                </a:r>
                <a:r>
                  <a:rPr lang="en-US" sz="675" kern="0" dirty="0">
                    <a:solidFill>
                      <a:prstClr val="white"/>
                    </a:solidFill>
                    <a:latin typeface="Verdana"/>
                    <a:cs typeface="Poppins" panose="00000500000000000000" pitchFamily="2" charset="-18"/>
                  </a:rPr>
                  <a:t>auto</a:t>
                </a:r>
                <a:r>
                  <a:rPr lang="sl-SI" sz="675" kern="0" dirty="0">
                    <a:solidFill>
                      <a:prstClr val="white"/>
                    </a:solidFill>
                    <a:latin typeface="Verdana"/>
                    <a:cs typeface="Poppins" panose="00000500000000000000" pitchFamily="2" charset="-18"/>
                  </a:rPr>
                  <a:t>-</a:t>
                </a:r>
                <a:r>
                  <a:rPr lang="en-US" sz="675" kern="0" dirty="0" err="1">
                    <a:solidFill>
                      <a:prstClr val="white"/>
                    </a:solidFill>
                    <a:latin typeface="Verdana"/>
                    <a:cs typeface="Poppins" panose="00000500000000000000" pitchFamily="2" charset="-18"/>
                  </a:rPr>
                  <a:t>commissioni</a:t>
                </a:r>
                <a:r>
                  <a:rPr lang="sr-Latn-BA" sz="675" kern="0" dirty="0">
                    <a:solidFill>
                      <a:prstClr val="white"/>
                    </a:solidFill>
                    <a:latin typeface="Verdana"/>
                    <a:cs typeface="Poppins" panose="00000500000000000000" pitchFamily="2" charset="-18"/>
                  </a:rPr>
                  <a:t>ng) i kontinualna optimizacija rada toplotnih podstanica</a:t>
                </a:r>
                <a:endParaRPr lang="en-US" sz="675" kern="0" dirty="0">
                  <a:solidFill>
                    <a:prstClr val="white"/>
                  </a:solidFill>
                  <a:latin typeface="Verdana"/>
                  <a:cs typeface="Poppins" panose="00000500000000000000" pitchFamily="2" charset="-18"/>
                </a:endParaRPr>
              </a:p>
              <a:p>
                <a:pPr marL="128577" indent="-128577" defTabSz="685783">
                  <a:spcBef>
                    <a:spcPts val="450"/>
                  </a:spcBef>
                  <a:buSzPct val="100000"/>
                  <a:buFont typeface="Arial" pitchFamily="34"/>
                  <a:buChar char="•"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r>
                  <a:rPr lang="en-US" sz="675" kern="0" dirty="0">
                    <a:solidFill>
                      <a:prstClr val="white"/>
                    </a:solidFill>
                    <a:latin typeface="Verdana"/>
                    <a:cs typeface="Poppins" panose="00000500000000000000" pitchFamily="2" charset="-18"/>
                  </a:rPr>
                  <a:t>Optimal network design, simulation</a:t>
                </a:r>
              </a:p>
              <a:p>
                <a:pPr marL="128577" indent="-128577" defTabSz="685783">
                  <a:spcBef>
                    <a:spcPts val="450"/>
                  </a:spcBef>
                  <a:buSzPct val="100000"/>
                  <a:buFont typeface="Arial" pitchFamily="34"/>
                  <a:buChar char="•"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r>
                  <a:rPr lang="en-US" sz="675" kern="0" dirty="0" err="1">
                    <a:solidFill>
                      <a:prstClr val="white"/>
                    </a:solidFill>
                    <a:latin typeface="Verdana"/>
                    <a:cs typeface="Poppins" panose="00000500000000000000" pitchFamily="2" charset="-18"/>
                  </a:rPr>
                  <a:t>Predi</a:t>
                </a:r>
                <a:r>
                  <a:rPr lang="sr-Latn-BA" sz="675" kern="0" dirty="0">
                    <a:solidFill>
                      <a:prstClr val="white"/>
                    </a:solidFill>
                    <a:latin typeface="Verdana"/>
                    <a:cs typeface="Poppins" panose="00000500000000000000" pitchFamily="2" charset="-18"/>
                  </a:rPr>
                  <a:t>k</a:t>
                </a:r>
                <a:r>
                  <a:rPr lang="en-US" sz="675" kern="0" dirty="0" err="1">
                    <a:solidFill>
                      <a:prstClr val="white"/>
                    </a:solidFill>
                    <a:latin typeface="Verdana"/>
                    <a:cs typeface="Poppins" panose="00000500000000000000" pitchFamily="2" charset="-18"/>
                  </a:rPr>
                  <a:t>tiv</a:t>
                </a:r>
                <a:r>
                  <a:rPr lang="sr-Latn-BA" sz="675" kern="0" dirty="0">
                    <a:solidFill>
                      <a:prstClr val="white"/>
                    </a:solidFill>
                    <a:latin typeface="Verdana"/>
                    <a:cs typeface="Poppins" panose="00000500000000000000" pitchFamily="2" charset="-18"/>
                  </a:rPr>
                  <a:t>no održavanje;</a:t>
                </a:r>
                <a:r>
                  <a:rPr lang="en-US" sz="675" kern="0" dirty="0">
                    <a:solidFill>
                      <a:prstClr val="white"/>
                    </a:solidFill>
                    <a:latin typeface="Verdana"/>
                    <a:cs typeface="Poppins" panose="00000500000000000000" pitchFamily="2" charset="-18"/>
                  </a:rPr>
                  <a:t> </a:t>
                </a:r>
                <a:r>
                  <a:rPr lang="en-US" sz="675" kern="0" dirty="0" err="1">
                    <a:solidFill>
                      <a:prstClr val="white"/>
                    </a:solidFill>
                    <a:latin typeface="Verdana"/>
                    <a:cs typeface="Poppins" panose="00000500000000000000" pitchFamily="2" charset="-18"/>
                  </a:rPr>
                  <a:t>redu</a:t>
                </a:r>
                <a:r>
                  <a:rPr lang="sr-Latn-BA" sz="675" kern="0" dirty="0">
                    <a:solidFill>
                      <a:prstClr val="white"/>
                    </a:solidFill>
                    <a:latin typeface="Verdana"/>
                    <a:cs typeface="Poppins" panose="00000500000000000000" pitchFamily="2" charset="-18"/>
                  </a:rPr>
                  <a:t>kcija operativnih troškova i troškova održavanja i produženi životni vek opreme</a:t>
                </a:r>
                <a:r>
                  <a:rPr lang="en-US" sz="675" kern="0" dirty="0">
                    <a:solidFill>
                      <a:prstClr val="white"/>
                    </a:solidFill>
                    <a:latin typeface="Verdana"/>
                    <a:cs typeface="Poppins" panose="00000500000000000000" pitchFamily="2" charset="-18"/>
                  </a:rPr>
                  <a:t>.</a:t>
                </a:r>
              </a:p>
              <a:p>
                <a:pPr marL="128577" indent="-128577" defTabSz="685783">
                  <a:spcBef>
                    <a:spcPts val="450"/>
                  </a:spcBef>
                  <a:buSzPct val="100000"/>
                  <a:buFont typeface="Arial" pitchFamily="34"/>
                  <a:buChar char="•"/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r>
                  <a:rPr lang="sr-Latn-BA" sz="675" kern="0" dirty="0">
                    <a:solidFill>
                      <a:prstClr val="white"/>
                    </a:solidFill>
                    <a:latin typeface="Verdana"/>
                    <a:cs typeface="Poppins" panose="00000500000000000000" pitchFamily="2" charset="-18"/>
                  </a:rPr>
                  <a:t>Algoritam </a:t>
                </a:r>
                <a:r>
                  <a:rPr lang="en-US" sz="675" kern="0" dirty="0">
                    <a:solidFill>
                      <a:prstClr val="white"/>
                    </a:solidFill>
                    <a:latin typeface="Verdana"/>
                    <a:cs typeface="Poppins" panose="00000500000000000000" pitchFamily="2" charset="-18"/>
                  </a:rPr>
                  <a:t> </a:t>
                </a:r>
                <a:r>
                  <a:rPr lang="sr-Latn-BA" sz="675" kern="0" dirty="0">
                    <a:solidFill>
                      <a:prstClr val="white"/>
                    </a:solidFill>
                    <a:latin typeface="Verdana"/>
                    <a:cs typeface="Poppins" panose="00000500000000000000" pitchFamily="2" charset="-18"/>
                  </a:rPr>
                  <a:t>zasnovan na veštačkoj inteligenciji predviđa moguće kvarove u sistemu , npr na izmenjivaču toplote i osigurava korekcije u radu sistema</a:t>
                </a:r>
                <a:endParaRPr lang="sr-Latn-RS" sz="675" kern="0" dirty="0">
                  <a:solidFill>
                    <a:prstClr val="white"/>
                  </a:solidFill>
                  <a:latin typeface="Verdana"/>
                  <a:ea typeface="Verdana"/>
                  <a:cs typeface="Poppins" panose="00000500000000000000" pitchFamily="2" charset="-18"/>
                </a:endParaRPr>
              </a:p>
            </p:txBody>
          </p:sp>
          <p:sp>
            <p:nvSpPr>
              <p:cNvPr id="62" name="Text Box 7">
                <a:extLst>
                  <a:ext uri="{FF2B5EF4-FFF2-40B4-BE49-F238E27FC236}">
                    <a16:creationId xmlns:a16="http://schemas.microsoft.com/office/drawing/2014/main" id="{D6484A74-72F2-D3E7-4368-13196CA53D29}"/>
                  </a:ext>
                </a:extLst>
              </p:cNvPr>
              <p:cNvSpPr txBox="1"/>
              <p:nvPr/>
            </p:nvSpPr>
            <p:spPr>
              <a:xfrm>
                <a:off x="171064" y="3749916"/>
                <a:ext cx="1674392" cy="188513"/>
              </a:xfrm>
              <a:prstGeom prst="rect">
                <a:avLst/>
              </a:prstGeom>
              <a:noFill/>
              <a:ln cap="flat">
                <a:noFill/>
              </a:ln>
            </p:spPr>
            <p:txBody>
              <a:bodyPr vert="horz" wrap="none" lIns="25718" tIns="12859" rIns="25718" bIns="12859" anchor="t" anchorCtr="0" compatLnSpc="1">
                <a:spAutoFit/>
              </a:bodyPr>
              <a:lstStyle/>
              <a:p>
                <a:pPr defTabSz="612068"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r>
                  <a:rPr lang="en-US" sz="750" b="1" kern="0" dirty="0">
                    <a:solidFill>
                      <a:prstClr val="white"/>
                    </a:solidFill>
                    <a:latin typeface="Verdana"/>
                    <a:ea typeface="Verdana"/>
                    <a:cs typeface="Poppins" panose="00000500000000000000" pitchFamily="2" charset="-18"/>
                  </a:rPr>
                  <a:t>Optimal</a:t>
                </a:r>
                <a:r>
                  <a:rPr lang="sr-Latn-BA" sz="750" b="1" kern="0" dirty="0">
                    <a:solidFill>
                      <a:prstClr val="white"/>
                    </a:solidFill>
                    <a:latin typeface="Verdana"/>
                    <a:ea typeface="Verdana"/>
                    <a:cs typeface="Poppins" panose="00000500000000000000" pitchFamily="2" charset="-18"/>
                  </a:rPr>
                  <a:t>na distribucija</a:t>
                </a:r>
                <a:endParaRPr lang="en-US" sz="750" b="1" kern="0" dirty="0">
                  <a:solidFill>
                    <a:prstClr val="white"/>
                  </a:solidFill>
                  <a:latin typeface="Verdana"/>
                  <a:ea typeface="Verdana"/>
                  <a:cs typeface="Poppins" panose="00000500000000000000" pitchFamily="2" charset="-18"/>
                </a:endParaRPr>
              </a:p>
            </p:txBody>
          </p:sp>
        </p:grpSp>
        <p:cxnSp>
          <p:nvCxnSpPr>
            <p:cNvPr id="4" name="Povezovalnik: kolenski 3">
              <a:extLst>
                <a:ext uri="{FF2B5EF4-FFF2-40B4-BE49-F238E27FC236}">
                  <a16:creationId xmlns:a16="http://schemas.microsoft.com/office/drawing/2014/main" id="{51CF301B-BA9A-7B4D-A8D7-86A945F23D6F}"/>
                </a:ext>
              </a:extLst>
            </p:cNvPr>
            <p:cNvCxnSpPr>
              <a:cxnSpLocks/>
              <a:stCxn id="63" idx="3"/>
              <a:endCxn id="59" idx="0"/>
            </p:cNvCxnSpPr>
            <p:nvPr/>
          </p:nvCxnSpPr>
          <p:spPr>
            <a:xfrm>
              <a:off x="4017362" y="4167364"/>
              <a:ext cx="1145684" cy="1786313"/>
            </a:xfrm>
            <a:prstGeom prst="bentConnector2">
              <a:avLst/>
            </a:prstGeom>
            <a:noFill/>
            <a:ln w="28575" cap="flat">
              <a:solidFill>
                <a:schemeClr val="tx1">
                  <a:lumMod val="50000"/>
                  <a:lumOff val="50000"/>
                </a:schemeClr>
              </a:solidFill>
              <a:prstDash val="solid"/>
              <a:miter/>
            </a:ln>
          </p:spPr>
        </p:cxnSp>
      </p:grpSp>
      <p:pic>
        <p:nvPicPr>
          <p:cNvPr id="3" name="Picture 2">
            <a:extLst>
              <a:ext uri="{FF2B5EF4-FFF2-40B4-BE49-F238E27FC236}">
                <a16:creationId xmlns:a16="http://schemas.microsoft.com/office/drawing/2014/main" id="{8953B078-4688-FC18-F7EB-074C21F6F63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16465" y="4793199"/>
            <a:ext cx="1217084" cy="279214"/>
          </a:xfrm>
          <a:prstGeom prst="rect">
            <a:avLst/>
          </a:prstGeom>
        </p:spPr>
      </p:pic>
      <p:pic>
        <p:nvPicPr>
          <p:cNvPr id="5" name="Picture 4" descr="A red sign with white text&#10;&#10;AI-generated content may be incorrect.">
            <a:extLst>
              <a:ext uri="{FF2B5EF4-FFF2-40B4-BE49-F238E27FC236}">
                <a16:creationId xmlns:a16="http://schemas.microsoft.com/office/drawing/2014/main" id="{2893D2EF-D62D-0FB1-C8F6-0833A170BE04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4100" y="113595"/>
            <a:ext cx="1203205" cy="527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3600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2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DNEW" val="Fals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s.0vaaO2OCD9ss1Nj0Z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D9tJsrPuGRpVpmiymS1g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D9tJsrPuGRpVpmiymS1g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D9tJsrPuGRpVpmiymS1g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Heating Segment 16_9 (widescreen only)">
  <a:themeElements>
    <a:clrScheme name="Danfoss">
      <a:dk1>
        <a:srgbClr val="000000"/>
      </a:dk1>
      <a:lt1>
        <a:sysClr val="window" lastClr="FFFFFF"/>
      </a:lt1>
      <a:dk2>
        <a:srgbClr val="878786"/>
      </a:dk2>
      <a:lt2>
        <a:srgbClr val="B4BCC3"/>
      </a:lt2>
      <a:accent1>
        <a:srgbClr val="B10A11"/>
      </a:accent1>
      <a:accent2>
        <a:srgbClr val="E60A11"/>
      </a:accent2>
      <a:accent3>
        <a:srgbClr val="869199"/>
      </a:accent3>
      <a:accent4>
        <a:srgbClr val="C44A34"/>
      </a:accent4>
      <a:accent5>
        <a:srgbClr val="9DA7AF"/>
      </a:accent5>
      <a:accent6>
        <a:srgbClr val="575757"/>
      </a:accent6>
      <a:hlink>
        <a:srgbClr val="E2000F"/>
      </a:hlink>
      <a:folHlink>
        <a:srgbClr val="869098"/>
      </a:folHlink>
    </a:clrScheme>
    <a:fontScheme name="Po meri 7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60A11"/>
        </a:solidFill>
        <a:ln w="9525">
          <a:solidFill>
            <a:srgbClr val="E60A11"/>
          </a:solidFill>
        </a:ln>
      </a:spPr>
      <a:bodyPr rtlCol="0" anchor="ctr"/>
      <a:lstStyle>
        <a:defPPr algn="ctr">
          <a:defRPr noProof="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00000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 name="Danfoss Red">
      <a:srgbClr val="E2000F"/>
    </a:custClr>
    <a:custClr name="Danfoss Deep Red">
      <a:srgbClr val="B6000F"/>
    </a:custClr>
    <a:custClr name="White">
      <a:srgbClr val="FFFFFF"/>
    </a:custClr>
    <a:custClr name="Black">
      <a:srgbClr val="000000"/>
    </a:custClr>
    <a:custClr name="Gray">
      <a:srgbClr val="869098"/>
    </a:custClr>
    <a:custClr name="80% Danfoss Deep Red">
      <a:srgbClr val="C44A34"/>
    </a:custClr>
    <a:custClr name="60% Danfoss Deep Red">
      <a:srgbClr val="D3785E"/>
    </a:custClr>
    <a:custClr name="40% Danfoss Deep Red">
      <a:srgbClr val="E2A690"/>
    </a:custClr>
    <a:custClr name="20% Danfoss Deep Red">
      <a:srgbClr val="F1D3C7"/>
    </a:custClr>
    <a:custClr name="10% Danfoss Deep Red">
      <a:srgbClr val="F8E9E3"/>
    </a:custClr>
    <a:custClr name="80% Black">
      <a:srgbClr val="575756"/>
    </a:custClr>
    <a:custClr name="60% Black">
      <a:srgbClr val="878786"/>
    </a:custClr>
    <a:custClr name="40% Black (Text)">
      <a:srgbClr val="B0B0B1"/>
    </a:custClr>
    <a:custClr name="20% Black">
      <a:srgbClr val="D8D8D9"/>
    </a:custClr>
    <a:custClr name="10% Black">
      <a:srgbClr val="EBEBEB"/>
    </a:custClr>
    <a:custClr name="80% Gray">
      <a:srgbClr val="869098"/>
    </a:custClr>
    <a:custClr name="60% Gray">
      <a:srgbClr val="B4BCC3"/>
    </a:custClr>
    <a:custClr name="40% Gray">
      <a:srgbClr val="CCD3D8"/>
    </a:custClr>
    <a:custClr name="20% Gray">
      <a:srgbClr val="E5E8EB"/>
    </a:custClr>
    <a:custClr name="10% Gray">
      <a:srgbClr val="F1F3F5"/>
    </a:custClr>
  </a:custClrLst>
</a:theme>
</file>

<file path=ppt/theme/theme10.xml><?xml version="1.0" encoding="utf-8"?>
<a:theme xmlns:a="http://schemas.openxmlformats.org/drawingml/2006/main" name="4_Heating Segment 16_9 (widescreen only)">
  <a:themeElements>
    <a:clrScheme name="Danfoss">
      <a:dk1>
        <a:srgbClr val="000000"/>
      </a:dk1>
      <a:lt1>
        <a:sysClr val="window" lastClr="FFFFFF"/>
      </a:lt1>
      <a:dk2>
        <a:srgbClr val="878786"/>
      </a:dk2>
      <a:lt2>
        <a:srgbClr val="B4BCC3"/>
      </a:lt2>
      <a:accent1>
        <a:srgbClr val="B10A11"/>
      </a:accent1>
      <a:accent2>
        <a:srgbClr val="E60A11"/>
      </a:accent2>
      <a:accent3>
        <a:srgbClr val="869199"/>
      </a:accent3>
      <a:accent4>
        <a:srgbClr val="C44A34"/>
      </a:accent4>
      <a:accent5>
        <a:srgbClr val="9DA7AF"/>
      </a:accent5>
      <a:accent6>
        <a:srgbClr val="575757"/>
      </a:accent6>
      <a:hlink>
        <a:srgbClr val="E2000F"/>
      </a:hlink>
      <a:folHlink>
        <a:srgbClr val="869098"/>
      </a:folHlink>
    </a:clrScheme>
    <a:fontScheme name="Po meri 7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60A11"/>
        </a:solidFill>
        <a:ln w="9525">
          <a:solidFill>
            <a:srgbClr val="E60A11"/>
          </a:solidFill>
        </a:ln>
      </a:spPr>
      <a:bodyPr rtlCol="0" anchor="ctr"/>
      <a:lstStyle>
        <a:defPPr algn="ctr">
          <a:defRPr noProof="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00000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 name="Danfoss Red">
      <a:srgbClr val="E2000F"/>
    </a:custClr>
    <a:custClr name="Danfoss Deep Red">
      <a:srgbClr val="B6000F"/>
    </a:custClr>
    <a:custClr name="White">
      <a:srgbClr val="FFFFFF"/>
    </a:custClr>
    <a:custClr name="Black">
      <a:srgbClr val="000000"/>
    </a:custClr>
    <a:custClr name="Gray">
      <a:srgbClr val="869098"/>
    </a:custClr>
    <a:custClr name="80% Danfoss Deep Red">
      <a:srgbClr val="C44A34"/>
    </a:custClr>
    <a:custClr name="60% Danfoss Deep Red">
      <a:srgbClr val="D3785E"/>
    </a:custClr>
    <a:custClr name="40% Danfoss Deep Red">
      <a:srgbClr val="E2A690"/>
    </a:custClr>
    <a:custClr name="20% Danfoss Deep Red">
      <a:srgbClr val="F1D3C7"/>
    </a:custClr>
    <a:custClr name="10% Danfoss Deep Red">
      <a:srgbClr val="F8E9E3"/>
    </a:custClr>
    <a:custClr name="80% Black">
      <a:srgbClr val="575756"/>
    </a:custClr>
    <a:custClr name="60% Black">
      <a:srgbClr val="878786"/>
    </a:custClr>
    <a:custClr name="40% Black (Text)">
      <a:srgbClr val="B0B0B1"/>
    </a:custClr>
    <a:custClr name="20% Black">
      <a:srgbClr val="D8D8D9"/>
    </a:custClr>
    <a:custClr name="10% Black">
      <a:srgbClr val="EBEBEB"/>
    </a:custClr>
    <a:custClr name="80% Gray">
      <a:srgbClr val="869098"/>
    </a:custClr>
    <a:custClr name="60% Gray">
      <a:srgbClr val="B4BCC3"/>
    </a:custClr>
    <a:custClr name="40% Gray">
      <a:srgbClr val="CCD3D8"/>
    </a:custClr>
    <a:custClr name="20% Gray">
      <a:srgbClr val="E5E8EB"/>
    </a:custClr>
    <a:custClr name="10% Gray">
      <a:srgbClr val="F1F3F5"/>
    </a:custClr>
  </a:custClrLst>
</a:theme>
</file>

<file path=ppt/theme/theme1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Heating Segment 16_9 (widescreen only)">
  <a:themeElements>
    <a:clrScheme name="Danfoss">
      <a:dk1>
        <a:srgbClr val="000000"/>
      </a:dk1>
      <a:lt1>
        <a:sysClr val="window" lastClr="FFFFFF"/>
      </a:lt1>
      <a:dk2>
        <a:srgbClr val="878786"/>
      </a:dk2>
      <a:lt2>
        <a:srgbClr val="B4BCC3"/>
      </a:lt2>
      <a:accent1>
        <a:srgbClr val="B10A11"/>
      </a:accent1>
      <a:accent2>
        <a:srgbClr val="E60A11"/>
      </a:accent2>
      <a:accent3>
        <a:srgbClr val="869199"/>
      </a:accent3>
      <a:accent4>
        <a:srgbClr val="C44A34"/>
      </a:accent4>
      <a:accent5>
        <a:srgbClr val="9DA7AF"/>
      </a:accent5>
      <a:accent6>
        <a:srgbClr val="575757"/>
      </a:accent6>
      <a:hlink>
        <a:srgbClr val="E2000F"/>
      </a:hlink>
      <a:folHlink>
        <a:srgbClr val="869098"/>
      </a:folHlink>
    </a:clrScheme>
    <a:fontScheme name="Aspect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60A11"/>
        </a:solidFill>
        <a:ln w="9525">
          <a:solidFill>
            <a:srgbClr val="E60A11"/>
          </a:solidFill>
        </a:ln>
      </a:spPr>
      <a:bodyPr rtlCol="0" anchor="ctr"/>
      <a:lstStyle>
        <a:defPPr algn="ctr">
          <a:defRPr noProof="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00000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 name="Danfoss Red">
      <a:srgbClr val="E2000F"/>
    </a:custClr>
    <a:custClr name="Danfoss Deep Red">
      <a:srgbClr val="B6000F"/>
    </a:custClr>
    <a:custClr name="White">
      <a:srgbClr val="FFFFFF"/>
    </a:custClr>
    <a:custClr name="Black">
      <a:srgbClr val="000000"/>
    </a:custClr>
    <a:custClr name="Gray">
      <a:srgbClr val="869098"/>
    </a:custClr>
    <a:custClr name="80% Danfoss Deep Red">
      <a:srgbClr val="C44A34"/>
    </a:custClr>
    <a:custClr name="60% Danfoss Deep Red">
      <a:srgbClr val="D3785E"/>
    </a:custClr>
    <a:custClr name="40% Danfoss Deep Red">
      <a:srgbClr val="E2A690"/>
    </a:custClr>
    <a:custClr name="20% Danfoss Deep Red">
      <a:srgbClr val="F1D3C7"/>
    </a:custClr>
    <a:custClr name="10% Danfoss Deep Red">
      <a:srgbClr val="F8E9E3"/>
    </a:custClr>
    <a:custClr name="80% Black">
      <a:srgbClr val="575756"/>
    </a:custClr>
    <a:custClr name="60% Black">
      <a:srgbClr val="878786"/>
    </a:custClr>
    <a:custClr name="40% Black (Text)">
      <a:srgbClr val="B0B0B1"/>
    </a:custClr>
    <a:custClr name="20% Black">
      <a:srgbClr val="D8D8D9"/>
    </a:custClr>
    <a:custClr name="10% Black">
      <a:srgbClr val="EBEBEB"/>
    </a:custClr>
    <a:custClr name="80% Gray">
      <a:srgbClr val="869098"/>
    </a:custClr>
    <a:custClr name="60% Gray">
      <a:srgbClr val="B4BCC3"/>
    </a:custClr>
    <a:custClr name="40% Gray">
      <a:srgbClr val="CCD3D8"/>
    </a:custClr>
    <a:custClr name="20% Gray">
      <a:srgbClr val="E5E8EB"/>
    </a:custClr>
    <a:custClr name="10% Gray">
      <a:srgbClr val="F1F3F5"/>
    </a:custClr>
  </a:custClrLst>
  <a:extLst>
    <a:ext uri="{05A4C25C-085E-4340-85A3-A5531E510DB2}">
      <thm15:themeFamily xmlns:thm15="http://schemas.microsoft.com/office/thememl/2012/main" name="DCS MC template 16-9 [Read-Only]" id="{6064091A-D7AA-428D-9CAB-FE85066E784B}" vid="{AB61FD7D-A2C8-4445-A3C4-3BA07530E363}"/>
    </a:ext>
  </a:extLst>
</a:theme>
</file>

<file path=ppt/theme/theme3.xml><?xml version="1.0" encoding="utf-8"?>
<a:theme xmlns:a="http://schemas.openxmlformats.org/drawingml/2006/main" name="Danfoss 4_3_template_Training+Divider_v4-1 (2)">
  <a:themeElements>
    <a:clrScheme name="Danfoss">
      <a:dk1>
        <a:srgbClr val="000000"/>
      </a:dk1>
      <a:lt1>
        <a:sysClr val="window" lastClr="FFFFFF"/>
      </a:lt1>
      <a:dk2>
        <a:srgbClr val="878786"/>
      </a:dk2>
      <a:lt2>
        <a:srgbClr val="B4BCC3"/>
      </a:lt2>
      <a:accent1>
        <a:srgbClr val="B10A11"/>
      </a:accent1>
      <a:accent2>
        <a:srgbClr val="E60A11"/>
      </a:accent2>
      <a:accent3>
        <a:srgbClr val="869199"/>
      </a:accent3>
      <a:accent4>
        <a:srgbClr val="C44A34"/>
      </a:accent4>
      <a:accent5>
        <a:srgbClr val="9DA7AF"/>
      </a:accent5>
      <a:accent6>
        <a:srgbClr val="575757"/>
      </a:accent6>
      <a:hlink>
        <a:srgbClr val="E2000F"/>
      </a:hlink>
      <a:folHlink>
        <a:srgbClr val="869098"/>
      </a:folHlink>
    </a:clrScheme>
    <a:fontScheme name="Aspect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60A11"/>
        </a:solidFill>
        <a:ln w="9525">
          <a:solidFill>
            <a:srgbClr val="E60A11"/>
          </a:solidFill>
        </a:ln>
      </a:spPr>
      <a:bodyPr rtlCol="0" anchor="ctr"/>
      <a:lstStyle>
        <a:defPPr algn="ctr">
          <a:defRPr noProof="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00000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 name="Danfoss Red">
      <a:srgbClr val="E2000F"/>
    </a:custClr>
    <a:custClr name="Danfoss Deep Red">
      <a:srgbClr val="B6000F"/>
    </a:custClr>
    <a:custClr name="White">
      <a:srgbClr val="FFFFFF"/>
    </a:custClr>
    <a:custClr name="Black">
      <a:srgbClr val="000000"/>
    </a:custClr>
    <a:custClr name="Gray">
      <a:srgbClr val="869098"/>
    </a:custClr>
    <a:custClr name="80% Danfoss Deep Red">
      <a:srgbClr val="C44A34"/>
    </a:custClr>
    <a:custClr name="60% Danfoss Deep Red">
      <a:srgbClr val="D3785E"/>
    </a:custClr>
    <a:custClr name="40% Danfoss Deep Red">
      <a:srgbClr val="E2A690"/>
    </a:custClr>
    <a:custClr name="20% Danfoss Deep Red">
      <a:srgbClr val="F1D3C7"/>
    </a:custClr>
    <a:custClr name="10% Danfoss Deep Red">
      <a:srgbClr val="F8E9E3"/>
    </a:custClr>
    <a:custClr name="80% Black">
      <a:srgbClr val="575756"/>
    </a:custClr>
    <a:custClr name="60% Black">
      <a:srgbClr val="878786"/>
    </a:custClr>
    <a:custClr name="40% Black (Text)">
      <a:srgbClr val="B0B0B1"/>
    </a:custClr>
    <a:custClr name="20% Black">
      <a:srgbClr val="D8D8D9"/>
    </a:custClr>
    <a:custClr name="10% Black">
      <a:srgbClr val="EBEBEB"/>
    </a:custClr>
    <a:custClr name="80% Gray">
      <a:srgbClr val="869098"/>
    </a:custClr>
    <a:custClr name="60% Gray">
      <a:srgbClr val="B4BCC3"/>
    </a:custClr>
    <a:custClr name="40% Gray">
      <a:srgbClr val="CCD3D8"/>
    </a:custClr>
    <a:custClr name="20% Gray">
      <a:srgbClr val="E5E8EB"/>
    </a:custClr>
    <a:custClr name="10% Gray">
      <a:srgbClr val="F1F3F5"/>
    </a:custClr>
  </a:custClrLst>
</a:theme>
</file>

<file path=ppt/theme/theme4.xml><?xml version="1.0" encoding="utf-8"?>
<a:theme xmlns:a="http://schemas.openxmlformats.org/drawingml/2006/main" name="Heating Solutions template">
  <a:themeElements>
    <a:clrScheme name="Danfoss">
      <a:dk1>
        <a:srgbClr val="000000"/>
      </a:dk1>
      <a:lt1>
        <a:sysClr val="window" lastClr="FFFFFF"/>
      </a:lt1>
      <a:dk2>
        <a:srgbClr val="878786"/>
      </a:dk2>
      <a:lt2>
        <a:srgbClr val="B4BCC3"/>
      </a:lt2>
      <a:accent1>
        <a:srgbClr val="B10A11"/>
      </a:accent1>
      <a:accent2>
        <a:srgbClr val="E60A11"/>
      </a:accent2>
      <a:accent3>
        <a:srgbClr val="869199"/>
      </a:accent3>
      <a:accent4>
        <a:srgbClr val="C44A34"/>
      </a:accent4>
      <a:accent5>
        <a:srgbClr val="9DA7AF"/>
      </a:accent5>
      <a:accent6>
        <a:srgbClr val="575757"/>
      </a:accent6>
      <a:hlink>
        <a:srgbClr val="E2000F"/>
      </a:hlink>
      <a:folHlink>
        <a:srgbClr val="869098"/>
      </a:folHlink>
    </a:clrScheme>
    <a:fontScheme name="Aspect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60A11"/>
        </a:solidFill>
        <a:ln w="9525">
          <a:solidFill>
            <a:srgbClr val="E60A11"/>
          </a:solidFill>
        </a:ln>
      </a:spPr>
      <a:bodyPr rtlCol="0" anchor="ctr"/>
      <a:lstStyle>
        <a:defPPr algn="ctr">
          <a:defRPr noProof="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00000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 name="Danfoss Red">
      <a:srgbClr val="E2000F"/>
    </a:custClr>
    <a:custClr name="Danfoss Deep Red">
      <a:srgbClr val="B6000F"/>
    </a:custClr>
    <a:custClr name="White">
      <a:srgbClr val="FFFFFF"/>
    </a:custClr>
    <a:custClr name="Black">
      <a:srgbClr val="000000"/>
    </a:custClr>
    <a:custClr name="Gray">
      <a:srgbClr val="869098"/>
    </a:custClr>
    <a:custClr name="80% Danfoss Deep Red">
      <a:srgbClr val="C44A34"/>
    </a:custClr>
    <a:custClr name="60% Danfoss Deep Red">
      <a:srgbClr val="D3785E"/>
    </a:custClr>
    <a:custClr name="40% Danfoss Deep Red">
      <a:srgbClr val="E2A690"/>
    </a:custClr>
    <a:custClr name="20% Danfoss Deep Red">
      <a:srgbClr val="F1D3C7"/>
    </a:custClr>
    <a:custClr name="10% Danfoss Deep Red">
      <a:srgbClr val="F8E9E3"/>
    </a:custClr>
    <a:custClr name="80% Black">
      <a:srgbClr val="575756"/>
    </a:custClr>
    <a:custClr name="60% Black">
      <a:srgbClr val="878786"/>
    </a:custClr>
    <a:custClr name="40% Black (Text)">
      <a:srgbClr val="B0B0B1"/>
    </a:custClr>
    <a:custClr name="20% Black">
      <a:srgbClr val="D8D8D9"/>
    </a:custClr>
    <a:custClr name="10% Black">
      <a:srgbClr val="EBEBEB"/>
    </a:custClr>
    <a:custClr name="80% Gray">
      <a:srgbClr val="869098"/>
    </a:custClr>
    <a:custClr name="60% Gray">
      <a:srgbClr val="B4BCC3"/>
    </a:custClr>
    <a:custClr name="40% Gray">
      <a:srgbClr val="CCD3D8"/>
    </a:custClr>
    <a:custClr name="20% Gray">
      <a:srgbClr val="E5E8EB"/>
    </a:custClr>
    <a:custClr name="10% Gray">
      <a:srgbClr val="F1F3F5"/>
    </a:custClr>
  </a:custClrLst>
</a:theme>
</file>

<file path=ppt/theme/theme5.xml><?xml version="1.0" encoding="utf-8"?>
<a:theme xmlns:a="http://schemas.openxmlformats.org/drawingml/2006/main" name="Danfoss 4_3_template">
  <a:themeElements>
    <a:clrScheme name="Danfoss">
      <a:dk1>
        <a:srgbClr val="000000"/>
      </a:dk1>
      <a:lt1>
        <a:sysClr val="window" lastClr="FFFFFF"/>
      </a:lt1>
      <a:dk2>
        <a:srgbClr val="878786"/>
      </a:dk2>
      <a:lt2>
        <a:srgbClr val="B4BCC3"/>
      </a:lt2>
      <a:accent1>
        <a:srgbClr val="B10A11"/>
      </a:accent1>
      <a:accent2>
        <a:srgbClr val="E60A11"/>
      </a:accent2>
      <a:accent3>
        <a:srgbClr val="869199"/>
      </a:accent3>
      <a:accent4>
        <a:srgbClr val="C44A34"/>
      </a:accent4>
      <a:accent5>
        <a:srgbClr val="9DA7AF"/>
      </a:accent5>
      <a:accent6>
        <a:srgbClr val="575757"/>
      </a:accent6>
      <a:hlink>
        <a:srgbClr val="E2000F"/>
      </a:hlink>
      <a:folHlink>
        <a:srgbClr val="869098"/>
      </a:folHlink>
    </a:clrScheme>
    <a:fontScheme name="Aspect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60A11"/>
        </a:solidFill>
        <a:ln w="9525">
          <a:solidFill>
            <a:srgbClr val="E60A11"/>
          </a:solidFill>
        </a:ln>
      </a:spPr>
      <a:bodyPr rtlCol="0" anchor="ctr"/>
      <a:lstStyle>
        <a:defPPr algn="ctr">
          <a:defRPr noProof="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00000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 name="Danfoss Red">
      <a:srgbClr val="E2000F"/>
    </a:custClr>
    <a:custClr name="Danfoss Deep Red">
      <a:srgbClr val="B6000F"/>
    </a:custClr>
    <a:custClr name="White">
      <a:srgbClr val="FFFFFF"/>
    </a:custClr>
    <a:custClr name="Black">
      <a:srgbClr val="000000"/>
    </a:custClr>
    <a:custClr name="Gray">
      <a:srgbClr val="869098"/>
    </a:custClr>
    <a:custClr name="80% Danfoss Deep Red">
      <a:srgbClr val="C44A34"/>
    </a:custClr>
    <a:custClr name="60% Danfoss Deep Red">
      <a:srgbClr val="D3785E"/>
    </a:custClr>
    <a:custClr name="40% Danfoss Deep Red">
      <a:srgbClr val="E2A690"/>
    </a:custClr>
    <a:custClr name="20% Danfoss Deep Red">
      <a:srgbClr val="F1D3C7"/>
    </a:custClr>
    <a:custClr name="10% Danfoss Deep Red">
      <a:srgbClr val="F8E9E3"/>
    </a:custClr>
    <a:custClr name="80% Black">
      <a:srgbClr val="575756"/>
    </a:custClr>
    <a:custClr name="60% Black">
      <a:srgbClr val="878786"/>
    </a:custClr>
    <a:custClr name="40% Black (Text)">
      <a:srgbClr val="B0B0B1"/>
    </a:custClr>
    <a:custClr name="20% Black">
      <a:srgbClr val="D8D8D9"/>
    </a:custClr>
    <a:custClr name="10% Black">
      <a:srgbClr val="EBEBEB"/>
    </a:custClr>
    <a:custClr name="80% Gray">
      <a:srgbClr val="869098"/>
    </a:custClr>
    <a:custClr name="60% Gray">
      <a:srgbClr val="B4BCC3"/>
    </a:custClr>
    <a:custClr name="40% Gray">
      <a:srgbClr val="CCD3D8"/>
    </a:custClr>
    <a:custClr name="20% Gray">
      <a:srgbClr val="E5E8EB"/>
    </a:custClr>
    <a:custClr name="10% Gray">
      <a:srgbClr val="F1F3F5"/>
    </a:custClr>
  </a:custClrLst>
  <a:extLst>
    <a:ext uri="{05A4C25C-085E-4340-85A3-A5531E510DB2}">
      <thm15:themeFamily xmlns:thm15="http://schemas.microsoft.com/office/thememl/2012/main" name="KF_20180517" id="{10BCF885-C79B-4BD9-89C5-57252B0E4CBE}" vid="{519C64B4-904E-4B23-A828-73AC22634088}"/>
    </a:ext>
  </a:extLst>
</a:theme>
</file>

<file path=ppt/theme/theme6.xml><?xml version="1.0" encoding="utf-8"?>
<a:theme xmlns:a="http://schemas.openxmlformats.org/drawingml/2006/main" name="2_Heating Segment 16_9 (widescreen only)">
  <a:themeElements>
    <a:clrScheme name="Danfoss">
      <a:dk1>
        <a:srgbClr val="000000"/>
      </a:dk1>
      <a:lt1>
        <a:sysClr val="window" lastClr="FFFFFF"/>
      </a:lt1>
      <a:dk2>
        <a:srgbClr val="878786"/>
      </a:dk2>
      <a:lt2>
        <a:srgbClr val="B4BCC3"/>
      </a:lt2>
      <a:accent1>
        <a:srgbClr val="B10A11"/>
      </a:accent1>
      <a:accent2>
        <a:srgbClr val="E60A11"/>
      </a:accent2>
      <a:accent3>
        <a:srgbClr val="869199"/>
      </a:accent3>
      <a:accent4>
        <a:srgbClr val="C44A34"/>
      </a:accent4>
      <a:accent5>
        <a:srgbClr val="9DA7AF"/>
      </a:accent5>
      <a:accent6>
        <a:srgbClr val="575757"/>
      </a:accent6>
      <a:hlink>
        <a:srgbClr val="E2000F"/>
      </a:hlink>
      <a:folHlink>
        <a:srgbClr val="869098"/>
      </a:folHlink>
    </a:clrScheme>
    <a:fontScheme name="Po meri 7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60A11"/>
        </a:solidFill>
        <a:ln w="9525">
          <a:solidFill>
            <a:srgbClr val="E60A11"/>
          </a:solidFill>
        </a:ln>
      </a:spPr>
      <a:bodyPr rtlCol="0" anchor="ctr"/>
      <a:lstStyle>
        <a:defPPr algn="ctr">
          <a:defRPr noProof="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00000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 name="Danfoss Red">
      <a:srgbClr val="E2000F"/>
    </a:custClr>
    <a:custClr name="Danfoss Deep Red">
      <a:srgbClr val="B6000F"/>
    </a:custClr>
    <a:custClr name="White">
      <a:srgbClr val="FFFFFF"/>
    </a:custClr>
    <a:custClr name="Black">
      <a:srgbClr val="000000"/>
    </a:custClr>
    <a:custClr name="Gray">
      <a:srgbClr val="869098"/>
    </a:custClr>
    <a:custClr name="80% Danfoss Deep Red">
      <a:srgbClr val="C44A34"/>
    </a:custClr>
    <a:custClr name="60% Danfoss Deep Red">
      <a:srgbClr val="D3785E"/>
    </a:custClr>
    <a:custClr name="40% Danfoss Deep Red">
      <a:srgbClr val="E2A690"/>
    </a:custClr>
    <a:custClr name="20% Danfoss Deep Red">
      <a:srgbClr val="F1D3C7"/>
    </a:custClr>
    <a:custClr name="10% Danfoss Deep Red">
      <a:srgbClr val="F8E9E3"/>
    </a:custClr>
    <a:custClr name="80% Black">
      <a:srgbClr val="575756"/>
    </a:custClr>
    <a:custClr name="60% Black">
      <a:srgbClr val="878786"/>
    </a:custClr>
    <a:custClr name="40% Black (Text)">
      <a:srgbClr val="B0B0B1"/>
    </a:custClr>
    <a:custClr name="20% Black">
      <a:srgbClr val="D8D8D9"/>
    </a:custClr>
    <a:custClr name="10% Black">
      <a:srgbClr val="EBEBEB"/>
    </a:custClr>
    <a:custClr name="80% Gray">
      <a:srgbClr val="869098"/>
    </a:custClr>
    <a:custClr name="60% Gray">
      <a:srgbClr val="B4BCC3"/>
    </a:custClr>
    <a:custClr name="40% Gray">
      <a:srgbClr val="CCD3D8"/>
    </a:custClr>
    <a:custClr name="20% Gray">
      <a:srgbClr val="E5E8EB"/>
    </a:custClr>
    <a:custClr name="10% Gray">
      <a:srgbClr val="F1F3F5"/>
    </a:custClr>
  </a:custClrLst>
</a:theme>
</file>

<file path=ppt/theme/theme7.xml><?xml version="1.0" encoding="utf-8"?>
<a:theme xmlns:a="http://schemas.openxmlformats.org/drawingml/2006/main" name="Danfoss Template 1">
  <a:themeElements>
    <a:clrScheme name="Danfoss">
      <a:dk1>
        <a:srgbClr val="000000"/>
      </a:dk1>
      <a:lt1>
        <a:sysClr val="window" lastClr="FFFFFF"/>
      </a:lt1>
      <a:dk2>
        <a:srgbClr val="878786"/>
      </a:dk2>
      <a:lt2>
        <a:srgbClr val="B4BCC3"/>
      </a:lt2>
      <a:accent1>
        <a:srgbClr val="B10A11"/>
      </a:accent1>
      <a:accent2>
        <a:srgbClr val="E60A11"/>
      </a:accent2>
      <a:accent3>
        <a:srgbClr val="869199"/>
      </a:accent3>
      <a:accent4>
        <a:srgbClr val="C44A34"/>
      </a:accent4>
      <a:accent5>
        <a:srgbClr val="9DA7AF"/>
      </a:accent5>
      <a:accent6>
        <a:srgbClr val="575757"/>
      </a:accent6>
      <a:hlink>
        <a:srgbClr val="E2000F"/>
      </a:hlink>
      <a:folHlink>
        <a:srgbClr val="869098"/>
      </a:folHlink>
    </a:clrScheme>
    <a:fontScheme name="Aspect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60A11"/>
        </a:solidFill>
        <a:ln w="9525">
          <a:solidFill>
            <a:srgbClr val="E60A11"/>
          </a:solidFill>
        </a:ln>
      </a:spPr>
      <a:bodyPr rtlCol="0" anchor="ctr"/>
      <a:lstStyle>
        <a:defPPr algn="ctr">
          <a:defRPr noProof="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00000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 name="Danfoss Red">
      <a:srgbClr val="E2000F"/>
    </a:custClr>
    <a:custClr name="Danfoss Deep Red">
      <a:srgbClr val="B6000F"/>
    </a:custClr>
    <a:custClr name="White">
      <a:srgbClr val="FFFFFF"/>
    </a:custClr>
    <a:custClr name="Black">
      <a:srgbClr val="000000"/>
    </a:custClr>
    <a:custClr name="Gray">
      <a:srgbClr val="869098"/>
    </a:custClr>
    <a:custClr name="80% Danfoss Deep Red">
      <a:srgbClr val="C44A34"/>
    </a:custClr>
    <a:custClr name="60% Danfoss Deep Red">
      <a:srgbClr val="D3785E"/>
    </a:custClr>
    <a:custClr name="40% Danfoss Deep Red">
      <a:srgbClr val="E2A690"/>
    </a:custClr>
    <a:custClr name="20% Danfoss Deep Red">
      <a:srgbClr val="F1D3C7"/>
    </a:custClr>
    <a:custClr name="10% Danfoss Deep Red">
      <a:srgbClr val="F8E9E3"/>
    </a:custClr>
    <a:custClr name="80% Black">
      <a:srgbClr val="575756"/>
    </a:custClr>
    <a:custClr name="60% Black">
      <a:srgbClr val="878786"/>
    </a:custClr>
    <a:custClr name="40% Black (Text)">
      <a:srgbClr val="B0B0B1"/>
    </a:custClr>
    <a:custClr name="20% Black">
      <a:srgbClr val="D8D8D9"/>
    </a:custClr>
    <a:custClr name="10% Black">
      <a:srgbClr val="EBEBEB"/>
    </a:custClr>
    <a:custClr name="80% Gray">
      <a:srgbClr val="869098"/>
    </a:custClr>
    <a:custClr name="60% Gray">
      <a:srgbClr val="B4BCC3"/>
    </a:custClr>
    <a:custClr name="40% Gray">
      <a:srgbClr val="CCD3D8"/>
    </a:custClr>
    <a:custClr name="20% Gray">
      <a:srgbClr val="E5E8EB"/>
    </a:custClr>
    <a:custClr name="10% Gray">
      <a:srgbClr val="F1F3F5"/>
    </a:custClr>
  </a:custClrLst>
  <a:extLst>
    <a:ext uri="{05A4C25C-085E-4340-85A3-A5531E510DB2}">
      <thm15:themeFamily xmlns:thm15="http://schemas.microsoft.com/office/thememl/2012/main" name="Danfoss Template 1" id="{70D41886-251D-4B0E-AF81-AEE1E007E710}" vid="{131A4D57-3457-43B5-A28D-F84A853CB088}"/>
    </a:ext>
  </a:extLst>
</a:theme>
</file>

<file path=ppt/theme/theme8.xml><?xml version="1.0" encoding="utf-8"?>
<a:theme xmlns:a="http://schemas.openxmlformats.org/drawingml/2006/main" name="1_Danfoss 4_3_template">
  <a:themeElements>
    <a:clrScheme name="Danfoss">
      <a:dk1>
        <a:srgbClr val="000000"/>
      </a:dk1>
      <a:lt1>
        <a:sysClr val="window" lastClr="FFFFFF"/>
      </a:lt1>
      <a:dk2>
        <a:srgbClr val="878786"/>
      </a:dk2>
      <a:lt2>
        <a:srgbClr val="B4BCC3"/>
      </a:lt2>
      <a:accent1>
        <a:srgbClr val="B10A11"/>
      </a:accent1>
      <a:accent2>
        <a:srgbClr val="E60A11"/>
      </a:accent2>
      <a:accent3>
        <a:srgbClr val="869199"/>
      </a:accent3>
      <a:accent4>
        <a:srgbClr val="C44A34"/>
      </a:accent4>
      <a:accent5>
        <a:srgbClr val="9DA7AF"/>
      </a:accent5>
      <a:accent6>
        <a:srgbClr val="575757"/>
      </a:accent6>
      <a:hlink>
        <a:srgbClr val="E2000F"/>
      </a:hlink>
      <a:folHlink>
        <a:srgbClr val="869098"/>
      </a:folHlink>
    </a:clrScheme>
    <a:fontScheme name="Custom 1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60A11"/>
        </a:solidFill>
        <a:ln w="9525">
          <a:solidFill>
            <a:srgbClr val="E60A11"/>
          </a:solidFill>
        </a:ln>
      </a:spPr>
      <a:bodyPr rtlCol="0" anchor="ctr"/>
      <a:lstStyle>
        <a:defPPr algn="ctr">
          <a:defRPr noProof="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00000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 name="Danfoss Red">
      <a:srgbClr val="E2000F"/>
    </a:custClr>
    <a:custClr name="Danfoss Deep Red">
      <a:srgbClr val="B6000F"/>
    </a:custClr>
    <a:custClr name="White">
      <a:srgbClr val="FFFFFF"/>
    </a:custClr>
    <a:custClr name="Black">
      <a:srgbClr val="000000"/>
    </a:custClr>
    <a:custClr name="Gray">
      <a:srgbClr val="869098"/>
    </a:custClr>
    <a:custClr name="80% Danfoss Deep Red">
      <a:srgbClr val="C44A34"/>
    </a:custClr>
    <a:custClr name="60% Danfoss Deep Red">
      <a:srgbClr val="D3785E"/>
    </a:custClr>
    <a:custClr name="40% Danfoss Deep Red">
      <a:srgbClr val="E2A690"/>
    </a:custClr>
    <a:custClr name="20% Danfoss Deep Red">
      <a:srgbClr val="F1D3C7"/>
    </a:custClr>
    <a:custClr name="10% Danfoss Deep Red">
      <a:srgbClr val="F8E9E3"/>
    </a:custClr>
    <a:custClr name="80% Black">
      <a:srgbClr val="575756"/>
    </a:custClr>
    <a:custClr name="60% Black">
      <a:srgbClr val="878786"/>
    </a:custClr>
    <a:custClr name="40% Black (Text)">
      <a:srgbClr val="B0B0B1"/>
    </a:custClr>
    <a:custClr name="20% Black">
      <a:srgbClr val="D8D8D9"/>
    </a:custClr>
    <a:custClr name="10% Black">
      <a:srgbClr val="EBEBEB"/>
    </a:custClr>
    <a:custClr name="80% Gray">
      <a:srgbClr val="869098"/>
    </a:custClr>
    <a:custClr name="60% Gray">
      <a:srgbClr val="B4BCC3"/>
    </a:custClr>
    <a:custClr name="40% Gray">
      <a:srgbClr val="CCD3D8"/>
    </a:custClr>
    <a:custClr name="20% Gray">
      <a:srgbClr val="E5E8EB"/>
    </a:custClr>
    <a:custClr name="10% Gray">
      <a:srgbClr val="F1F3F5"/>
    </a:custClr>
  </a:custClrLst>
</a:theme>
</file>

<file path=ppt/theme/theme9.xml><?xml version="1.0" encoding="utf-8"?>
<a:theme xmlns:a="http://schemas.openxmlformats.org/drawingml/2006/main" name="3_Heating Segment 16_9 (widescreen only)">
  <a:themeElements>
    <a:clrScheme name="Danfoss">
      <a:dk1>
        <a:srgbClr val="000000"/>
      </a:dk1>
      <a:lt1>
        <a:sysClr val="window" lastClr="FFFFFF"/>
      </a:lt1>
      <a:dk2>
        <a:srgbClr val="878786"/>
      </a:dk2>
      <a:lt2>
        <a:srgbClr val="B4BCC3"/>
      </a:lt2>
      <a:accent1>
        <a:srgbClr val="B10A11"/>
      </a:accent1>
      <a:accent2>
        <a:srgbClr val="E60A11"/>
      </a:accent2>
      <a:accent3>
        <a:srgbClr val="869199"/>
      </a:accent3>
      <a:accent4>
        <a:srgbClr val="C44A34"/>
      </a:accent4>
      <a:accent5>
        <a:srgbClr val="9DA7AF"/>
      </a:accent5>
      <a:accent6>
        <a:srgbClr val="575757"/>
      </a:accent6>
      <a:hlink>
        <a:srgbClr val="E2000F"/>
      </a:hlink>
      <a:folHlink>
        <a:srgbClr val="869098"/>
      </a:folHlink>
    </a:clrScheme>
    <a:fontScheme name="Po meri 7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60A11"/>
        </a:solidFill>
        <a:ln w="9525">
          <a:solidFill>
            <a:srgbClr val="E60A11"/>
          </a:solidFill>
        </a:ln>
      </a:spPr>
      <a:bodyPr rtlCol="0" anchor="ctr"/>
      <a:lstStyle>
        <a:defPPr algn="ctr">
          <a:defRPr noProof="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00000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 name="Danfoss Red">
      <a:srgbClr val="E2000F"/>
    </a:custClr>
    <a:custClr name="Danfoss Deep Red">
      <a:srgbClr val="B6000F"/>
    </a:custClr>
    <a:custClr name="White">
      <a:srgbClr val="FFFFFF"/>
    </a:custClr>
    <a:custClr name="Black">
      <a:srgbClr val="000000"/>
    </a:custClr>
    <a:custClr name="Gray">
      <a:srgbClr val="869098"/>
    </a:custClr>
    <a:custClr name="80% Danfoss Deep Red">
      <a:srgbClr val="C44A34"/>
    </a:custClr>
    <a:custClr name="60% Danfoss Deep Red">
      <a:srgbClr val="D3785E"/>
    </a:custClr>
    <a:custClr name="40% Danfoss Deep Red">
      <a:srgbClr val="E2A690"/>
    </a:custClr>
    <a:custClr name="20% Danfoss Deep Red">
      <a:srgbClr val="F1D3C7"/>
    </a:custClr>
    <a:custClr name="10% Danfoss Deep Red">
      <a:srgbClr val="F8E9E3"/>
    </a:custClr>
    <a:custClr name="80% Black">
      <a:srgbClr val="575756"/>
    </a:custClr>
    <a:custClr name="60% Black">
      <a:srgbClr val="878786"/>
    </a:custClr>
    <a:custClr name="40% Black (Text)">
      <a:srgbClr val="B0B0B1"/>
    </a:custClr>
    <a:custClr name="20% Black">
      <a:srgbClr val="D8D8D9"/>
    </a:custClr>
    <a:custClr name="10% Black">
      <a:srgbClr val="EBEBEB"/>
    </a:custClr>
    <a:custClr name="80% Gray">
      <a:srgbClr val="869098"/>
    </a:custClr>
    <a:custClr name="60% Gray">
      <a:srgbClr val="B4BCC3"/>
    </a:custClr>
    <a:custClr name="40% Gray">
      <a:srgbClr val="CCD3D8"/>
    </a:custClr>
    <a:custClr name="20% Gray">
      <a:srgbClr val="E5E8EB"/>
    </a:custClr>
    <a:custClr name="10% Gray">
      <a:srgbClr val="F1F3F5"/>
    </a:custClr>
  </a:custClrLst>
</a:theme>
</file>

<file path=ppt/theme/themeOverride1.xml><?xml version="1.0" encoding="utf-8"?>
<a:themeOverride xmlns:a="http://schemas.openxmlformats.org/drawingml/2006/main">
  <a:clrScheme name="Danfoss">
    <a:dk1>
      <a:srgbClr val="000000"/>
    </a:dk1>
    <a:lt1>
      <a:sysClr val="window" lastClr="FFFFFF"/>
    </a:lt1>
    <a:dk2>
      <a:srgbClr val="878786"/>
    </a:dk2>
    <a:lt2>
      <a:srgbClr val="B4BCC3"/>
    </a:lt2>
    <a:accent1>
      <a:srgbClr val="B10A11"/>
    </a:accent1>
    <a:accent2>
      <a:srgbClr val="E60A11"/>
    </a:accent2>
    <a:accent3>
      <a:srgbClr val="869199"/>
    </a:accent3>
    <a:accent4>
      <a:srgbClr val="C44A34"/>
    </a:accent4>
    <a:accent5>
      <a:srgbClr val="9DA7AF"/>
    </a:accent5>
    <a:accent6>
      <a:srgbClr val="575757"/>
    </a:accent6>
    <a:hlink>
      <a:srgbClr val="E2000F"/>
    </a:hlink>
    <a:folHlink>
      <a:srgbClr val="869098"/>
    </a:folHlink>
  </a:clrScheme>
  <a:fontScheme name="Aspect">
    <a:majorFont>
      <a:latin typeface="Verdana"/>
      <a:ea typeface=""/>
      <a:cs typeface=""/>
      <a:font script="Jpan" typeface="ＭＳ ゴシック"/>
      <a:font script="Hang" typeface="굴림"/>
      <a:font script="Hans" typeface="微软雅黑"/>
      <a:font script="Hant" typeface="微軟正黑體"/>
      <a:font script="Arab" typeface="Tahoma"/>
      <a:font script="Hebr" typeface="Tahoma"/>
      <a:font script="Thai" typeface="FreesiaUPC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Verdana"/>
      <a:font script="Uigh" typeface="Microsoft Uighur"/>
      <a:font script="Geor" typeface="Sylfaen"/>
    </a:majorFont>
    <a:minorFont>
      <a:latin typeface="Verdana"/>
      <a:ea typeface=""/>
      <a:cs typeface=""/>
      <a:font script="Jpan" typeface="ＭＳ ゴシック"/>
      <a:font script="Hang" typeface="굴림"/>
      <a:font script="Hans" typeface="微软雅黑"/>
      <a:font script="Hant" typeface="微軟正黑體"/>
      <a:font script="Arab" typeface="Tahoma"/>
      <a:font script="Hebr" typeface="Tahoma"/>
      <a:font script="Thai" typeface="FreesiaUPC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Verdana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0.xml><?xml version="1.0" encoding="utf-8"?>
<a:themeOverride xmlns:a="http://schemas.openxmlformats.org/drawingml/2006/main">
  <a:clrScheme name="Danfoss">
    <a:dk1>
      <a:srgbClr val="000000"/>
    </a:dk1>
    <a:lt1>
      <a:sysClr val="window" lastClr="FFFFFF"/>
    </a:lt1>
    <a:dk2>
      <a:srgbClr val="878786"/>
    </a:dk2>
    <a:lt2>
      <a:srgbClr val="B4BCC3"/>
    </a:lt2>
    <a:accent1>
      <a:srgbClr val="B10A11"/>
    </a:accent1>
    <a:accent2>
      <a:srgbClr val="E60A11"/>
    </a:accent2>
    <a:accent3>
      <a:srgbClr val="869199"/>
    </a:accent3>
    <a:accent4>
      <a:srgbClr val="C44A34"/>
    </a:accent4>
    <a:accent5>
      <a:srgbClr val="9DA7AF"/>
    </a:accent5>
    <a:accent6>
      <a:srgbClr val="575757"/>
    </a:accent6>
    <a:hlink>
      <a:srgbClr val="E2000F"/>
    </a:hlink>
    <a:folHlink>
      <a:srgbClr val="869098"/>
    </a:folHlink>
  </a:clrScheme>
</a:themeOverride>
</file>

<file path=ppt/theme/themeOverride2.xml><?xml version="1.0" encoding="utf-8"?>
<a:themeOverride xmlns:a="http://schemas.openxmlformats.org/drawingml/2006/main">
  <a:clrScheme name="Blue">
    <a:dk1>
      <a:sysClr val="windowText" lastClr="000000"/>
    </a:dk1>
    <a:lt1>
      <a:sysClr val="window" lastClr="FFFFFF"/>
    </a:lt1>
    <a:dk2>
      <a:srgbClr val="17406D"/>
    </a:dk2>
    <a:lt2>
      <a:srgbClr val="DBEFF9"/>
    </a:lt2>
    <a:accent1>
      <a:srgbClr val="0F6FC6"/>
    </a:accent1>
    <a:accent2>
      <a:srgbClr val="009DD9"/>
    </a:accent2>
    <a:accent3>
      <a:srgbClr val="0BD0D9"/>
    </a:accent3>
    <a:accent4>
      <a:srgbClr val="10CF9B"/>
    </a:accent4>
    <a:accent5>
      <a:srgbClr val="7CCA62"/>
    </a:accent5>
    <a:accent6>
      <a:srgbClr val="A5C249"/>
    </a:accent6>
    <a:hlink>
      <a:srgbClr val="F49100"/>
    </a:hlink>
    <a:folHlink>
      <a:srgbClr val="85DFD0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Blue">
    <a:dk1>
      <a:sysClr val="windowText" lastClr="000000"/>
    </a:dk1>
    <a:lt1>
      <a:sysClr val="window" lastClr="FFFFFF"/>
    </a:lt1>
    <a:dk2>
      <a:srgbClr val="17406D"/>
    </a:dk2>
    <a:lt2>
      <a:srgbClr val="DBEFF9"/>
    </a:lt2>
    <a:accent1>
      <a:srgbClr val="0F6FC6"/>
    </a:accent1>
    <a:accent2>
      <a:srgbClr val="009DD9"/>
    </a:accent2>
    <a:accent3>
      <a:srgbClr val="0BD0D9"/>
    </a:accent3>
    <a:accent4>
      <a:srgbClr val="10CF9B"/>
    </a:accent4>
    <a:accent5>
      <a:srgbClr val="7CCA62"/>
    </a:accent5>
    <a:accent6>
      <a:srgbClr val="A5C249"/>
    </a:accent6>
    <a:hlink>
      <a:srgbClr val="F49100"/>
    </a:hlink>
    <a:folHlink>
      <a:srgbClr val="85DFD0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Danfoss">
    <a:dk1>
      <a:srgbClr val="000000"/>
    </a:dk1>
    <a:lt1>
      <a:sysClr val="window" lastClr="FFFFFF"/>
    </a:lt1>
    <a:dk2>
      <a:srgbClr val="878786"/>
    </a:dk2>
    <a:lt2>
      <a:srgbClr val="B4BCC3"/>
    </a:lt2>
    <a:accent1>
      <a:srgbClr val="B10A11"/>
    </a:accent1>
    <a:accent2>
      <a:srgbClr val="E60A11"/>
    </a:accent2>
    <a:accent3>
      <a:srgbClr val="869199"/>
    </a:accent3>
    <a:accent4>
      <a:srgbClr val="C44A34"/>
    </a:accent4>
    <a:accent5>
      <a:srgbClr val="9DA7AF"/>
    </a:accent5>
    <a:accent6>
      <a:srgbClr val="575757"/>
    </a:accent6>
    <a:hlink>
      <a:srgbClr val="E2000F"/>
    </a:hlink>
    <a:folHlink>
      <a:srgbClr val="869098"/>
    </a:folHlink>
  </a:clrScheme>
</a:themeOverride>
</file>

<file path=ppt/theme/themeOverride5.xml><?xml version="1.0" encoding="utf-8"?>
<a:themeOverride xmlns:a="http://schemas.openxmlformats.org/drawingml/2006/main">
  <a:clrScheme name="Danfoss">
    <a:dk1>
      <a:srgbClr val="000000"/>
    </a:dk1>
    <a:lt1>
      <a:sysClr val="window" lastClr="FFFFFF"/>
    </a:lt1>
    <a:dk2>
      <a:srgbClr val="878786"/>
    </a:dk2>
    <a:lt2>
      <a:srgbClr val="B4BCC3"/>
    </a:lt2>
    <a:accent1>
      <a:srgbClr val="B10A11"/>
    </a:accent1>
    <a:accent2>
      <a:srgbClr val="E60A11"/>
    </a:accent2>
    <a:accent3>
      <a:srgbClr val="869199"/>
    </a:accent3>
    <a:accent4>
      <a:srgbClr val="C44A34"/>
    </a:accent4>
    <a:accent5>
      <a:srgbClr val="9DA7AF"/>
    </a:accent5>
    <a:accent6>
      <a:srgbClr val="575757"/>
    </a:accent6>
    <a:hlink>
      <a:srgbClr val="E2000F"/>
    </a:hlink>
    <a:folHlink>
      <a:srgbClr val="869098"/>
    </a:folHlink>
  </a:clrScheme>
</a:themeOverride>
</file>

<file path=ppt/theme/themeOverride6.xml><?xml version="1.0" encoding="utf-8"?>
<a:themeOverride xmlns:a="http://schemas.openxmlformats.org/drawingml/2006/main">
  <a:clrScheme name="Danfoss">
    <a:dk1>
      <a:srgbClr val="000000"/>
    </a:dk1>
    <a:lt1>
      <a:sysClr val="window" lastClr="FFFFFF"/>
    </a:lt1>
    <a:dk2>
      <a:srgbClr val="878786"/>
    </a:dk2>
    <a:lt2>
      <a:srgbClr val="B4BCC3"/>
    </a:lt2>
    <a:accent1>
      <a:srgbClr val="B10A11"/>
    </a:accent1>
    <a:accent2>
      <a:srgbClr val="E60A11"/>
    </a:accent2>
    <a:accent3>
      <a:srgbClr val="869199"/>
    </a:accent3>
    <a:accent4>
      <a:srgbClr val="C44A34"/>
    </a:accent4>
    <a:accent5>
      <a:srgbClr val="9DA7AF"/>
    </a:accent5>
    <a:accent6>
      <a:srgbClr val="575757"/>
    </a:accent6>
    <a:hlink>
      <a:srgbClr val="E2000F"/>
    </a:hlink>
    <a:folHlink>
      <a:srgbClr val="869098"/>
    </a:folHlink>
  </a:clrScheme>
</a:themeOverride>
</file>

<file path=ppt/theme/themeOverride7.xml><?xml version="1.0" encoding="utf-8"?>
<a:themeOverride xmlns:a="http://schemas.openxmlformats.org/drawingml/2006/main">
  <a:clrScheme name="Danfoss">
    <a:dk1>
      <a:srgbClr val="000000"/>
    </a:dk1>
    <a:lt1>
      <a:sysClr val="window" lastClr="FFFFFF"/>
    </a:lt1>
    <a:dk2>
      <a:srgbClr val="878786"/>
    </a:dk2>
    <a:lt2>
      <a:srgbClr val="B4BCC3"/>
    </a:lt2>
    <a:accent1>
      <a:srgbClr val="B10A11"/>
    </a:accent1>
    <a:accent2>
      <a:srgbClr val="E60A11"/>
    </a:accent2>
    <a:accent3>
      <a:srgbClr val="869199"/>
    </a:accent3>
    <a:accent4>
      <a:srgbClr val="C44A34"/>
    </a:accent4>
    <a:accent5>
      <a:srgbClr val="9DA7AF"/>
    </a:accent5>
    <a:accent6>
      <a:srgbClr val="575757"/>
    </a:accent6>
    <a:hlink>
      <a:srgbClr val="E2000F"/>
    </a:hlink>
    <a:folHlink>
      <a:srgbClr val="869098"/>
    </a:folHlink>
  </a:clrScheme>
</a:themeOverride>
</file>

<file path=ppt/theme/themeOverride8.xml><?xml version="1.0" encoding="utf-8"?>
<a:themeOverride xmlns:a="http://schemas.openxmlformats.org/drawingml/2006/main">
  <a:clrScheme name="Danfoss">
    <a:dk1>
      <a:srgbClr val="000000"/>
    </a:dk1>
    <a:lt1>
      <a:sysClr val="window" lastClr="FFFFFF"/>
    </a:lt1>
    <a:dk2>
      <a:srgbClr val="878786"/>
    </a:dk2>
    <a:lt2>
      <a:srgbClr val="B4BCC3"/>
    </a:lt2>
    <a:accent1>
      <a:srgbClr val="B10A11"/>
    </a:accent1>
    <a:accent2>
      <a:srgbClr val="E60A11"/>
    </a:accent2>
    <a:accent3>
      <a:srgbClr val="869199"/>
    </a:accent3>
    <a:accent4>
      <a:srgbClr val="C44A34"/>
    </a:accent4>
    <a:accent5>
      <a:srgbClr val="9DA7AF"/>
    </a:accent5>
    <a:accent6>
      <a:srgbClr val="575757"/>
    </a:accent6>
    <a:hlink>
      <a:srgbClr val="E2000F"/>
    </a:hlink>
    <a:folHlink>
      <a:srgbClr val="869098"/>
    </a:folHlink>
  </a:clrScheme>
</a:themeOverride>
</file>

<file path=ppt/theme/themeOverride9.xml><?xml version="1.0" encoding="utf-8"?>
<a:themeOverride xmlns:a="http://schemas.openxmlformats.org/drawingml/2006/main">
  <a:clrScheme name="Danfoss">
    <a:dk1>
      <a:srgbClr val="000000"/>
    </a:dk1>
    <a:lt1>
      <a:sysClr val="window" lastClr="FFFFFF"/>
    </a:lt1>
    <a:dk2>
      <a:srgbClr val="878786"/>
    </a:dk2>
    <a:lt2>
      <a:srgbClr val="B4BCC3"/>
    </a:lt2>
    <a:accent1>
      <a:srgbClr val="B10A11"/>
    </a:accent1>
    <a:accent2>
      <a:srgbClr val="E60A11"/>
    </a:accent2>
    <a:accent3>
      <a:srgbClr val="869199"/>
    </a:accent3>
    <a:accent4>
      <a:srgbClr val="C44A34"/>
    </a:accent4>
    <a:accent5>
      <a:srgbClr val="9DA7AF"/>
    </a:accent5>
    <a:accent6>
      <a:srgbClr val="575757"/>
    </a:accent6>
    <a:hlink>
      <a:srgbClr val="E2000F"/>
    </a:hlink>
    <a:folHlink>
      <a:srgbClr val="869098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74A8D44E9AB0E49AABF8AE56D5988D9" ma:contentTypeVersion="3" ma:contentTypeDescription="Create a new document." ma:contentTypeScope="" ma:versionID="f365699b3a232bb229d38e970c685f5e">
  <xsd:schema xmlns:xsd="http://www.w3.org/2001/XMLSchema" xmlns:xs="http://www.w3.org/2001/XMLSchema" xmlns:p="http://schemas.microsoft.com/office/2006/metadata/properties" xmlns:ns2="0454db14-5c0a-443f-9a3c-a2b963ced136" targetNamespace="http://schemas.microsoft.com/office/2006/metadata/properties" ma:root="true" ma:fieldsID="5398b9b16b10ae2d7642fa2fbdcf5206" ns2:_="">
    <xsd:import namespace="0454db14-5c0a-443f-9a3c-a2b963ced13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454db14-5c0a-443f-9a3c-a2b963ced13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MediaServiceAutoTags" ma:internalName="MediaServiceAutoTag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AE26D813-3D06-444C-82D6-EE86254444B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454db14-5c0a-443f-9a3c-a2b963ced13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7D85BBC9-FFCE-43FD-8216-6E96640845E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2D02104-679C-4895-A734-0D208BE325B7}">
  <ds:schemaRefs>
    <ds:schemaRef ds:uri="http://schemas.microsoft.com/office/2006/metadata/properties"/>
    <ds:schemaRef ds:uri="http://schemas.microsoft.com/office/infopath/2007/PartnerControls"/>
  </ds:schemaRefs>
</ds:datastoreItem>
</file>

<file path=docMetadata/LabelInfo.xml><?xml version="1.0" encoding="utf-8"?>
<clbl:labelList xmlns:clbl="http://schemas.microsoft.com/office/2020/mipLabelMetadata">
  <clbl:label id="{8d6a82de-332f-43b8-a8a7-1928fd67507f}" enabled="1" method="Standard" siteId="{097464b8-069c-453e-9254-c17ec707310d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427</TotalTime>
  <Words>2041</Words>
  <Application>Microsoft Office PowerPoint</Application>
  <PresentationFormat>On-screen Show (16:9)</PresentationFormat>
  <Paragraphs>426</Paragraphs>
  <Slides>25</Slides>
  <Notes>20</Notes>
  <HiddenSlides>0</HiddenSlides>
  <MMClips>0</MMClips>
  <ScaleCrop>false</ScaleCrop>
  <HeadingPairs>
    <vt:vector size="10" baseType="variant">
      <vt:variant>
        <vt:lpstr>Fonts Used</vt:lpstr>
      </vt:variant>
      <vt:variant>
        <vt:i4>14</vt:i4>
      </vt:variant>
      <vt:variant>
        <vt:lpstr>Theme</vt:lpstr>
      </vt:variant>
      <vt:variant>
        <vt:i4>10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5</vt:i4>
      </vt:variant>
      <vt:variant>
        <vt:lpstr>Custom Shows</vt:lpstr>
      </vt:variant>
      <vt:variant>
        <vt:i4>23</vt:i4>
      </vt:variant>
    </vt:vector>
  </HeadingPairs>
  <TitlesOfParts>
    <vt:vector size="73" baseType="lpstr">
      <vt:lpstr>SimHei</vt:lpstr>
      <vt:lpstr> Verdana Pro Light</vt:lpstr>
      <vt:lpstr>72</vt:lpstr>
      <vt:lpstr>Arial</vt:lpstr>
      <vt:lpstr>Arial Nova</vt:lpstr>
      <vt:lpstr>Calibri</vt:lpstr>
      <vt:lpstr>Consolas</vt:lpstr>
      <vt:lpstr>Open Sans</vt:lpstr>
      <vt:lpstr>Poppins</vt:lpstr>
      <vt:lpstr>Tenorite</vt:lpstr>
      <vt:lpstr>Verdana</vt:lpstr>
      <vt:lpstr>Verdana Pro</vt:lpstr>
      <vt:lpstr>Verdana Pro Light</vt:lpstr>
      <vt:lpstr>Wingdings</vt:lpstr>
      <vt:lpstr>Heating Segment 16_9 (widescreen only)</vt:lpstr>
      <vt:lpstr>1_Heating Segment 16_9 (widescreen only)</vt:lpstr>
      <vt:lpstr>Danfoss 4_3_template_Training+Divider_v4-1 (2)</vt:lpstr>
      <vt:lpstr>Heating Solutions template</vt:lpstr>
      <vt:lpstr>Danfoss 4_3_template</vt:lpstr>
      <vt:lpstr>2_Heating Segment 16_9 (widescreen only)</vt:lpstr>
      <vt:lpstr>Danfoss Template 1</vt:lpstr>
      <vt:lpstr>1_Danfoss 4_3_template</vt:lpstr>
      <vt:lpstr>3_Heating Segment 16_9 (widescreen only)</vt:lpstr>
      <vt:lpstr>4_Heating Segment 16_9 (widescreen only)</vt:lpstr>
      <vt:lpstr>think-cell Slide</vt:lpstr>
      <vt:lpstr>  Digitalizacija kao odgovor na savremene izazove u sistemima daljinskog grejanja  </vt:lpstr>
      <vt:lpstr>Danfoss kdo smo?</vt:lpstr>
      <vt:lpstr>Danfoss d.o.o. ko smo mi?</vt:lpstr>
      <vt:lpstr>Tri posebna poslovna segmenta sa stalnim rastom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         ECL Comfort 310/296   </vt:lpstr>
      <vt:lpstr>PowerPoint Presentation</vt:lpstr>
      <vt:lpstr>PowerPoint Presentation</vt:lpstr>
      <vt:lpstr>„End-to-End“ sveobuhvatna optimizacija kao rešenje za integraciju obnovljivih izvora energije u tradicionalne sisteme</vt:lpstr>
      <vt:lpstr>PowerPoint Presentation</vt:lpstr>
      <vt:lpstr>dT optimization</vt:lpstr>
      <vt:lpstr>Optimal network design</vt:lpstr>
      <vt:lpstr>Decentralization</vt:lpstr>
      <vt:lpstr>energy savings</vt:lpstr>
      <vt:lpstr>peak energy demand</vt:lpstr>
      <vt:lpstr>legacy scada</vt:lpstr>
      <vt:lpstr>new business areas</vt:lpstr>
      <vt:lpstr>focus on customer</vt:lpstr>
      <vt:lpstr>ECL</vt:lpstr>
      <vt:lpstr>Enspire</vt:lpstr>
      <vt:lpstr>eTRV</vt:lpstr>
      <vt:lpstr>MCV</vt:lpstr>
      <vt:lpstr>Heat Selector</vt:lpstr>
      <vt:lpstr>DSA 1 mini</vt:lpstr>
      <vt:lpstr>Lean heat</vt:lpstr>
      <vt:lpstr>PICV</vt:lpstr>
      <vt:lpstr>DPC</vt:lpstr>
      <vt:lpstr>iSET</vt:lpstr>
      <vt:lpstr>iNET</vt:lpstr>
      <vt:lpstr>ASV</vt:lpstr>
      <vt:lpstr>AB-QM</vt:lpstr>
      <vt:lpstr>Heat meters</vt:lpstr>
      <vt:lpstr>OE3i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  Integracija obnovljivih izvora u tradicionalne sisteme daljinskog grejanja  Aktuelni trendovi, izazovi i tehnička rešenja </dc:title>
  <dc:creator/>
  <cp:lastModifiedBy>Filip Zardin</cp:lastModifiedBy>
  <cp:revision>6</cp:revision>
  <dcterms:created xsi:type="dcterms:W3CDTF">2016-04-20T06:08:52Z</dcterms:created>
  <dcterms:modified xsi:type="dcterms:W3CDTF">2025-05-27T13:03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 by:">
    <vt:lpwstr>www.skabelondesign.dk</vt:lpwstr>
  </property>
  <property fmtid="{D5CDD505-2E9C-101B-9397-08002B2CF9AE}" pid="3" name="ContentTypeId">
    <vt:lpwstr>0x010100E74A8D44E9AB0E49AABF8AE56D5988D9</vt:lpwstr>
  </property>
  <property fmtid="{D5CDD505-2E9C-101B-9397-08002B2CF9AE}" pid="4" name="TemplateUrl">
    <vt:lpwstr/>
  </property>
  <property fmtid="{D5CDD505-2E9C-101B-9397-08002B2CF9AE}" pid="5" name="Order">
    <vt:r8>1700</vt:r8>
  </property>
  <property fmtid="{D5CDD505-2E9C-101B-9397-08002B2CF9AE}" pid="6" name="xd_Signature">
    <vt:bool>false</vt:bool>
  </property>
  <property fmtid="{D5CDD505-2E9C-101B-9397-08002B2CF9AE}" pid="7" name="xd_ProgID">
    <vt:lpwstr/>
  </property>
  <property fmtid="{D5CDD505-2E9C-101B-9397-08002B2CF9AE}" pid="8" name="MSIP_Label_8d6a82de-332f-43b8-a8a7-1928fd67507f_Enabled">
    <vt:lpwstr>true</vt:lpwstr>
  </property>
  <property fmtid="{D5CDD505-2E9C-101B-9397-08002B2CF9AE}" pid="9" name="MSIP_Label_8d6a82de-332f-43b8-a8a7-1928fd67507f_SetDate">
    <vt:lpwstr>2021-05-26T09:28:21Z</vt:lpwstr>
  </property>
  <property fmtid="{D5CDD505-2E9C-101B-9397-08002B2CF9AE}" pid="10" name="MSIP_Label_8d6a82de-332f-43b8-a8a7-1928fd67507f_Method">
    <vt:lpwstr>Standard</vt:lpwstr>
  </property>
  <property fmtid="{D5CDD505-2E9C-101B-9397-08002B2CF9AE}" pid="11" name="MSIP_Label_8d6a82de-332f-43b8-a8a7-1928fd67507f_Name">
    <vt:lpwstr>1. Business</vt:lpwstr>
  </property>
  <property fmtid="{D5CDD505-2E9C-101B-9397-08002B2CF9AE}" pid="12" name="MSIP_Label_8d6a82de-332f-43b8-a8a7-1928fd67507f_SiteId">
    <vt:lpwstr>097464b8-069c-453e-9254-c17ec707310d</vt:lpwstr>
  </property>
  <property fmtid="{D5CDD505-2E9C-101B-9397-08002B2CF9AE}" pid="13" name="MSIP_Label_8d6a82de-332f-43b8-a8a7-1928fd67507f_ActionId">
    <vt:lpwstr>b3b16e1f-c076-4f2d-b25c-0bd05c053345</vt:lpwstr>
  </property>
  <property fmtid="{D5CDD505-2E9C-101B-9397-08002B2CF9AE}" pid="14" name="MSIP_Label_8d6a82de-332f-43b8-a8a7-1928fd67507f_ContentBits">
    <vt:lpwstr>2</vt:lpwstr>
  </property>
</Properties>
</file>